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Default Extension="xlsx" ContentType="application/vnd.openxmlformats-officedocument.spreadsheetml.sheet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tags/tag186.xml" ContentType="application/vnd.openxmlformats-officedocument.presentationml.tag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18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charts/chart1.xml" ContentType="application/vnd.openxmlformats-officedocument.drawingml.chart+xml"/>
  <Override PartName="/ppt/tags/tag172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charts/chart2.xml" ContentType="application/vnd.openxmlformats-officedocument.drawingml.chart+xml"/>
  <Override PartName="/ppt/tags/tag180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13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66" r:id="rId1"/>
    <p:sldMasterId id="2147484278" r:id="rId2"/>
    <p:sldMasterId id="2147484284" r:id="rId3"/>
  </p:sldMasterIdLst>
  <p:notesMasterIdLst>
    <p:notesMasterId r:id="rId16"/>
  </p:notesMasterIdLst>
  <p:handoutMasterIdLst>
    <p:handoutMasterId r:id="rId17"/>
  </p:handoutMasterIdLst>
  <p:sldIdLst>
    <p:sldId id="1809" r:id="rId4"/>
    <p:sldId id="1869" r:id="rId5"/>
    <p:sldId id="1881" r:id="rId6"/>
    <p:sldId id="1866" r:id="rId7"/>
    <p:sldId id="1880" r:id="rId8"/>
    <p:sldId id="1858" r:id="rId9"/>
    <p:sldId id="1876" r:id="rId10"/>
    <p:sldId id="1867" r:id="rId11"/>
    <p:sldId id="1855" r:id="rId12"/>
    <p:sldId id="1856" r:id="rId13"/>
    <p:sldId id="1874" r:id="rId14"/>
    <p:sldId id="1873" r:id="rId15"/>
  </p:sldIdLst>
  <p:sldSz cx="9144000" cy="5143500" type="screen16x9"/>
  <p:notesSz cx="6669088" cy="9885363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2" userDrawn="1">
          <p15:clr>
            <a:srgbClr val="A4A3A4"/>
          </p15:clr>
        </p15:guide>
        <p15:guide id="2" pos="20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Килина Юлия Федотовна" initials="КЮФ" lastIdx="2" clrIdx="0"/>
  <p:cmAuthor id="1" name="КилинаЮФ" initials="К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66A1"/>
    <a:srgbClr val="9E0000"/>
    <a:srgbClr val="7F7F7F"/>
    <a:srgbClr val="DBA293"/>
    <a:srgbClr val="BFC5CE"/>
    <a:srgbClr val="364A58"/>
    <a:srgbClr val="D2DCE6"/>
    <a:srgbClr val="D1DCE3"/>
    <a:srgbClr val="C70909"/>
    <a:srgbClr val="FEDAD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4" autoAdjust="0"/>
    <p:restoredTop sz="99885" autoAdjust="0"/>
  </p:normalViewPr>
  <p:slideViewPr>
    <p:cSldViewPr>
      <p:cViewPr>
        <p:scale>
          <a:sx n="125" d="100"/>
          <a:sy n="125" d="100"/>
        </p:scale>
        <p:origin x="-1248" y="-582"/>
      </p:cViewPr>
      <p:guideLst>
        <p:guide orient="horz" pos="32"/>
        <p:guide pos="204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"/>
  <c:chart>
    <c:autoTitleDeleted val="1"/>
    <c:plotArea>
      <c:layout>
        <c:manualLayout>
          <c:layoutTarget val="inner"/>
          <c:xMode val="edge"/>
          <c:yMode val="edge"/>
          <c:x val="3.389466420689094E-2"/>
          <c:y val="0.17622248444386349"/>
          <c:w val="0.96542185338866549"/>
          <c:h val="0.72972972972972971"/>
        </c:manualLayout>
      </c:layout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A9A-42C7-88A9-FF6C7EF9EDB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ln w="57150"/>
          </c:spPr>
          <c:marker>
            <c:spPr>
              <a:ln w="57150"/>
            </c:spPr>
          </c:marker>
          <c:dLbls>
            <c:dLbl>
              <c:idx val="10"/>
              <c:layout>
                <c:manualLayout>
                  <c:x val="-2.0285759072870259E-2"/>
                  <c:y val="-0.17263405576648044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t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198</c:v>
                </c:pt>
                <c:pt idx="1">
                  <c:v>401</c:v>
                </c:pt>
                <c:pt idx="2">
                  <c:v>583</c:v>
                </c:pt>
                <c:pt idx="3">
                  <c:v>768</c:v>
                </c:pt>
                <c:pt idx="4">
                  <c:v>919</c:v>
                </c:pt>
                <c:pt idx="5">
                  <c:v>10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A9A-42C7-88A9-FF6C7EF9EDBF}"/>
            </c:ext>
          </c:extLst>
        </c:ser>
        <c:marker val="1"/>
        <c:axId val="105492864"/>
        <c:axId val="105494784"/>
      </c:lineChart>
      <c:catAx>
        <c:axId val="105492864"/>
        <c:scaling>
          <c:orientation val="minMax"/>
        </c:scaling>
        <c:axPos val="b"/>
        <c:numFmt formatCode="General" sourceLinked="1"/>
        <c:tickLblPos val="none"/>
        <c:spPr>
          <a:ln>
            <a:solidFill>
              <a:schemeClr val="bg1"/>
            </a:solidFill>
          </a:ln>
        </c:spPr>
        <c:crossAx val="105494784"/>
        <c:crossesAt val="0"/>
        <c:auto val="1"/>
        <c:lblAlgn val="ctr"/>
        <c:lblOffset val="100"/>
        <c:tickLblSkip val="1"/>
        <c:tickMarkSkip val="1"/>
      </c:catAx>
      <c:valAx>
        <c:axId val="105494784"/>
        <c:scaling>
          <c:orientation val="minMax"/>
          <c:max val="2000"/>
          <c:min val="0"/>
        </c:scaling>
        <c:axPos val="r"/>
        <c:numFmt formatCode="General" sourceLinked="1"/>
        <c:tickLblPos val="none"/>
        <c:spPr>
          <a:ln>
            <a:solidFill>
              <a:schemeClr val="bg1"/>
            </a:solidFill>
          </a:ln>
        </c:spPr>
        <c:crossAx val="105492864"/>
        <c:crosses val="max"/>
        <c:crossBetween val="between"/>
        <c:majorUnit val="500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1.4025245441795231E-2"/>
          <c:y val="0"/>
          <c:w val="0.98036465638148662"/>
          <c:h val="0.97833643008282101"/>
        </c:manualLayout>
      </c:layout>
      <c:barChart>
        <c:barDir val="col"/>
        <c:grouping val="stacked"/>
        <c:ser>
          <c:idx val="0"/>
          <c:order val="0"/>
          <c:tx>
            <c:strRef>
              <c:f>Sheet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BFC5CE"/>
            </a:solidFill>
            <a:ln w="12615">
              <a:solidFill>
                <a:srgbClr val="FFFFFF"/>
              </a:solidFill>
              <a:prstDash val="solid"/>
            </a:ln>
          </c:spPr>
          <c:dPt>
            <c:idx val="11"/>
            <c:spPr>
              <a:noFill/>
              <a:ln w="25231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7B37-4C03-B2CB-333E70C8F775}"/>
              </c:ext>
            </c:extLst>
          </c:dPt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#ССЫЛКА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B37-4C03-B2CB-333E70C8F775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82141E"/>
            </a:solidFill>
            <a:ln w="12615">
              <a:solidFill>
                <a:srgbClr val="FFFFFF"/>
              </a:solidFill>
              <a:prstDash val="solid"/>
            </a:ln>
          </c:spPr>
          <c:dPt>
            <c:idx val="11"/>
            <c:spPr>
              <a:noFill/>
              <a:ln w="25231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7B37-4C03-B2CB-333E70C8F775}"/>
              </c:ext>
            </c:extLst>
          </c:dPt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0</c:formatCode>
                <c:ptCount val="6"/>
                <c:pt idx="0">
                  <c:v>13100000</c:v>
                </c:pt>
                <c:pt idx="1">
                  <c:v>14766210</c:v>
                </c:pt>
                <c:pt idx="2">
                  <c:v>14282358</c:v>
                </c:pt>
                <c:pt idx="3">
                  <c:v>13193963</c:v>
                </c:pt>
                <c:pt idx="4">
                  <c:v>12696121</c:v>
                </c:pt>
                <c:pt idx="5">
                  <c:v>117379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B37-4C03-B2CB-333E70C8F775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</c:strCache>
            </c:strRef>
          </c:tx>
          <c:spPr>
            <a:noFill/>
            <a:ln w="25231">
              <a:noFill/>
            </a:ln>
          </c:spPr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B37-4C03-B2CB-333E70C8F775}"/>
            </c:ext>
          </c:extLst>
        </c:ser>
        <c:gapWidth val="80"/>
        <c:overlap val="100"/>
        <c:axId val="107160704"/>
        <c:axId val="107162624"/>
      </c:barChart>
      <c:catAx>
        <c:axId val="107160704"/>
        <c:scaling>
          <c:orientation val="minMax"/>
        </c:scaling>
        <c:axPos val="b"/>
        <c:numFmt formatCode="General" sourceLinked="1"/>
        <c:tickLblPos val="none"/>
        <c:spPr>
          <a:ln w="12615">
            <a:solidFill>
              <a:schemeClr val="tx1"/>
            </a:solidFill>
            <a:prstDash val="solid"/>
          </a:ln>
        </c:spPr>
        <c:crossAx val="107162624"/>
        <c:crossesAt val="5000000"/>
        <c:auto val="1"/>
        <c:lblAlgn val="ctr"/>
        <c:lblOffset val="100"/>
      </c:catAx>
      <c:valAx>
        <c:axId val="107162624"/>
        <c:scaling>
          <c:orientation val="minMax"/>
          <c:max val="20000000"/>
          <c:min val="5000000"/>
        </c:scaling>
        <c:axPos val="l"/>
        <c:numFmt formatCode="General" sourceLinked="1"/>
        <c:tickLblPos val="none"/>
        <c:spPr>
          <a:ln w="12615">
            <a:solidFill>
              <a:srgbClr val="FFFFFF"/>
            </a:solidFill>
            <a:prstDash val="solid"/>
          </a:ln>
        </c:spPr>
        <c:crossAx val="107160704"/>
        <c:crosses val="autoZero"/>
        <c:crossBetween val="between"/>
        <c:majorUnit val="5000000"/>
      </c:valAx>
      <c:spPr>
        <a:noFill/>
        <a:ln w="25231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192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890405" cy="493951"/>
          </a:xfrm>
          <a:prstGeom prst="rect">
            <a:avLst/>
          </a:prstGeom>
        </p:spPr>
        <p:txBody>
          <a:bodyPr vert="horz" lIns="90315" tIns="45155" rIns="90315" bIns="4515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7135" y="6"/>
            <a:ext cx="2890405" cy="493951"/>
          </a:xfrm>
          <a:prstGeom prst="rect">
            <a:avLst/>
          </a:prstGeom>
        </p:spPr>
        <p:txBody>
          <a:bodyPr vert="horz" lIns="90315" tIns="45155" rIns="90315" bIns="45155" rtlCol="0"/>
          <a:lstStyle>
            <a:lvl1pPr algn="r">
              <a:defRPr sz="1200"/>
            </a:lvl1pPr>
          </a:lstStyle>
          <a:p>
            <a:fld id="{E222CDF8-8604-4B35-9CC1-788EB87CBDAB}" type="datetimeFigureOut">
              <a:rPr lang="ru-RU" smtClean="0"/>
              <a:pPr/>
              <a:t>12.03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8" y="9389838"/>
            <a:ext cx="2890405" cy="493951"/>
          </a:xfrm>
          <a:prstGeom prst="rect">
            <a:avLst/>
          </a:prstGeom>
        </p:spPr>
        <p:txBody>
          <a:bodyPr vert="horz" lIns="90315" tIns="45155" rIns="90315" bIns="45155" rtlCol="0" anchor="b"/>
          <a:lstStyle>
            <a:lvl1pPr algn="l">
              <a:defRPr sz="1200"/>
            </a:lvl1pPr>
          </a:lstStyle>
          <a:p>
            <a:r>
              <a:rPr lang="ru-RU" dirty="0"/>
              <a:t>Источник: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7135" y="9389838"/>
            <a:ext cx="2890405" cy="493951"/>
          </a:xfrm>
          <a:prstGeom prst="rect">
            <a:avLst/>
          </a:prstGeom>
        </p:spPr>
        <p:txBody>
          <a:bodyPr vert="horz" lIns="90315" tIns="45155" rIns="90315" bIns="45155" rtlCol="0" anchor="b"/>
          <a:lstStyle>
            <a:lvl1pPr algn="r">
              <a:defRPr sz="1200"/>
            </a:lvl1pPr>
          </a:lstStyle>
          <a:p>
            <a:fld id="{05C88867-14B9-484C-A464-87CC59FB7E4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428875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6"/>
            <a:ext cx="2889938" cy="494268"/>
          </a:xfrm>
          <a:prstGeom prst="rect">
            <a:avLst/>
          </a:prstGeom>
        </p:spPr>
        <p:txBody>
          <a:bodyPr vert="horz" lIns="90315" tIns="45155" rIns="90315" bIns="45155" rtlCol="0"/>
          <a:lstStyle>
            <a:lvl1pPr algn="l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14" y="6"/>
            <a:ext cx="2889938" cy="494268"/>
          </a:xfrm>
          <a:prstGeom prst="rect">
            <a:avLst/>
          </a:prstGeom>
        </p:spPr>
        <p:txBody>
          <a:bodyPr vert="horz" lIns="90315" tIns="45155" rIns="90315" bIns="45155" rtlCol="0"/>
          <a:lstStyle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6449C406-CA31-42F8-98A8-D1176EE56FD3}" type="datetimeFigureOut">
              <a:rPr lang="ru-RU" smtClean="0"/>
              <a:pPr/>
              <a:t>12.03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688" y="741363"/>
            <a:ext cx="6589712" cy="3708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15" tIns="45155" rIns="90315" bIns="4515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695554"/>
            <a:ext cx="5335270" cy="4448413"/>
          </a:xfrm>
          <a:prstGeom prst="rect">
            <a:avLst/>
          </a:prstGeom>
        </p:spPr>
        <p:txBody>
          <a:bodyPr vert="horz" lIns="90315" tIns="45155" rIns="90315" bIns="4515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9" y="9389386"/>
            <a:ext cx="2889938" cy="494268"/>
          </a:xfrm>
          <a:prstGeom prst="rect">
            <a:avLst/>
          </a:prstGeom>
        </p:spPr>
        <p:txBody>
          <a:bodyPr vert="horz" lIns="90315" tIns="45155" rIns="90315" bIns="45155" rtlCol="0" anchor="b"/>
          <a:lstStyle>
            <a:lvl1pPr algn="l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ru-RU" dirty="0"/>
              <a:t>Источник: 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14" y="9389386"/>
            <a:ext cx="2889938" cy="494268"/>
          </a:xfrm>
          <a:prstGeom prst="rect">
            <a:avLst/>
          </a:prstGeom>
        </p:spPr>
        <p:txBody>
          <a:bodyPr vert="horz" lIns="90315" tIns="45155" rIns="90315" bIns="45155" rtlCol="0" anchor="b"/>
          <a:lstStyle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EACF7A90-ED12-4C26-89CD-2AE871587C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1855348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315913" y="762000"/>
            <a:ext cx="6778626" cy="3813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40044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639657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11175" y="4662488"/>
            <a:ext cx="5929313" cy="33353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712490" y="421359"/>
            <a:ext cx="5335892" cy="3893229"/>
          </a:xfrm>
        </p:spPr>
        <p:txBody>
          <a:bodyPr>
            <a:normAutofit/>
          </a:bodyPr>
          <a:lstStyle/>
          <a:p>
            <a:pPr>
              <a:defRPr/>
            </a:pPr>
            <a:endParaRPr lang="ru-RU" dirty="0"/>
          </a:p>
        </p:txBody>
      </p:sp>
      <p:sp>
        <p:nvSpPr>
          <p:cNvPr id="1229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96E1A03-2E14-45DA-9610-92C17844BB30}" type="slidenum">
              <a:rPr lang="ru-RU" altLang="ru-RU" smtClean="0"/>
              <a:pPr/>
              <a:t>9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38150" y="5803900"/>
            <a:ext cx="5929313" cy="33369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67376" y="981593"/>
            <a:ext cx="5334336" cy="3891652"/>
          </a:xfrm>
        </p:spPr>
        <p:txBody>
          <a:bodyPr>
            <a:normAutofit/>
          </a:bodyPr>
          <a:lstStyle/>
          <a:p>
            <a:pPr>
              <a:defRPr/>
            </a:pPr>
            <a:endParaRPr lang="ru-RU" dirty="0"/>
          </a:p>
        </p:txBody>
      </p:sp>
      <p:sp>
        <p:nvSpPr>
          <p:cNvPr id="15364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F9847C3-639D-4984-9A3C-52CAD7FDEB35}" type="slidenum">
              <a:rPr lang="ru-RU" altLang="ru-RU" smtClean="0"/>
              <a:pPr/>
              <a:t>10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315913" y="762000"/>
            <a:ext cx="6778626" cy="3813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40044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5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7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5.v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6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5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7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843937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5510" name="think-cell Slide" r:id="rId4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9598" y="2787777"/>
            <a:ext cx="4498267" cy="301267"/>
          </a:xfrm>
        </p:spPr>
        <p:txBody>
          <a:bodyPr/>
          <a:lstStyle>
            <a:lvl1pPr algn="l"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8034" y="3435846"/>
            <a:ext cx="3704456" cy="35917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6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4" name="Picture 2" descr="F:\Визер Н.А\Презентации 2016\4 квартал\Андреев\08_12_2016\Рисунок1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3620" b="5486"/>
          <a:stretch/>
        </p:blipFill>
        <p:spPr bwMode="auto">
          <a:xfrm>
            <a:off x="-1736" y="2656"/>
            <a:ext cx="9143999" cy="3479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PKTBLSRV002\ASU-all\Презентации 2011-2016\Презентации\форматы разные\формат для презентаций\инфа\стили\низ шаблона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803"/>
          <a:stretch/>
        </p:blipFill>
        <p:spPr bwMode="auto">
          <a:xfrm>
            <a:off x="1588" y="399876"/>
            <a:ext cx="9144000" cy="474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52615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452937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7678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174"/>
            <a:ext cx="9144000" cy="401063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3568" y="3291840"/>
            <a:ext cx="6048672" cy="595643"/>
          </a:xfrm>
        </p:spPr>
        <p:txBody>
          <a:bodyPr anchor="t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eaLnBrk="1" hangingPunct="1"/>
            <a:r>
              <a:rPr lang="ru-RU" sz="1400" b="1" dirty="0">
                <a:latin typeface="Verdana" pitchFamily="34" charset="0"/>
              </a:rPr>
              <a:t>Тем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413314" y="3867894"/>
            <a:ext cx="4839227" cy="91810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306513" indent="-1306513">
              <a:defRPr/>
            </a:pPr>
            <a:r>
              <a:rPr lang="ru-RU" sz="1600" dirty="0">
                <a:latin typeface="Verdana" pitchFamily="34" charset="0"/>
                <a:cs typeface="Arial" pitchFamily="34" charset="0"/>
              </a:rPr>
              <a:t>Докладчик:</a:t>
            </a:r>
            <a:endParaRPr lang="ru-RU" sz="1600" b="1" dirty="0">
              <a:latin typeface="Verdana" pitchFamily="34" charset="0"/>
              <a:cs typeface="Arial" pitchFamily="34" charset="0"/>
            </a:endParaRPr>
          </a:p>
        </p:txBody>
      </p:sp>
      <p:grpSp>
        <p:nvGrpSpPr>
          <p:cNvPr id="5" name="Группа 5"/>
          <p:cNvGrpSpPr/>
          <p:nvPr userDrawn="1"/>
        </p:nvGrpSpPr>
        <p:grpSpPr>
          <a:xfrm>
            <a:off x="8244408" y="4888858"/>
            <a:ext cx="632618" cy="209618"/>
            <a:chOff x="6402288" y="5402560"/>
            <a:chExt cx="1200150" cy="530225"/>
          </a:xfrm>
          <a:solidFill>
            <a:srgbClr val="C00000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7164288" y="5402560"/>
              <a:ext cx="438150" cy="398463"/>
            </a:xfrm>
            <a:custGeom>
              <a:avLst/>
              <a:gdLst>
                <a:gd name="T0" fmla="*/ 164 w 276"/>
                <a:gd name="T1" fmla="*/ 0 h 251"/>
                <a:gd name="T2" fmla="*/ 179 w 276"/>
                <a:gd name="T3" fmla="*/ 1 h 251"/>
                <a:gd name="T4" fmla="*/ 195 w 276"/>
                <a:gd name="T5" fmla="*/ 2 h 251"/>
                <a:gd name="T6" fmla="*/ 212 w 276"/>
                <a:gd name="T7" fmla="*/ 5 h 251"/>
                <a:gd name="T8" fmla="*/ 228 w 276"/>
                <a:gd name="T9" fmla="*/ 11 h 251"/>
                <a:gd name="T10" fmla="*/ 243 w 276"/>
                <a:gd name="T11" fmla="*/ 20 h 251"/>
                <a:gd name="T12" fmla="*/ 255 w 276"/>
                <a:gd name="T13" fmla="*/ 33 h 251"/>
                <a:gd name="T14" fmla="*/ 265 w 276"/>
                <a:gd name="T15" fmla="*/ 47 h 251"/>
                <a:gd name="T16" fmla="*/ 270 w 276"/>
                <a:gd name="T17" fmla="*/ 63 h 251"/>
                <a:gd name="T18" fmla="*/ 274 w 276"/>
                <a:gd name="T19" fmla="*/ 77 h 251"/>
                <a:gd name="T20" fmla="*/ 275 w 276"/>
                <a:gd name="T21" fmla="*/ 90 h 251"/>
                <a:gd name="T22" fmla="*/ 276 w 276"/>
                <a:gd name="T23" fmla="*/ 101 h 251"/>
                <a:gd name="T24" fmla="*/ 275 w 276"/>
                <a:gd name="T25" fmla="*/ 155 h 251"/>
                <a:gd name="T26" fmla="*/ 275 w 276"/>
                <a:gd name="T27" fmla="*/ 167 h 251"/>
                <a:gd name="T28" fmla="*/ 272 w 276"/>
                <a:gd name="T29" fmla="*/ 181 h 251"/>
                <a:gd name="T30" fmla="*/ 268 w 276"/>
                <a:gd name="T31" fmla="*/ 196 h 251"/>
                <a:gd name="T32" fmla="*/ 260 w 276"/>
                <a:gd name="T33" fmla="*/ 211 h 251"/>
                <a:gd name="T34" fmla="*/ 249 w 276"/>
                <a:gd name="T35" fmla="*/ 225 h 251"/>
                <a:gd name="T36" fmla="*/ 235 w 276"/>
                <a:gd name="T37" fmla="*/ 235 h 251"/>
                <a:gd name="T38" fmla="*/ 220 w 276"/>
                <a:gd name="T39" fmla="*/ 243 h 251"/>
                <a:gd name="T40" fmla="*/ 203 w 276"/>
                <a:gd name="T41" fmla="*/ 247 h 251"/>
                <a:gd name="T42" fmla="*/ 187 w 276"/>
                <a:gd name="T43" fmla="*/ 250 h 251"/>
                <a:gd name="T44" fmla="*/ 171 w 276"/>
                <a:gd name="T45" fmla="*/ 250 h 251"/>
                <a:gd name="T46" fmla="*/ 101 w 276"/>
                <a:gd name="T47" fmla="*/ 251 h 251"/>
                <a:gd name="T48" fmla="*/ 82 w 276"/>
                <a:gd name="T49" fmla="*/ 250 h 251"/>
                <a:gd name="T50" fmla="*/ 66 w 276"/>
                <a:gd name="T51" fmla="*/ 246 h 251"/>
                <a:gd name="T52" fmla="*/ 52 w 276"/>
                <a:gd name="T53" fmla="*/ 240 h 251"/>
                <a:gd name="T54" fmla="*/ 40 w 276"/>
                <a:gd name="T55" fmla="*/ 229 h 251"/>
                <a:gd name="T56" fmla="*/ 13 w 276"/>
                <a:gd name="T57" fmla="*/ 195 h 251"/>
                <a:gd name="T58" fmla="*/ 6 w 276"/>
                <a:gd name="T59" fmla="*/ 186 h 251"/>
                <a:gd name="T60" fmla="*/ 2 w 276"/>
                <a:gd name="T61" fmla="*/ 177 h 251"/>
                <a:gd name="T62" fmla="*/ 0 w 276"/>
                <a:gd name="T63" fmla="*/ 167 h 251"/>
                <a:gd name="T64" fmla="*/ 2 w 276"/>
                <a:gd name="T65" fmla="*/ 157 h 251"/>
                <a:gd name="T66" fmla="*/ 7 w 276"/>
                <a:gd name="T67" fmla="*/ 148 h 251"/>
                <a:gd name="T68" fmla="*/ 13 w 276"/>
                <a:gd name="T69" fmla="*/ 139 h 251"/>
                <a:gd name="T70" fmla="*/ 160 w 276"/>
                <a:gd name="T71" fmla="*/ 84 h 251"/>
                <a:gd name="T72" fmla="*/ 90 w 276"/>
                <a:gd name="T73" fmla="*/ 177 h 251"/>
                <a:gd name="T74" fmla="*/ 86 w 276"/>
                <a:gd name="T75" fmla="*/ 184 h 251"/>
                <a:gd name="T76" fmla="*/ 84 w 276"/>
                <a:gd name="T77" fmla="*/ 191 h 251"/>
                <a:gd name="T78" fmla="*/ 85 w 276"/>
                <a:gd name="T79" fmla="*/ 199 h 251"/>
                <a:gd name="T80" fmla="*/ 89 w 276"/>
                <a:gd name="T81" fmla="*/ 205 h 251"/>
                <a:gd name="T82" fmla="*/ 96 w 276"/>
                <a:gd name="T83" fmla="*/ 208 h 251"/>
                <a:gd name="T84" fmla="*/ 106 w 276"/>
                <a:gd name="T85" fmla="*/ 209 h 251"/>
                <a:gd name="T86" fmla="*/ 168 w 276"/>
                <a:gd name="T87" fmla="*/ 208 h 251"/>
                <a:gd name="T88" fmla="*/ 177 w 276"/>
                <a:gd name="T89" fmla="*/ 207 h 251"/>
                <a:gd name="T90" fmla="*/ 185 w 276"/>
                <a:gd name="T91" fmla="*/ 202 h 251"/>
                <a:gd name="T92" fmla="*/ 190 w 276"/>
                <a:gd name="T93" fmla="*/ 194 h 251"/>
                <a:gd name="T94" fmla="*/ 191 w 276"/>
                <a:gd name="T95" fmla="*/ 185 h 251"/>
                <a:gd name="T96" fmla="*/ 192 w 276"/>
                <a:gd name="T97" fmla="*/ 69 h 251"/>
                <a:gd name="T98" fmla="*/ 191 w 276"/>
                <a:gd name="T99" fmla="*/ 61 h 251"/>
                <a:gd name="T100" fmla="*/ 188 w 276"/>
                <a:gd name="T101" fmla="*/ 53 h 251"/>
                <a:gd name="T102" fmla="*/ 181 w 276"/>
                <a:gd name="T103" fmla="*/ 46 h 251"/>
                <a:gd name="T104" fmla="*/ 172 w 276"/>
                <a:gd name="T105" fmla="*/ 43 h 251"/>
                <a:gd name="T106" fmla="*/ 164 w 276"/>
                <a:gd name="T107" fmla="*/ 42 h 251"/>
                <a:gd name="T108" fmla="*/ 55 w 276"/>
                <a:gd name="T109" fmla="*/ 26 h 251"/>
                <a:gd name="T110" fmla="*/ 56 w 276"/>
                <a:gd name="T111" fmla="*/ 18 h 251"/>
                <a:gd name="T112" fmla="*/ 59 w 276"/>
                <a:gd name="T113" fmla="*/ 11 h 251"/>
                <a:gd name="T114" fmla="*/ 66 w 276"/>
                <a:gd name="T115" fmla="*/ 4 h 251"/>
                <a:gd name="T116" fmla="*/ 74 w 276"/>
                <a:gd name="T117" fmla="*/ 1 h 251"/>
                <a:gd name="T118" fmla="*/ 81 w 276"/>
                <a:gd name="T11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6" h="251">
                  <a:moveTo>
                    <a:pt x="81" y="0"/>
                  </a:moveTo>
                  <a:lnTo>
                    <a:pt x="164" y="0"/>
                  </a:lnTo>
                  <a:lnTo>
                    <a:pt x="171" y="0"/>
                  </a:lnTo>
                  <a:lnTo>
                    <a:pt x="179" y="1"/>
                  </a:lnTo>
                  <a:lnTo>
                    <a:pt x="187" y="1"/>
                  </a:lnTo>
                  <a:lnTo>
                    <a:pt x="195" y="2"/>
                  </a:lnTo>
                  <a:lnTo>
                    <a:pt x="203" y="3"/>
                  </a:lnTo>
                  <a:lnTo>
                    <a:pt x="212" y="5"/>
                  </a:lnTo>
                  <a:lnTo>
                    <a:pt x="220" y="8"/>
                  </a:lnTo>
                  <a:lnTo>
                    <a:pt x="228" y="11"/>
                  </a:lnTo>
                  <a:lnTo>
                    <a:pt x="235" y="15"/>
                  </a:lnTo>
                  <a:lnTo>
                    <a:pt x="243" y="20"/>
                  </a:lnTo>
                  <a:lnTo>
                    <a:pt x="249" y="26"/>
                  </a:lnTo>
                  <a:lnTo>
                    <a:pt x="255" y="33"/>
                  </a:lnTo>
                  <a:lnTo>
                    <a:pt x="260" y="40"/>
                  </a:lnTo>
                  <a:lnTo>
                    <a:pt x="265" y="47"/>
                  </a:lnTo>
                  <a:lnTo>
                    <a:pt x="268" y="55"/>
                  </a:lnTo>
                  <a:lnTo>
                    <a:pt x="270" y="63"/>
                  </a:lnTo>
                  <a:lnTo>
                    <a:pt x="272" y="70"/>
                  </a:lnTo>
                  <a:lnTo>
                    <a:pt x="274" y="77"/>
                  </a:lnTo>
                  <a:lnTo>
                    <a:pt x="275" y="84"/>
                  </a:lnTo>
                  <a:lnTo>
                    <a:pt x="275" y="90"/>
                  </a:lnTo>
                  <a:lnTo>
                    <a:pt x="275" y="96"/>
                  </a:lnTo>
                  <a:lnTo>
                    <a:pt x="276" y="101"/>
                  </a:lnTo>
                  <a:lnTo>
                    <a:pt x="276" y="150"/>
                  </a:lnTo>
                  <a:lnTo>
                    <a:pt x="275" y="155"/>
                  </a:lnTo>
                  <a:lnTo>
                    <a:pt x="275" y="161"/>
                  </a:lnTo>
                  <a:lnTo>
                    <a:pt x="275" y="167"/>
                  </a:lnTo>
                  <a:lnTo>
                    <a:pt x="274" y="174"/>
                  </a:lnTo>
                  <a:lnTo>
                    <a:pt x="272" y="181"/>
                  </a:lnTo>
                  <a:lnTo>
                    <a:pt x="270" y="188"/>
                  </a:lnTo>
                  <a:lnTo>
                    <a:pt x="268" y="196"/>
                  </a:lnTo>
                  <a:lnTo>
                    <a:pt x="265" y="203"/>
                  </a:lnTo>
                  <a:lnTo>
                    <a:pt x="260" y="211"/>
                  </a:lnTo>
                  <a:lnTo>
                    <a:pt x="255" y="218"/>
                  </a:lnTo>
                  <a:lnTo>
                    <a:pt x="249" y="225"/>
                  </a:lnTo>
                  <a:lnTo>
                    <a:pt x="243" y="230"/>
                  </a:lnTo>
                  <a:lnTo>
                    <a:pt x="235" y="235"/>
                  </a:lnTo>
                  <a:lnTo>
                    <a:pt x="228" y="240"/>
                  </a:lnTo>
                  <a:lnTo>
                    <a:pt x="220" y="243"/>
                  </a:lnTo>
                  <a:lnTo>
                    <a:pt x="212" y="245"/>
                  </a:lnTo>
                  <a:lnTo>
                    <a:pt x="203" y="247"/>
                  </a:lnTo>
                  <a:lnTo>
                    <a:pt x="195" y="249"/>
                  </a:lnTo>
                  <a:lnTo>
                    <a:pt x="187" y="250"/>
                  </a:lnTo>
                  <a:lnTo>
                    <a:pt x="179" y="250"/>
                  </a:lnTo>
                  <a:lnTo>
                    <a:pt x="171" y="250"/>
                  </a:lnTo>
                  <a:lnTo>
                    <a:pt x="164" y="251"/>
                  </a:lnTo>
                  <a:lnTo>
                    <a:pt x="101" y="251"/>
                  </a:lnTo>
                  <a:lnTo>
                    <a:pt x="91" y="250"/>
                  </a:lnTo>
                  <a:lnTo>
                    <a:pt x="82" y="250"/>
                  </a:lnTo>
                  <a:lnTo>
                    <a:pt x="74" y="249"/>
                  </a:lnTo>
                  <a:lnTo>
                    <a:pt x="66" y="246"/>
                  </a:lnTo>
                  <a:lnTo>
                    <a:pt x="59" y="244"/>
                  </a:lnTo>
                  <a:lnTo>
                    <a:pt x="52" y="240"/>
                  </a:lnTo>
                  <a:lnTo>
                    <a:pt x="46" y="235"/>
                  </a:lnTo>
                  <a:lnTo>
                    <a:pt x="40" y="229"/>
                  </a:lnTo>
                  <a:lnTo>
                    <a:pt x="34" y="222"/>
                  </a:lnTo>
                  <a:lnTo>
                    <a:pt x="13" y="195"/>
                  </a:lnTo>
                  <a:lnTo>
                    <a:pt x="10" y="190"/>
                  </a:lnTo>
                  <a:lnTo>
                    <a:pt x="6" y="186"/>
                  </a:lnTo>
                  <a:lnTo>
                    <a:pt x="4" y="181"/>
                  </a:lnTo>
                  <a:lnTo>
                    <a:pt x="2" y="177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0" y="162"/>
                  </a:lnTo>
                  <a:lnTo>
                    <a:pt x="2" y="157"/>
                  </a:lnTo>
                  <a:lnTo>
                    <a:pt x="4" y="153"/>
                  </a:lnTo>
                  <a:lnTo>
                    <a:pt x="7" y="148"/>
                  </a:lnTo>
                  <a:lnTo>
                    <a:pt x="10" y="144"/>
                  </a:lnTo>
                  <a:lnTo>
                    <a:pt x="13" y="139"/>
                  </a:lnTo>
                  <a:lnTo>
                    <a:pt x="55" y="84"/>
                  </a:lnTo>
                  <a:lnTo>
                    <a:pt x="160" y="84"/>
                  </a:lnTo>
                  <a:lnTo>
                    <a:pt x="92" y="174"/>
                  </a:lnTo>
                  <a:lnTo>
                    <a:pt x="90" y="177"/>
                  </a:lnTo>
                  <a:lnTo>
                    <a:pt x="87" y="180"/>
                  </a:lnTo>
                  <a:lnTo>
                    <a:pt x="86" y="184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4" y="195"/>
                  </a:lnTo>
                  <a:lnTo>
                    <a:pt x="85" y="199"/>
                  </a:lnTo>
                  <a:lnTo>
                    <a:pt x="87" y="203"/>
                  </a:lnTo>
                  <a:lnTo>
                    <a:pt x="89" y="205"/>
                  </a:lnTo>
                  <a:lnTo>
                    <a:pt x="92" y="206"/>
                  </a:lnTo>
                  <a:lnTo>
                    <a:pt x="96" y="208"/>
                  </a:lnTo>
                  <a:lnTo>
                    <a:pt x="99" y="208"/>
                  </a:lnTo>
                  <a:lnTo>
                    <a:pt x="106" y="209"/>
                  </a:lnTo>
                  <a:lnTo>
                    <a:pt x="164" y="209"/>
                  </a:lnTo>
                  <a:lnTo>
                    <a:pt x="168" y="208"/>
                  </a:lnTo>
                  <a:lnTo>
                    <a:pt x="172" y="208"/>
                  </a:lnTo>
                  <a:lnTo>
                    <a:pt x="177" y="207"/>
                  </a:lnTo>
                  <a:lnTo>
                    <a:pt x="181" y="205"/>
                  </a:lnTo>
                  <a:lnTo>
                    <a:pt x="185" y="202"/>
                  </a:lnTo>
                  <a:lnTo>
                    <a:pt x="188" y="198"/>
                  </a:lnTo>
                  <a:lnTo>
                    <a:pt x="190" y="194"/>
                  </a:lnTo>
                  <a:lnTo>
                    <a:pt x="191" y="190"/>
                  </a:lnTo>
                  <a:lnTo>
                    <a:pt x="191" y="185"/>
                  </a:lnTo>
                  <a:lnTo>
                    <a:pt x="192" y="181"/>
                  </a:lnTo>
                  <a:lnTo>
                    <a:pt x="192" y="69"/>
                  </a:lnTo>
                  <a:lnTo>
                    <a:pt x="191" y="65"/>
                  </a:lnTo>
                  <a:lnTo>
                    <a:pt x="191" y="61"/>
                  </a:lnTo>
                  <a:lnTo>
                    <a:pt x="190" y="57"/>
                  </a:lnTo>
                  <a:lnTo>
                    <a:pt x="188" y="53"/>
                  </a:lnTo>
                  <a:lnTo>
                    <a:pt x="185" y="49"/>
                  </a:lnTo>
                  <a:lnTo>
                    <a:pt x="181" y="46"/>
                  </a:lnTo>
                  <a:lnTo>
                    <a:pt x="177" y="44"/>
                  </a:lnTo>
                  <a:lnTo>
                    <a:pt x="172" y="43"/>
                  </a:lnTo>
                  <a:lnTo>
                    <a:pt x="168" y="42"/>
                  </a:lnTo>
                  <a:lnTo>
                    <a:pt x="164" y="42"/>
                  </a:lnTo>
                  <a:lnTo>
                    <a:pt x="55" y="42"/>
                  </a:lnTo>
                  <a:lnTo>
                    <a:pt x="55" y="26"/>
                  </a:lnTo>
                  <a:lnTo>
                    <a:pt x="55" y="22"/>
                  </a:lnTo>
                  <a:lnTo>
                    <a:pt x="56" y="18"/>
                  </a:lnTo>
                  <a:lnTo>
                    <a:pt x="57" y="15"/>
                  </a:lnTo>
                  <a:lnTo>
                    <a:pt x="59" y="11"/>
                  </a:lnTo>
                  <a:lnTo>
                    <a:pt x="62" y="7"/>
                  </a:lnTo>
                  <a:lnTo>
                    <a:pt x="66" y="4"/>
                  </a:lnTo>
                  <a:lnTo>
                    <a:pt x="70" y="2"/>
                  </a:lnTo>
                  <a:lnTo>
                    <a:pt x="74" y="1"/>
                  </a:lnTo>
                  <a:lnTo>
                    <a:pt x="78" y="0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851550" y="5535910"/>
              <a:ext cx="366712" cy="265113"/>
            </a:xfrm>
            <a:custGeom>
              <a:avLst/>
              <a:gdLst>
                <a:gd name="T0" fmla="*/ 126 w 231"/>
                <a:gd name="T1" fmla="*/ 0 h 167"/>
                <a:gd name="T2" fmla="*/ 231 w 231"/>
                <a:gd name="T3" fmla="*/ 0 h 167"/>
                <a:gd name="T4" fmla="*/ 105 w 231"/>
                <a:gd name="T5" fmla="*/ 167 h 167"/>
                <a:gd name="T6" fmla="*/ 0 w 231"/>
                <a:gd name="T7" fmla="*/ 167 h 167"/>
                <a:gd name="T8" fmla="*/ 126 w 231"/>
                <a:gd name="T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167">
                  <a:moveTo>
                    <a:pt x="126" y="0"/>
                  </a:moveTo>
                  <a:lnTo>
                    <a:pt x="231" y="0"/>
                  </a:lnTo>
                  <a:lnTo>
                    <a:pt x="105" y="167"/>
                  </a:lnTo>
                  <a:lnTo>
                    <a:pt x="0" y="167"/>
                  </a:lnTo>
                  <a:lnTo>
                    <a:pt x="1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402288" y="5535910"/>
              <a:ext cx="504825" cy="396875"/>
            </a:xfrm>
            <a:custGeom>
              <a:avLst/>
              <a:gdLst>
                <a:gd name="T0" fmla="*/ 26 w 318"/>
                <a:gd name="T1" fmla="*/ 0 h 250"/>
                <a:gd name="T2" fmla="*/ 216 w 318"/>
                <a:gd name="T3" fmla="*/ 0 h 250"/>
                <a:gd name="T4" fmla="*/ 226 w 318"/>
                <a:gd name="T5" fmla="*/ 0 h 250"/>
                <a:gd name="T6" fmla="*/ 235 w 318"/>
                <a:gd name="T7" fmla="*/ 1 h 250"/>
                <a:gd name="T8" fmla="*/ 244 w 318"/>
                <a:gd name="T9" fmla="*/ 2 h 250"/>
                <a:gd name="T10" fmla="*/ 252 w 318"/>
                <a:gd name="T11" fmla="*/ 4 h 250"/>
                <a:gd name="T12" fmla="*/ 259 w 318"/>
                <a:gd name="T13" fmla="*/ 6 h 250"/>
                <a:gd name="T14" fmla="*/ 266 w 318"/>
                <a:gd name="T15" fmla="*/ 11 h 250"/>
                <a:gd name="T16" fmla="*/ 272 w 318"/>
                <a:gd name="T17" fmla="*/ 16 h 250"/>
                <a:gd name="T18" fmla="*/ 278 w 318"/>
                <a:gd name="T19" fmla="*/ 21 h 250"/>
                <a:gd name="T20" fmla="*/ 283 w 318"/>
                <a:gd name="T21" fmla="*/ 28 h 250"/>
                <a:gd name="T22" fmla="*/ 305 w 318"/>
                <a:gd name="T23" fmla="*/ 55 h 250"/>
                <a:gd name="T24" fmla="*/ 308 w 318"/>
                <a:gd name="T25" fmla="*/ 60 h 250"/>
                <a:gd name="T26" fmla="*/ 311 w 318"/>
                <a:gd name="T27" fmla="*/ 65 h 250"/>
                <a:gd name="T28" fmla="*/ 314 w 318"/>
                <a:gd name="T29" fmla="*/ 69 h 250"/>
                <a:gd name="T30" fmla="*/ 316 w 318"/>
                <a:gd name="T31" fmla="*/ 73 h 250"/>
                <a:gd name="T32" fmla="*/ 317 w 318"/>
                <a:gd name="T33" fmla="*/ 78 h 250"/>
                <a:gd name="T34" fmla="*/ 318 w 318"/>
                <a:gd name="T35" fmla="*/ 83 h 250"/>
                <a:gd name="T36" fmla="*/ 317 w 318"/>
                <a:gd name="T37" fmla="*/ 88 h 250"/>
                <a:gd name="T38" fmla="*/ 316 w 318"/>
                <a:gd name="T39" fmla="*/ 93 h 250"/>
                <a:gd name="T40" fmla="*/ 314 w 318"/>
                <a:gd name="T41" fmla="*/ 97 h 250"/>
                <a:gd name="T42" fmla="*/ 311 w 318"/>
                <a:gd name="T43" fmla="*/ 102 h 250"/>
                <a:gd name="T44" fmla="*/ 308 w 318"/>
                <a:gd name="T45" fmla="*/ 106 h 250"/>
                <a:gd name="T46" fmla="*/ 305 w 318"/>
                <a:gd name="T47" fmla="*/ 111 h 250"/>
                <a:gd name="T48" fmla="*/ 262 w 318"/>
                <a:gd name="T49" fmla="*/ 167 h 250"/>
                <a:gd name="T50" fmla="*/ 157 w 318"/>
                <a:gd name="T51" fmla="*/ 167 h 250"/>
                <a:gd name="T52" fmla="*/ 226 w 318"/>
                <a:gd name="T53" fmla="*/ 76 h 250"/>
                <a:gd name="T54" fmla="*/ 228 w 318"/>
                <a:gd name="T55" fmla="*/ 73 h 250"/>
                <a:gd name="T56" fmla="*/ 230 w 318"/>
                <a:gd name="T57" fmla="*/ 70 h 250"/>
                <a:gd name="T58" fmla="*/ 232 w 318"/>
                <a:gd name="T59" fmla="*/ 66 h 250"/>
                <a:gd name="T60" fmla="*/ 233 w 318"/>
                <a:gd name="T61" fmla="*/ 63 h 250"/>
                <a:gd name="T62" fmla="*/ 234 w 318"/>
                <a:gd name="T63" fmla="*/ 59 h 250"/>
                <a:gd name="T64" fmla="*/ 234 w 318"/>
                <a:gd name="T65" fmla="*/ 55 h 250"/>
                <a:gd name="T66" fmla="*/ 233 w 318"/>
                <a:gd name="T67" fmla="*/ 51 h 250"/>
                <a:gd name="T68" fmla="*/ 231 w 318"/>
                <a:gd name="T69" fmla="*/ 48 h 250"/>
                <a:gd name="T70" fmla="*/ 228 w 318"/>
                <a:gd name="T71" fmla="*/ 45 h 250"/>
                <a:gd name="T72" fmla="*/ 225 w 318"/>
                <a:gd name="T73" fmla="*/ 44 h 250"/>
                <a:gd name="T74" fmla="*/ 222 w 318"/>
                <a:gd name="T75" fmla="*/ 43 h 250"/>
                <a:gd name="T76" fmla="*/ 219 w 318"/>
                <a:gd name="T77" fmla="*/ 42 h 250"/>
                <a:gd name="T78" fmla="*/ 215 w 318"/>
                <a:gd name="T79" fmla="*/ 42 h 250"/>
                <a:gd name="T80" fmla="*/ 212 w 318"/>
                <a:gd name="T81" fmla="*/ 42 h 250"/>
                <a:gd name="T82" fmla="*/ 126 w 318"/>
                <a:gd name="T83" fmla="*/ 42 h 250"/>
                <a:gd name="T84" fmla="*/ 126 w 318"/>
                <a:gd name="T85" fmla="*/ 250 h 250"/>
                <a:gd name="T86" fmla="*/ 42 w 318"/>
                <a:gd name="T87" fmla="*/ 250 h 250"/>
                <a:gd name="T88" fmla="*/ 42 w 318"/>
                <a:gd name="T89" fmla="*/ 42 h 250"/>
                <a:gd name="T90" fmla="*/ 0 w 318"/>
                <a:gd name="T91" fmla="*/ 42 h 250"/>
                <a:gd name="T92" fmla="*/ 0 w 318"/>
                <a:gd name="T93" fmla="*/ 25 h 250"/>
                <a:gd name="T94" fmla="*/ 0 w 318"/>
                <a:gd name="T95" fmla="*/ 22 h 250"/>
                <a:gd name="T96" fmla="*/ 1 w 318"/>
                <a:gd name="T97" fmla="*/ 18 h 250"/>
                <a:gd name="T98" fmla="*/ 2 w 318"/>
                <a:gd name="T99" fmla="*/ 14 h 250"/>
                <a:gd name="T100" fmla="*/ 4 w 318"/>
                <a:gd name="T101" fmla="*/ 10 h 250"/>
                <a:gd name="T102" fmla="*/ 7 w 318"/>
                <a:gd name="T103" fmla="*/ 6 h 250"/>
                <a:gd name="T104" fmla="*/ 11 w 318"/>
                <a:gd name="T105" fmla="*/ 4 h 250"/>
                <a:gd name="T106" fmla="*/ 15 w 318"/>
                <a:gd name="T107" fmla="*/ 2 h 250"/>
                <a:gd name="T108" fmla="*/ 18 w 318"/>
                <a:gd name="T109" fmla="*/ 1 h 250"/>
                <a:gd name="T110" fmla="*/ 22 w 318"/>
                <a:gd name="T111" fmla="*/ 0 h 250"/>
                <a:gd name="T112" fmla="*/ 26 w 318"/>
                <a:gd name="T1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8" h="250">
                  <a:moveTo>
                    <a:pt x="26" y="0"/>
                  </a:moveTo>
                  <a:lnTo>
                    <a:pt x="216" y="0"/>
                  </a:lnTo>
                  <a:lnTo>
                    <a:pt x="226" y="0"/>
                  </a:lnTo>
                  <a:lnTo>
                    <a:pt x="235" y="1"/>
                  </a:lnTo>
                  <a:lnTo>
                    <a:pt x="244" y="2"/>
                  </a:lnTo>
                  <a:lnTo>
                    <a:pt x="252" y="4"/>
                  </a:lnTo>
                  <a:lnTo>
                    <a:pt x="259" y="6"/>
                  </a:lnTo>
                  <a:lnTo>
                    <a:pt x="266" y="11"/>
                  </a:lnTo>
                  <a:lnTo>
                    <a:pt x="272" y="16"/>
                  </a:lnTo>
                  <a:lnTo>
                    <a:pt x="278" y="21"/>
                  </a:lnTo>
                  <a:lnTo>
                    <a:pt x="283" y="28"/>
                  </a:lnTo>
                  <a:lnTo>
                    <a:pt x="305" y="55"/>
                  </a:lnTo>
                  <a:lnTo>
                    <a:pt x="308" y="60"/>
                  </a:lnTo>
                  <a:lnTo>
                    <a:pt x="311" y="65"/>
                  </a:lnTo>
                  <a:lnTo>
                    <a:pt x="314" y="69"/>
                  </a:lnTo>
                  <a:lnTo>
                    <a:pt x="316" y="73"/>
                  </a:lnTo>
                  <a:lnTo>
                    <a:pt x="317" y="78"/>
                  </a:lnTo>
                  <a:lnTo>
                    <a:pt x="318" y="83"/>
                  </a:lnTo>
                  <a:lnTo>
                    <a:pt x="317" y="88"/>
                  </a:lnTo>
                  <a:lnTo>
                    <a:pt x="316" y="93"/>
                  </a:lnTo>
                  <a:lnTo>
                    <a:pt x="314" y="97"/>
                  </a:lnTo>
                  <a:lnTo>
                    <a:pt x="311" y="102"/>
                  </a:lnTo>
                  <a:lnTo>
                    <a:pt x="308" y="106"/>
                  </a:lnTo>
                  <a:lnTo>
                    <a:pt x="305" y="111"/>
                  </a:lnTo>
                  <a:lnTo>
                    <a:pt x="262" y="167"/>
                  </a:lnTo>
                  <a:lnTo>
                    <a:pt x="157" y="167"/>
                  </a:lnTo>
                  <a:lnTo>
                    <a:pt x="226" y="76"/>
                  </a:lnTo>
                  <a:lnTo>
                    <a:pt x="228" y="73"/>
                  </a:lnTo>
                  <a:lnTo>
                    <a:pt x="230" y="70"/>
                  </a:lnTo>
                  <a:lnTo>
                    <a:pt x="232" y="66"/>
                  </a:lnTo>
                  <a:lnTo>
                    <a:pt x="233" y="63"/>
                  </a:lnTo>
                  <a:lnTo>
                    <a:pt x="234" y="59"/>
                  </a:lnTo>
                  <a:lnTo>
                    <a:pt x="234" y="55"/>
                  </a:lnTo>
                  <a:lnTo>
                    <a:pt x="233" y="51"/>
                  </a:lnTo>
                  <a:lnTo>
                    <a:pt x="231" y="48"/>
                  </a:lnTo>
                  <a:lnTo>
                    <a:pt x="228" y="45"/>
                  </a:lnTo>
                  <a:lnTo>
                    <a:pt x="225" y="44"/>
                  </a:lnTo>
                  <a:lnTo>
                    <a:pt x="222" y="43"/>
                  </a:lnTo>
                  <a:lnTo>
                    <a:pt x="219" y="42"/>
                  </a:lnTo>
                  <a:lnTo>
                    <a:pt x="215" y="42"/>
                  </a:lnTo>
                  <a:lnTo>
                    <a:pt x="212" y="42"/>
                  </a:lnTo>
                  <a:lnTo>
                    <a:pt x="126" y="42"/>
                  </a:lnTo>
                  <a:lnTo>
                    <a:pt x="126" y="250"/>
                  </a:lnTo>
                  <a:lnTo>
                    <a:pt x="42" y="250"/>
                  </a:lnTo>
                  <a:lnTo>
                    <a:pt x="42" y="42"/>
                  </a:lnTo>
                  <a:lnTo>
                    <a:pt x="0" y="42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8" y="1"/>
                  </a:lnTo>
                  <a:lnTo>
                    <a:pt x="22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455876" y="4783461"/>
            <a:ext cx="2232248" cy="36004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/>
              <a:t>Город – 01.01.2015</a:t>
            </a:r>
          </a:p>
        </p:txBody>
      </p:sp>
    </p:spTree>
    <p:extLst>
      <p:ext uri="{BB962C8B-B14F-4D97-AF65-F5344CB8AC3E}">
        <p14:creationId xmlns:p14="http://schemas.microsoft.com/office/powerpoint/2010/main" xmlns="" val="944647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810723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8702" name="think-cell Slide" r:id="rId3" imgW="360" imgH="360" progId="">
              <p:embed/>
            </p:oleObj>
          </a:graphicData>
        </a:graphic>
      </p:graphicFrame>
      <p:pic>
        <p:nvPicPr>
          <p:cNvPr id="3" name="Рисунок 6" descr="Рисунок1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1176" y="108012"/>
            <a:ext cx="7931224" cy="519522"/>
          </a:xfrm>
        </p:spPr>
        <p:txBody>
          <a:bodyPr anchor="t"/>
          <a:lstStyle>
            <a:lvl1pPr algn="l">
              <a:defRPr sz="19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108444" y="4869657"/>
            <a:ext cx="5904035" cy="273844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latin typeface="Verdana" pitchFamily="34" charset="0"/>
                <a:cs typeface="Arial" charset="0"/>
              </a:defRPr>
            </a:lvl1pPr>
          </a:lstStyle>
          <a:p>
            <a:pPr>
              <a:defRPr/>
            </a:pPr>
            <a:fld id="{AD4D07D8-80C9-409F-93FB-8D581E596DE7}" type="slidenum">
              <a:rPr lang="ru-RU" smtClean="0">
                <a:cs typeface="Verdana" panose="020B0604030504040204" pitchFamily="34" charset="0"/>
              </a:rPr>
              <a:pPr>
                <a:defRPr/>
              </a:pPr>
              <a:t>‹#›</a:t>
            </a:fld>
            <a:r>
              <a:rPr lang="ru-RU" dirty="0">
                <a:cs typeface="Verdana" panose="020B0604030504040204" pitchFamily="34" charset="0"/>
              </a:rPr>
              <a:t> </a:t>
            </a:r>
            <a:r>
              <a:rPr lang="en-US" dirty="0"/>
              <a:t>| </a:t>
            </a:r>
            <a:r>
              <a:rPr lang="ru-RU" dirty="0"/>
              <a:t>Пригородный железнодорожный транспорт РФ</a:t>
            </a:r>
            <a:r>
              <a:rPr lang="en-US" dirty="0"/>
              <a:t> | 25.08.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0005535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62199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3814" name="think-cell Slide" r:id="rId4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9598" y="2787777"/>
            <a:ext cx="4498267" cy="301267"/>
          </a:xfrm>
        </p:spPr>
        <p:txBody>
          <a:bodyPr/>
          <a:lstStyle>
            <a:lvl1pPr algn="l"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8034" y="3435846"/>
            <a:ext cx="3704456" cy="35917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6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4" name="Picture 2" descr="F:\Визер Н.А\Презентации 2016\4 квартал\Андреев\08_12_2016\Рисунок1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3620" b="5486"/>
          <a:stretch/>
        </p:blipFill>
        <p:spPr bwMode="auto">
          <a:xfrm>
            <a:off x="-1736" y="2656"/>
            <a:ext cx="9143999" cy="3479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PKTBLSRV002\ASU-all\Презентации 2011-2016\Презентации\форматы разные\формат для презентаций\инфа\стили\низ шаблона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803"/>
          <a:stretch/>
        </p:blipFill>
        <p:spPr bwMode="auto">
          <a:xfrm>
            <a:off x="1588" y="399876"/>
            <a:ext cx="9144000" cy="474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1451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329929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4839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79"/>
            <a:ext cx="2133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79"/>
            <a:ext cx="2895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EE0CFD-6CE0-4D6A-8C17-4FFB86DA98F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09484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065625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5863" name="think-cell Slide" r:id="rId3" imgW="360" imgH="360" progId="">
              <p:embed/>
            </p:oleObj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79"/>
            <a:ext cx="2133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79"/>
            <a:ext cx="2895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EE0CFD-6CE0-4D6A-8C17-4FFB86DA98F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99274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14532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6886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174"/>
            <a:ext cx="9144000" cy="401063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3568" y="3291840"/>
            <a:ext cx="6048672" cy="595643"/>
          </a:xfrm>
        </p:spPr>
        <p:txBody>
          <a:bodyPr anchor="t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eaLnBrk="1" hangingPunct="1"/>
            <a:r>
              <a:rPr lang="ru-RU" sz="1400" b="1" dirty="0">
                <a:latin typeface="Verdana" pitchFamily="34" charset="0"/>
              </a:rPr>
              <a:t>Тем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413314" y="3867894"/>
            <a:ext cx="4839227" cy="91810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306513" indent="-1306513">
              <a:defRPr/>
            </a:pPr>
            <a:r>
              <a:rPr lang="ru-RU" sz="1600" dirty="0">
                <a:latin typeface="Verdana" pitchFamily="34" charset="0"/>
                <a:cs typeface="Arial" pitchFamily="34" charset="0"/>
              </a:rPr>
              <a:t>Докладчик:</a:t>
            </a:r>
            <a:endParaRPr lang="ru-RU" sz="1600" b="1" dirty="0">
              <a:latin typeface="Verdana" pitchFamily="34" charset="0"/>
              <a:cs typeface="Arial" pitchFamily="34" charset="0"/>
            </a:endParaRPr>
          </a:p>
        </p:txBody>
      </p:sp>
      <p:grpSp>
        <p:nvGrpSpPr>
          <p:cNvPr id="5" name="Группа 5"/>
          <p:cNvGrpSpPr/>
          <p:nvPr userDrawn="1"/>
        </p:nvGrpSpPr>
        <p:grpSpPr>
          <a:xfrm>
            <a:off x="8244408" y="4888858"/>
            <a:ext cx="632618" cy="209618"/>
            <a:chOff x="6402288" y="5402560"/>
            <a:chExt cx="1200150" cy="530225"/>
          </a:xfrm>
          <a:solidFill>
            <a:srgbClr val="C00000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7164288" y="5402560"/>
              <a:ext cx="438150" cy="398463"/>
            </a:xfrm>
            <a:custGeom>
              <a:avLst/>
              <a:gdLst>
                <a:gd name="T0" fmla="*/ 164 w 276"/>
                <a:gd name="T1" fmla="*/ 0 h 251"/>
                <a:gd name="T2" fmla="*/ 179 w 276"/>
                <a:gd name="T3" fmla="*/ 1 h 251"/>
                <a:gd name="T4" fmla="*/ 195 w 276"/>
                <a:gd name="T5" fmla="*/ 2 h 251"/>
                <a:gd name="T6" fmla="*/ 212 w 276"/>
                <a:gd name="T7" fmla="*/ 5 h 251"/>
                <a:gd name="T8" fmla="*/ 228 w 276"/>
                <a:gd name="T9" fmla="*/ 11 h 251"/>
                <a:gd name="T10" fmla="*/ 243 w 276"/>
                <a:gd name="T11" fmla="*/ 20 h 251"/>
                <a:gd name="T12" fmla="*/ 255 w 276"/>
                <a:gd name="T13" fmla="*/ 33 h 251"/>
                <a:gd name="T14" fmla="*/ 265 w 276"/>
                <a:gd name="T15" fmla="*/ 47 h 251"/>
                <a:gd name="T16" fmla="*/ 270 w 276"/>
                <a:gd name="T17" fmla="*/ 63 h 251"/>
                <a:gd name="T18" fmla="*/ 274 w 276"/>
                <a:gd name="T19" fmla="*/ 77 h 251"/>
                <a:gd name="T20" fmla="*/ 275 w 276"/>
                <a:gd name="T21" fmla="*/ 90 h 251"/>
                <a:gd name="T22" fmla="*/ 276 w 276"/>
                <a:gd name="T23" fmla="*/ 101 h 251"/>
                <a:gd name="T24" fmla="*/ 275 w 276"/>
                <a:gd name="T25" fmla="*/ 155 h 251"/>
                <a:gd name="T26" fmla="*/ 275 w 276"/>
                <a:gd name="T27" fmla="*/ 167 h 251"/>
                <a:gd name="T28" fmla="*/ 272 w 276"/>
                <a:gd name="T29" fmla="*/ 181 h 251"/>
                <a:gd name="T30" fmla="*/ 268 w 276"/>
                <a:gd name="T31" fmla="*/ 196 h 251"/>
                <a:gd name="T32" fmla="*/ 260 w 276"/>
                <a:gd name="T33" fmla="*/ 211 h 251"/>
                <a:gd name="T34" fmla="*/ 249 w 276"/>
                <a:gd name="T35" fmla="*/ 225 h 251"/>
                <a:gd name="T36" fmla="*/ 235 w 276"/>
                <a:gd name="T37" fmla="*/ 235 h 251"/>
                <a:gd name="T38" fmla="*/ 220 w 276"/>
                <a:gd name="T39" fmla="*/ 243 h 251"/>
                <a:gd name="T40" fmla="*/ 203 w 276"/>
                <a:gd name="T41" fmla="*/ 247 h 251"/>
                <a:gd name="T42" fmla="*/ 187 w 276"/>
                <a:gd name="T43" fmla="*/ 250 h 251"/>
                <a:gd name="T44" fmla="*/ 171 w 276"/>
                <a:gd name="T45" fmla="*/ 250 h 251"/>
                <a:gd name="T46" fmla="*/ 101 w 276"/>
                <a:gd name="T47" fmla="*/ 251 h 251"/>
                <a:gd name="T48" fmla="*/ 82 w 276"/>
                <a:gd name="T49" fmla="*/ 250 h 251"/>
                <a:gd name="T50" fmla="*/ 66 w 276"/>
                <a:gd name="T51" fmla="*/ 246 h 251"/>
                <a:gd name="T52" fmla="*/ 52 w 276"/>
                <a:gd name="T53" fmla="*/ 240 h 251"/>
                <a:gd name="T54" fmla="*/ 40 w 276"/>
                <a:gd name="T55" fmla="*/ 229 h 251"/>
                <a:gd name="T56" fmla="*/ 13 w 276"/>
                <a:gd name="T57" fmla="*/ 195 h 251"/>
                <a:gd name="T58" fmla="*/ 6 w 276"/>
                <a:gd name="T59" fmla="*/ 186 h 251"/>
                <a:gd name="T60" fmla="*/ 2 w 276"/>
                <a:gd name="T61" fmla="*/ 177 h 251"/>
                <a:gd name="T62" fmla="*/ 0 w 276"/>
                <a:gd name="T63" fmla="*/ 167 h 251"/>
                <a:gd name="T64" fmla="*/ 2 w 276"/>
                <a:gd name="T65" fmla="*/ 157 h 251"/>
                <a:gd name="T66" fmla="*/ 7 w 276"/>
                <a:gd name="T67" fmla="*/ 148 h 251"/>
                <a:gd name="T68" fmla="*/ 13 w 276"/>
                <a:gd name="T69" fmla="*/ 139 h 251"/>
                <a:gd name="T70" fmla="*/ 160 w 276"/>
                <a:gd name="T71" fmla="*/ 84 h 251"/>
                <a:gd name="T72" fmla="*/ 90 w 276"/>
                <a:gd name="T73" fmla="*/ 177 h 251"/>
                <a:gd name="T74" fmla="*/ 86 w 276"/>
                <a:gd name="T75" fmla="*/ 184 h 251"/>
                <a:gd name="T76" fmla="*/ 84 w 276"/>
                <a:gd name="T77" fmla="*/ 191 h 251"/>
                <a:gd name="T78" fmla="*/ 85 w 276"/>
                <a:gd name="T79" fmla="*/ 199 h 251"/>
                <a:gd name="T80" fmla="*/ 89 w 276"/>
                <a:gd name="T81" fmla="*/ 205 h 251"/>
                <a:gd name="T82" fmla="*/ 96 w 276"/>
                <a:gd name="T83" fmla="*/ 208 h 251"/>
                <a:gd name="T84" fmla="*/ 106 w 276"/>
                <a:gd name="T85" fmla="*/ 209 h 251"/>
                <a:gd name="T86" fmla="*/ 168 w 276"/>
                <a:gd name="T87" fmla="*/ 208 h 251"/>
                <a:gd name="T88" fmla="*/ 177 w 276"/>
                <a:gd name="T89" fmla="*/ 207 h 251"/>
                <a:gd name="T90" fmla="*/ 185 w 276"/>
                <a:gd name="T91" fmla="*/ 202 h 251"/>
                <a:gd name="T92" fmla="*/ 190 w 276"/>
                <a:gd name="T93" fmla="*/ 194 h 251"/>
                <a:gd name="T94" fmla="*/ 191 w 276"/>
                <a:gd name="T95" fmla="*/ 185 h 251"/>
                <a:gd name="T96" fmla="*/ 192 w 276"/>
                <a:gd name="T97" fmla="*/ 69 h 251"/>
                <a:gd name="T98" fmla="*/ 191 w 276"/>
                <a:gd name="T99" fmla="*/ 61 h 251"/>
                <a:gd name="T100" fmla="*/ 188 w 276"/>
                <a:gd name="T101" fmla="*/ 53 h 251"/>
                <a:gd name="T102" fmla="*/ 181 w 276"/>
                <a:gd name="T103" fmla="*/ 46 h 251"/>
                <a:gd name="T104" fmla="*/ 172 w 276"/>
                <a:gd name="T105" fmla="*/ 43 h 251"/>
                <a:gd name="T106" fmla="*/ 164 w 276"/>
                <a:gd name="T107" fmla="*/ 42 h 251"/>
                <a:gd name="T108" fmla="*/ 55 w 276"/>
                <a:gd name="T109" fmla="*/ 26 h 251"/>
                <a:gd name="T110" fmla="*/ 56 w 276"/>
                <a:gd name="T111" fmla="*/ 18 h 251"/>
                <a:gd name="T112" fmla="*/ 59 w 276"/>
                <a:gd name="T113" fmla="*/ 11 h 251"/>
                <a:gd name="T114" fmla="*/ 66 w 276"/>
                <a:gd name="T115" fmla="*/ 4 h 251"/>
                <a:gd name="T116" fmla="*/ 74 w 276"/>
                <a:gd name="T117" fmla="*/ 1 h 251"/>
                <a:gd name="T118" fmla="*/ 81 w 276"/>
                <a:gd name="T11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6" h="251">
                  <a:moveTo>
                    <a:pt x="81" y="0"/>
                  </a:moveTo>
                  <a:lnTo>
                    <a:pt x="164" y="0"/>
                  </a:lnTo>
                  <a:lnTo>
                    <a:pt x="171" y="0"/>
                  </a:lnTo>
                  <a:lnTo>
                    <a:pt x="179" y="1"/>
                  </a:lnTo>
                  <a:lnTo>
                    <a:pt x="187" y="1"/>
                  </a:lnTo>
                  <a:lnTo>
                    <a:pt x="195" y="2"/>
                  </a:lnTo>
                  <a:lnTo>
                    <a:pt x="203" y="3"/>
                  </a:lnTo>
                  <a:lnTo>
                    <a:pt x="212" y="5"/>
                  </a:lnTo>
                  <a:lnTo>
                    <a:pt x="220" y="8"/>
                  </a:lnTo>
                  <a:lnTo>
                    <a:pt x="228" y="11"/>
                  </a:lnTo>
                  <a:lnTo>
                    <a:pt x="235" y="15"/>
                  </a:lnTo>
                  <a:lnTo>
                    <a:pt x="243" y="20"/>
                  </a:lnTo>
                  <a:lnTo>
                    <a:pt x="249" y="26"/>
                  </a:lnTo>
                  <a:lnTo>
                    <a:pt x="255" y="33"/>
                  </a:lnTo>
                  <a:lnTo>
                    <a:pt x="260" y="40"/>
                  </a:lnTo>
                  <a:lnTo>
                    <a:pt x="265" y="47"/>
                  </a:lnTo>
                  <a:lnTo>
                    <a:pt x="268" y="55"/>
                  </a:lnTo>
                  <a:lnTo>
                    <a:pt x="270" y="63"/>
                  </a:lnTo>
                  <a:lnTo>
                    <a:pt x="272" y="70"/>
                  </a:lnTo>
                  <a:lnTo>
                    <a:pt x="274" y="77"/>
                  </a:lnTo>
                  <a:lnTo>
                    <a:pt x="275" y="84"/>
                  </a:lnTo>
                  <a:lnTo>
                    <a:pt x="275" y="90"/>
                  </a:lnTo>
                  <a:lnTo>
                    <a:pt x="275" y="96"/>
                  </a:lnTo>
                  <a:lnTo>
                    <a:pt x="276" y="101"/>
                  </a:lnTo>
                  <a:lnTo>
                    <a:pt x="276" y="150"/>
                  </a:lnTo>
                  <a:lnTo>
                    <a:pt x="275" y="155"/>
                  </a:lnTo>
                  <a:lnTo>
                    <a:pt x="275" y="161"/>
                  </a:lnTo>
                  <a:lnTo>
                    <a:pt x="275" y="167"/>
                  </a:lnTo>
                  <a:lnTo>
                    <a:pt x="274" y="174"/>
                  </a:lnTo>
                  <a:lnTo>
                    <a:pt x="272" y="181"/>
                  </a:lnTo>
                  <a:lnTo>
                    <a:pt x="270" y="188"/>
                  </a:lnTo>
                  <a:lnTo>
                    <a:pt x="268" y="196"/>
                  </a:lnTo>
                  <a:lnTo>
                    <a:pt x="265" y="203"/>
                  </a:lnTo>
                  <a:lnTo>
                    <a:pt x="260" y="211"/>
                  </a:lnTo>
                  <a:lnTo>
                    <a:pt x="255" y="218"/>
                  </a:lnTo>
                  <a:lnTo>
                    <a:pt x="249" y="225"/>
                  </a:lnTo>
                  <a:lnTo>
                    <a:pt x="243" y="230"/>
                  </a:lnTo>
                  <a:lnTo>
                    <a:pt x="235" y="235"/>
                  </a:lnTo>
                  <a:lnTo>
                    <a:pt x="228" y="240"/>
                  </a:lnTo>
                  <a:lnTo>
                    <a:pt x="220" y="243"/>
                  </a:lnTo>
                  <a:lnTo>
                    <a:pt x="212" y="245"/>
                  </a:lnTo>
                  <a:lnTo>
                    <a:pt x="203" y="247"/>
                  </a:lnTo>
                  <a:lnTo>
                    <a:pt x="195" y="249"/>
                  </a:lnTo>
                  <a:lnTo>
                    <a:pt x="187" y="250"/>
                  </a:lnTo>
                  <a:lnTo>
                    <a:pt x="179" y="250"/>
                  </a:lnTo>
                  <a:lnTo>
                    <a:pt x="171" y="250"/>
                  </a:lnTo>
                  <a:lnTo>
                    <a:pt x="164" y="251"/>
                  </a:lnTo>
                  <a:lnTo>
                    <a:pt x="101" y="251"/>
                  </a:lnTo>
                  <a:lnTo>
                    <a:pt x="91" y="250"/>
                  </a:lnTo>
                  <a:lnTo>
                    <a:pt x="82" y="250"/>
                  </a:lnTo>
                  <a:lnTo>
                    <a:pt x="74" y="249"/>
                  </a:lnTo>
                  <a:lnTo>
                    <a:pt x="66" y="246"/>
                  </a:lnTo>
                  <a:lnTo>
                    <a:pt x="59" y="244"/>
                  </a:lnTo>
                  <a:lnTo>
                    <a:pt x="52" y="240"/>
                  </a:lnTo>
                  <a:lnTo>
                    <a:pt x="46" y="235"/>
                  </a:lnTo>
                  <a:lnTo>
                    <a:pt x="40" y="229"/>
                  </a:lnTo>
                  <a:lnTo>
                    <a:pt x="34" y="222"/>
                  </a:lnTo>
                  <a:lnTo>
                    <a:pt x="13" y="195"/>
                  </a:lnTo>
                  <a:lnTo>
                    <a:pt x="10" y="190"/>
                  </a:lnTo>
                  <a:lnTo>
                    <a:pt x="6" y="186"/>
                  </a:lnTo>
                  <a:lnTo>
                    <a:pt x="4" y="181"/>
                  </a:lnTo>
                  <a:lnTo>
                    <a:pt x="2" y="177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0" y="162"/>
                  </a:lnTo>
                  <a:lnTo>
                    <a:pt x="2" y="157"/>
                  </a:lnTo>
                  <a:lnTo>
                    <a:pt x="4" y="153"/>
                  </a:lnTo>
                  <a:lnTo>
                    <a:pt x="7" y="148"/>
                  </a:lnTo>
                  <a:lnTo>
                    <a:pt x="10" y="144"/>
                  </a:lnTo>
                  <a:lnTo>
                    <a:pt x="13" y="139"/>
                  </a:lnTo>
                  <a:lnTo>
                    <a:pt x="55" y="84"/>
                  </a:lnTo>
                  <a:lnTo>
                    <a:pt x="160" y="84"/>
                  </a:lnTo>
                  <a:lnTo>
                    <a:pt x="92" y="174"/>
                  </a:lnTo>
                  <a:lnTo>
                    <a:pt x="90" y="177"/>
                  </a:lnTo>
                  <a:lnTo>
                    <a:pt x="87" y="180"/>
                  </a:lnTo>
                  <a:lnTo>
                    <a:pt x="86" y="184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4" y="195"/>
                  </a:lnTo>
                  <a:lnTo>
                    <a:pt x="85" y="199"/>
                  </a:lnTo>
                  <a:lnTo>
                    <a:pt x="87" y="203"/>
                  </a:lnTo>
                  <a:lnTo>
                    <a:pt x="89" y="205"/>
                  </a:lnTo>
                  <a:lnTo>
                    <a:pt x="92" y="206"/>
                  </a:lnTo>
                  <a:lnTo>
                    <a:pt x="96" y="208"/>
                  </a:lnTo>
                  <a:lnTo>
                    <a:pt x="99" y="208"/>
                  </a:lnTo>
                  <a:lnTo>
                    <a:pt x="106" y="209"/>
                  </a:lnTo>
                  <a:lnTo>
                    <a:pt x="164" y="209"/>
                  </a:lnTo>
                  <a:lnTo>
                    <a:pt x="168" y="208"/>
                  </a:lnTo>
                  <a:lnTo>
                    <a:pt x="172" y="208"/>
                  </a:lnTo>
                  <a:lnTo>
                    <a:pt x="177" y="207"/>
                  </a:lnTo>
                  <a:lnTo>
                    <a:pt x="181" y="205"/>
                  </a:lnTo>
                  <a:lnTo>
                    <a:pt x="185" y="202"/>
                  </a:lnTo>
                  <a:lnTo>
                    <a:pt x="188" y="198"/>
                  </a:lnTo>
                  <a:lnTo>
                    <a:pt x="190" y="194"/>
                  </a:lnTo>
                  <a:lnTo>
                    <a:pt x="191" y="190"/>
                  </a:lnTo>
                  <a:lnTo>
                    <a:pt x="191" y="185"/>
                  </a:lnTo>
                  <a:lnTo>
                    <a:pt x="192" y="181"/>
                  </a:lnTo>
                  <a:lnTo>
                    <a:pt x="192" y="69"/>
                  </a:lnTo>
                  <a:lnTo>
                    <a:pt x="191" y="65"/>
                  </a:lnTo>
                  <a:lnTo>
                    <a:pt x="191" y="61"/>
                  </a:lnTo>
                  <a:lnTo>
                    <a:pt x="190" y="57"/>
                  </a:lnTo>
                  <a:lnTo>
                    <a:pt x="188" y="53"/>
                  </a:lnTo>
                  <a:lnTo>
                    <a:pt x="185" y="49"/>
                  </a:lnTo>
                  <a:lnTo>
                    <a:pt x="181" y="46"/>
                  </a:lnTo>
                  <a:lnTo>
                    <a:pt x="177" y="44"/>
                  </a:lnTo>
                  <a:lnTo>
                    <a:pt x="172" y="43"/>
                  </a:lnTo>
                  <a:lnTo>
                    <a:pt x="168" y="42"/>
                  </a:lnTo>
                  <a:lnTo>
                    <a:pt x="164" y="42"/>
                  </a:lnTo>
                  <a:lnTo>
                    <a:pt x="55" y="42"/>
                  </a:lnTo>
                  <a:lnTo>
                    <a:pt x="55" y="26"/>
                  </a:lnTo>
                  <a:lnTo>
                    <a:pt x="55" y="22"/>
                  </a:lnTo>
                  <a:lnTo>
                    <a:pt x="56" y="18"/>
                  </a:lnTo>
                  <a:lnTo>
                    <a:pt x="57" y="15"/>
                  </a:lnTo>
                  <a:lnTo>
                    <a:pt x="59" y="11"/>
                  </a:lnTo>
                  <a:lnTo>
                    <a:pt x="62" y="7"/>
                  </a:lnTo>
                  <a:lnTo>
                    <a:pt x="66" y="4"/>
                  </a:lnTo>
                  <a:lnTo>
                    <a:pt x="70" y="2"/>
                  </a:lnTo>
                  <a:lnTo>
                    <a:pt x="74" y="1"/>
                  </a:lnTo>
                  <a:lnTo>
                    <a:pt x="78" y="0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851550" y="5535910"/>
              <a:ext cx="366712" cy="265113"/>
            </a:xfrm>
            <a:custGeom>
              <a:avLst/>
              <a:gdLst>
                <a:gd name="T0" fmla="*/ 126 w 231"/>
                <a:gd name="T1" fmla="*/ 0 h 167"/>
                <a:gd name="T2" fmla="*/ 231 w 231"/>
                <a:gd name="T3" fmla="*/ 0 h 167"/>
                <a:gd name="T4" fmla="*/ 105 w 231"/>
                <a:gd name="T5" fmla="*/ 167 h 167"/>
                <a:gd name="T6" fmla="*/ 0 w 231"/>
                <a:gd name="T7" fmla="*/ 167 h 167"/>
                <a:gd name="T8" fmla="*/ 126 w 231"/>
                <a:gd name="T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167">
                  <a:moveTo>
                    <a:pt x="126" y="0"/>
                  </a:moveTo>
                  <a:lnTo>
                    <a:pt x="231" y="0"/>
                  </a:lnTo>
                  <a:lnTo>
                    <a:pt x="105" y="167"/>
                  </a:lnTo>
                  <a:lnTo>
                    <a:pt x="0" y="167"/>
                  </a:lnTo>
                  <a:lnTo>
                    <a:pt x="1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402288" y="5535910"/>
              <a:ext cx="504825" cy="396875"/>
            </a:xfrm>
            <a:custGeom>
              <a:avLst/>
              <a:gdLst>
                <a:gd name="T0" fmla="*/ 26 w 318"/>
                <a:gd name="T1" fmla="*/ 0 h 250"/>
                <a:gd name="T2" fmla="*/ 216 w 318"/>
                <a:gd name="T3" fmla="*/ 0 h 250"/>
                <a:gd name="T4" fmla="*/ 226 w 318"/>
                <a:gd name="T5" fmla="*/ 0 h 250"/>
                <a:gd name="T6" fmla="*/ 235 w 318"/>
                <a:gd name="T7" fmla="*/ 1 h 250"/>
                <a:gd name="T8" fmla="*/ 244 w 318"/>
                <a:gd name="T9" fmla="*/ 2 h 250"/>
                <a:gd name="T10" fmla="*/ 252 w 318"/>
                <a:gd name="T11" fmla="*/ 4 h 250"/>
                <a:gd name="T12" fmla="*/ 259 w 318"/>
                <a:gd name="T13" fmla="*/ 6 h 250"/>
                <a:gd name="T14" fmla="*/ 266 w 318"/>
                <a:gd name="T15" fmla="*/ 11 h 250"/>
                <a:gd name="T16" fmla="*/ 272 w 318"/>
                <a:gd name="T17" fmla="*/ 16 h 250"/>
                <a:gd name="T18" fmla="*/ 278 w 318"/>
                <a:gd name="T19" fmla="*/ 21 h 250"/>
                <a:gd name="T20" fmla="*/ 283 w 318"/>
                <a:gd name="T21" fmla="*/ 28 h 250"/>
                <a:gd name="T22" fmla="*/ 305 w 318"/>
                <a:gd name="T23" fmla="*/ 55 h 250"/>
                <a:gd name="T24" fmla="*/ 308 w 318"/>
                <a:gd name="T25" fmla="*/ 60 h 250"/>
                <a:gd name="T26" fmla="*/ 311 w 318"/>
                <a:gd name="T27" fmla="*/ 65 h 250"/>
                <a:gd name="T28" fmla="*/ 314 w 318"/>
                <a:gd name="T29" fmla="*/ 69 h 250"/>
                <a:gd name="T30" fmla="*/ 316 w 318"/>
                <a:gd name="T31" fmla="*/ 73 h 250"/>
                <a:gd name="T32" fmla="*/ 317 w 318"/>
                <a:gd name="T33" fmla="*/ 78 h 250"/>
                <a:gd name="T34" fmla="*/ 318 w 318"/>
                <a:gd name="T35" fmla="*/ 83 h 250"/>
                <a:gd name="T36" fmla="*/ 317 w 318"/>
                <a:gd name="T37" fmla="*/ 88 h 250"/>
                <a:gd name="T38" fmla="*/ 316 w 318"/>
                <a:gd name="T39" fmla="*/ 93 h 250"/>
                <a:gd name="T40" fmla="*/ 314 w 318"/>
                <a:gd name="T41" fmla="*/ 97 h 250"/>
                <a:gd name="T42" fmla="*/ 311 w 318"/>
                <a:gd name="T43" fmla="*/ 102 h 250"/>
                <a:gd name="T44" fmla="*/ 308 w 318"/>
                <a:gd name="T45" fmla="*/ 106 h 250"/>
                <a:gd name="T46" fmla="*/ 305 w 318"/>
                <a:gd name="T47" fmla="*/ 111 h 250"/>
                <a:gd name="T48" fmla="*/ 262 w 318"/>
                <a:gd name="T49" fmla="*/ 167 h 250"/>
                <a:gd name="T50" fmla="*/ 157 w 318"/>
                <a:gd name="T51" fmla="*/ 167 h 250"/>
                <a:gd name="T52" fmla="*/ 226 w 318"/>
                <a:gd name="T53" fmla="*/ 76 h 250"/>
                <a:gd name="T54" fmla="*/ 228 w 318"/>
                <a:gd name="T55" fmla="*/ 73 h 250"/>
                <a:gd name="T56" fmla="*/ 230 w 318"/>
                <a:gd name="T57" fmla="*/ 70 h 250"/>
                <a:gd name="T58" fmla="*/ 232 w 318"/>
                <a:gd name="T59" fmla="*/ 66 h 250"/>
                <a:gd name="T60" fmla="*/ 233 w 318"/>
                <a:gd name="T61" fmla="*/ 63 h 250"/>
                <a:gd name="T62" fmla="*/ 234 w 318"/>
                <a:gd name="T63" fmla="*/ 59 h 250"/>
                <a:gd name="T64" fmla="*/ 234 w 318"/>
                <a:gd name="T65" fmla="*/ 55 h 250"/>
                <a:gd name="T66" fmla="*/ 233 w 318"/>
                <a:gd name="T67" fmla="*/ 51 h 250"/>
                <a:gd name="T68" fmla="*/ 231 w 318"/>
                <a:gd name="T69" fmla="*/ 48 h 250"/>
                <a:gd name="T70" fmla="*/ 228 w 318"/>
                <a:gd name="T71" fmla="*/ 45 h 250"/>
                <a:gd name="T72" fmla="*/ 225 w 318"/>
                <a:gd name="T73" fmla="*/ 44 h 250"/>
                <a:gd name="T74" fmla="*/ 222 w 318"/>
                <a:gd name="T75" fmla="*/ 43 h 250"/>
                <a:gd name="T76" fmla="*/ 219 w 318"/>
                <a:gd name="T77" fmla="*/ 42 h 250"/>
                <a:gd name="T78" fmla="*/ 215 w 318"/>
                <a:gd name="T79" fmla="*/ 42 h 250"/>
                <a:gd name="T80" fmla="*/ 212 w 318"/>
                <a:gd name="T81" fmla="*/ 42 h 250"/>
                <a:gd name="T82" fmla="*/ 126 w 318"/>
                <a:gd name="T83" fmla="*/ 42 h 250"/>
                <a:gd name="T84" fmla="*/ 126 w 318"/>
                <a:gd name="T85" fmla="*/ 250 h 250"/>
                <a:gd name="T86" fmla="*/ 42 w 318"/>
                <a:gd name="T87" fmla="*/ 250 h 250"/>
                <a:gd name="T88" fmla="*/ 42 w 318"/>
                <a:gd name="T89" fmla="*/ 42 h 250"/>
                <a:gd name="T90" fmla="*/ 0 w 318"/>
                <a:gd name="T91" fmla="*/ 42 h 250"/>
                <a:gd name="T92" fmla="*/ 0 w 318"/>
                <a:gd name="T93" fmla="*/ 25 h 250"/>
                <a:gd name="T94" fmla="*/ 0 w 318"/>
                <a:gd name="T95" fmla="*/ 22 h 250"/>
                <a:gd name="T96" fmla="*/ 1 w 318"/>
                <a:gd name="T97" fmla="*/ 18 h 250"/>
                <a:gd name="T98" fmla="*/ 2 w 318"/>
                <a:gd name="T99" fmla="*/ 14 h 250"/>
                <a:gd name="T100" fmla="*/ 4 w 318"/>
                <a:gd name="T101" fmla="*/ 10 h 250"/>
                <a:gd name="T102" fmla="*/ 7 w 318"/>
                <a:gd name="T103" fmla="*/ 6 h 250"/>
                <a:gd name="T104" fmla="*/ 11 w 318"/>
                <a:gd name="T105" fmla="*/ 4 h 250"/>
                <a:gd name="T106" fmla="*/ 15 w 318"/>
                <a:gd name="T107" fmla="*/ 2 h 250"/>
                <a:gd name="T108" fmla="*/ 18 w 318"/>
                <a:gd name="T109" fmla="*/ 1 h 250"/>
                <a:gd name="T110" fmla="*/ 22 w 318"/>
                <a:gd name="T111" fmla="*/ 0 h 250"/>
                <a:gd name="T112" fmla="*/ 26 w 318"/>
                <a:gd name="T1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8" h="250">
                  <a:moveTo>
                    <a:pt x="26" y="0"/>
                  </a:moveTo>
                  <a:lnTo>
                    <a:pt x="216" y="0"/>
                  </a:lnTo>
                  <a:lnTo>
                    <a:pt x="226" y="0"/>
                  </a:lnTo>
                  <a:lnTo>
                    <a:pt x="235" y="1"/>
                  </a:lnTo>
                  <a:lnTo>
                    <a:pt x="244" y="2"/>
                  </a:lnTo>
                  <a:lnTo>
                    <a:pt x="252" y="4"/>
                  </a:lnTo>
                  <a:lnTo>
                    <a:pt x="259" y="6"/>
                  </a:lnTo>
                  <a:lnTo>
                    <a:pt x="266" y="11"/>
                  </a:lnTo>
                  <a:lnTo>
                    <a:pt x="272" y="16"/>
                  </a:lnTo>
                  <a:lnTo>
                    <a:pt x="278" y="21"/>
                  </a:lnTo>
                  <a:lnTo>
                    <a:pt x="283" y="28"/>
                  </a:lnTo>
                  <a:lnTo>
                    <a:pt x="305" y="55"/>
                  </a:lnTo>
                  <a:lnTo>
                    <a:pt x="308" y="60"/>
                  </a:lnTo>
                  <a:lnTo>
                    <a:pt x="311" y="65"/>
                  </a:lnTo>
                  <a:lnTo>
                    <a:pt x="314" y="69"/>
                  </a:lnTo>
                  <a:lnTo>
                    <a:pt x="316" y="73"/>
                  </a:lnTo>
                  <a:lnTo>
                    <a:pt x="317" y="78"/>
                  </a:lnTo>
                  <a:lnTo>
                    <a:pt x="318" y="83"/>
                  </a:lnTo>
                  <a:lnTo>
                    <a:pt x="317" y="88"/>
                  </a:lnTo>
                  <a:lnTo>
                    <a:pt x="316" y="93"/>
                  </a:lnTo>
                  <a:lnTo>
                    <a:pt x="314" y="97"/>
                  </a:lnTo>
                  <a:lnTo>
                    <a:pt x="311" y="102"/>
                  </a:lnTo>
                  <a:lnTo>
                    <a:pt x="308" y="106"/>
                  </a:lnTo>
                  <a:lnTo>
                    <a:pt x="305" y="111"/>
                  </a:lnTo>
                  <a:lnTo>
                    <a:pt x="262" y="167"/>
                  </a:lnTo>
                  <a:lnTo>
                    <a:pt x="157" y="167"/>
                  </a:lnTo>
                  <a:lnTo>
                    <a:pt x="226" y="76"/>
                  </a:lnTo>
                  <a:lnTo>
                    <a:pt x="228" y="73"/>
                  </a:lnTo>
                  <a:lnTo>
                    <a:pt x="230" y="70"/>
                  </a:lnTo>
                  <a:lnTo>
                    <a:pt x="232" y="66"/>
                  </a:lnTo>
                  <a:lnTo>
                    <a:pt x="233" y="63"/>
                  </a:lnTo>
                  <a:lnTo>
                    <a:pt x="234" y="59"/>
                  </a:lnTo>
                  <a:lnTo>
                    <a:pt x="234" y="55"/>
                  </a:lnTo>
                  <a:lnTo>
                    <a:pt x="233" y="51"/>
                  </a:lnTo>
                  <a:lnTo>
                    <a:pt x="231" y="48"/>
                  </a:lnTo>
                  <a:lnTo>
                    <a:pt x="228" y="45"/>
                  </a:lnTo>
                  <a:lnTo>
                    <a:pt x="225" y="44"/>
                  </a:lnTo>
                  <a:lnTo>
                    <a:pt x="222" y="43"/>
                  </a:lnTo>
                  <a:lnTo>
                    <a:pt x="219" y="42"/>
                  </a:lnTo>
                  <a:lnTo>
                    <a:pt x="215" y="42"/>
                  </a:lnTo>
                  <a:lnTo>
                    <a:pt x="212" y="42"/>
                  </a:lnTo>
                  <a:lnTo>
                    <a:pt x="126" y="42"/>
                  </a:lnTo>
                  <a:lnTo>
                    <a:pt x="126" y="250"/>
                  </a:lnTo>
                  <a:lnTo>
                    <a:pt x="42" y="250"/>
                  </a:lnTo>
                  <a:lnTo>
                    <a:pt x="42" y="42"/>
                  </a:lnTo>
                  <a:lnTo>
                    <a:pt x="0" y="42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8" y="1"/>
                  </a:lnTo>
                  <a:lnTo>
                    <a:pt x="22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455876" y="4783461"/>
            <a:ext cx="2232248" cy="36004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/>
              <a:t>Город – 01.01.2015</a:t>
            </a:r>
          </a:p>
        </p:txBody>
      </p:sp>
    </p:spTree>
    <p:extLst>
      <p:ext uri="{BB962C8B-B14F-4D97-AF65-F5344CB8AC3E}">
        <p14:creationId xmlns:p14="http://schemas.microsoft.com/office/powerpoint/2010/main" xmlns="" val="11750034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143677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7910" name="think-cell Slide" r:id="rId3" imgW="360" imgH="360" progId="">
              <p:embed/>
            </p:oleObj>
          </a:graphicData>
        </a:graphic>
      </p:graphicFrame>
      <p:pic>
        <p:nvPicPr>
          <p:cNvPr id="3" name="Рисунок 6" descr="Рисунок1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1176" y="108012"/>
            <a:ext cx="7931224" cy="519522"/>
          </a:xfrm>
        </p:spPr>
        <p:txBody>
          <a:bodyPr anchor="t"/>
          <a:lstStyle>
            <a:lvl1pPr algn="l">
              <a:defRPr sz="19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108444" y="4869657"/>
            <a:ext cx="5904035" cy="273844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latin typeface="Verdana" pitchFamily="34" charset="0"/>
                <a:cs typeface="Arial" charset="0"/>
              </a:defRPr>
            </a:lvl1pPr>
          </a:lstStyle>
          <a:p>
            <a:pPr>
              <a:defRPr/>
            </a:pPr>
            <a:fld id="{AD4D07D8-80C9-409F-93FB-8D581E596DE7}" type="slidenum">
              <a:rPr lang="ru-RU" smtClean="0">
                <a:cs typeface="Verdana" panose="020B0604030504040204" pitchFamily="34" charset="0"/>
              </a:rPr>
              <a:pPr>
                <a:defRPr/>
              </a:pPr>
              <a:t>‹#›</a:t>
            </a:fld>
            <a:r>
              <a:rPr lang="ru-RU" dirty="0">
                <a:cs typeface="Verdana" panose="020B0604030504040204" pitchFamily="34" charset="0"/>
              </a:rPr>
              <a:t> </a:t>
            </a:r>
            <a:r>
              <a:rPr lang="en-US" dirty="0"/>
              <a:t>| </a:t>
            </a:r>
            <a:r>
              <a:rPr lang="ru-RU" dirty="0"/>
              <a:t>Пригородный железнодорожный транспорт РФ</a:t>
            </a:r>
            <a:r>
              <a:rPr lang="en-US" dirty="0"/>
              <a:t> | 25.08.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9687896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981978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1491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79"/>
            <a:ext cx="2133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79"/>
            <a:ext cx="2895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EE0CFD-6CE0-4D6A-8C17-4FFB86DA98F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94096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94320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3465" name="think-cell Slide" r:id="rId3" imgW="360" imgH="360" progId="">
              <p:embed/>
            </p:oleObj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79"/>
            <a:ext cx="2133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79"/>
            <a:ext cx="2895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EE0CFD-6CE0-4D6A-8C17-4FFB86DA98F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43614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021811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6534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174"/>
            <a:ext cx="9144000" cy="401063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3568" y="3291840"/>
            <a:ext cx="6048672" cy="595643"/>
          </a:xfrm>
        </p:spPr>
        <p:txBody>
          <a:bodyPr anchor="t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eaLnBrk="1" hangingPunct="1"/>
            <a:r>
              <a:rPr lang="ru-RU" sz="1400" b="1" dirty="0">
                <a:latin typeface="Verdana" pitchFamily="34" charset="0"/>
              </a:rPr>
              <a:t>Тем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413314" y="3867894"/>
            <a:ext cx="4839227" cy="91810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306513" indent="-1306513">
              <a:defRPr/>
            </a:pPr>
            <a:r>
              <a:rPr lang="ru-RU" sz="1600" dirty="0">
                <a:latin typeface="Verdana" pitchFamily="34" charset="0"/>
                <a:cs typeface="Arial" pitchFamily="34" charset="0"/>
              </a:rPr>
              <a:t>Докладчик:</a:t>
            </a:r>
            <a:endParaRPr lang="ru-RU" sz="1600" b="1" dirty="0">
              <a:latin typeface="Verdana" pitchFamily="34" charset="0"/>
              <a:cs typeface="Arial" pitchFamily="34" charset="0"/>
            </a:endParaRPr>
          </a:p>
        </p:txBody>
      </p:sp>
      <p:grpSp>
        <p:nvGrpSpPr>
          <p:cNvPr id="5" name="Группа 5"/>
          <p:cNvGrpSpPr/>
          <p:nvPr userDrawn="1"/>
        </p:nvGrpSpPr>
        <p:grpSpPr>
          <a:xfrm>
            <a:off x="8244408" y="4888858"/>
            <a:ext cx="632618" cy="209618"/>
            <a:chOff x="6402288" y="5402560"/>
            <a:chExt cx="1200150" cy="530225"/>
          </a:xfrm>
          <a:solidFill>
            <a:srgbClr val="C00000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7164288" y="5402560"/>
              <a:ext cx="438150" cy="398463"/>
            </a:xfrm>
            <a:custGeom>
              <a:avLst/>
              <a:gdLst>
                <a:gd name="T0" fmla="*/ 164 w 276"/>
                <a:gd name="T1" fmla="*/ 0 h 251"/>
                <a:gd name="T2" fmla="*/ 179 w 276"/>
                <a:gd name="T3" fmla="*/ 1 h 251"/>
                <a:gd name="T4" fmla="*/ 195 w 276"/>
                <a:gd name="T5" fmla="*/ 2 h 251"/>
                <a:gd name="T6" fmla="*/ 212 w 276"/>
                <a:gd name="T7" fmla="*/ 5 h 251"/>
                <a:gd name="T8" fmla="*/ 228 w 276"/>
                <a:gd name="T9" fmla="*/ 11 h 251"/>
                <a:gd name="T10" fmla="*/ 243 w 276"/>
                <a:gd name="T11" fmla="*/ 20 h 251"/>
                <a:gd name="T12" fmla="*/ 255 w 276"/>
                <a:gd name="T13" fmla="*/ 33 h 251"/>
                <a:gd name="T14" fmla="*/ 265 w 276"/>
                <a:gd name="T15" fmla="*/ 47 h 251"/>
                <a:gd name="T16" fmla="*/ 270 w 276"/>
                <a:gd name="T17" fmla="*/ 63 h 251"/>
                <a:gd name="T18" fmla="*/ 274 w 276"/>
                <a:gd name="T19" fmla="*/ 77 h 251"/>
                <a:gd name="T20" fmla="*/ 275 w 276"/>
                <a:gd name="T21" fmla="*/ 90 h 251"/>
                <a:gd name="T22" fmla="*/ 276 w 276"/>
                <a:gd name="T23" fmla="*/ 101 h 251"/>
                <a:gd name="T24" fmla="*/ 275 w 276"/>
                <a:gd name="T25" fmla="*/ 155 h 251"/>
                <a:gd name="T26" fmla="*/ 275 w 276"/>
                <a:gd name="T27" fmla="*/ 167 h 251"/>
                <a:gd name="T28" fmla="*/ 272 w 276"/>
                <a:gd name="T29" fmla="*/ 181 h 251"/>
                <a:gd name="T30" fmla="*/ 268 w 276"/>
                <a:gd name="T31" fmla="*/ 196 h 251"/>
                <a:gd name="T32" fmla="*/ 260 w 276"/>
                <a:gd name="T33" fmla="*/ 211 h 251"/>
                <a:gd name="T34" fmla="*/ 249 w 276"/>
                <a:gd name="T35" fmla="*/ 225 h 251"/>
                <a:gd name="T36" fmla="*/ 235 w 276"/>
                <a:gd name="T37" fmla="*/ 235 h 251"/>
                <a:gd name="T38" fmla="*/ 220 w 276"/>
                <a:gd name="T39" fmla="*/ 243 h 251"/>
                <a:gd name="T40" fmla="*/ 203 w 276"/>
                <a:gd name="T41" fmla="*/ 247 h 251"/>
                <a:gd name="T42" fmla="*/ 187 w 276"/>
                <a:gd name="T43" fmla="*/ 250 h 251"/>
                <a:gd name="T44" fmla="*/ 171 w 276"/>
                <a:gd name="T45" fmla="*/ 250 h 251"/>
                <a:gd name="T46" fmla="*/ 101 w 276"/>
                <a:gd name="T47" fmla="*/ 251 h 251"/>
                <a:gd name="T48" fmla="*/ 82 w 276"/>
                <a:gd name="T49" fmla="*/ 250 h 251"/>
                <a:gd name="T50" fmla="*/ 66 w 276"/>
                <a:gd name="T51" fmla="*/ 246 h 251"/>
                <a:gd name="T52" fmla="*/ 52 w 276"/>
                <a:gd name="T53" fmla="*/ 240 h 251"/>
                <a:gd name="T54" fmla="*/ 40 w 276"/>
                <a:gd name="T55" fmla="*/ 229 h 251"/>
                <a:gd name="T56" fmla="*/ 13 w 276"/>
                <a:gd name="T57" fmla="*/ 195 h 251"/>
                <a:gd name="T58" fmla="*/ 6 w 276"/>
                <a:gd name="T59" fmla="*/ 186 h 251"/>
                <a:gd name="T60" fmla="*/ 2 w 276"/>
                <a:gd name="T61" fmla="*/ 177 h 251"/>
                <a:gd name="T62" fmla="*/ 0 w 276"/>
                <a:gd name="T63" fmla="*/ 167 h 251"/>
                <a:gd name="T64" fmla="*/ 2 w 276"/>
                <a:gd name="T65" fmla="*/ 157 h 251"/>
                <a:gd name="T66" fmla="*/ 7 w 276"/>
                <a:gd name="T67" fmla="*/ 148 h 251"/>
                <a:gd name="T68" fmla="*/ 13 w 276"/>
                <a:gd name="T69" fmla="*/ 139 h 251"/>
                <a:gd name="T70" fmla="*/ 160 w 276"/>
                <a:gd name="T71" fmla="*/ 84 h 251"/>
                <a:gd name="T72" fmla="*/ 90 w 276"/>
                <a:gd name="T73" fmla="*/ 177 h 251"/>
                <a:gd name="T74" fmla="*/ 86 w 276"/>
                <a:gd name="T75" fmla="*/ 184 h 251"/>
                <a:gd name="T76" fmla="*/ 84 w 276"/>
                <a:gd name="T77" fmla="*/ 191 h 251"/>
                <a:gd name="T78" fmla="*/ 85 w 276"/>
                <a:gd name="T79" fmla="*/ 199 h 251"/>
                <a:gd name="T80" fmla="*/ 89 w 276"/>
                <a:gd name="T81" fmla="*/ 205 h 251"/>
                <a:gd name="T82" fmla="*/ 96 w 276"/>
                <a:gd name="T83" fmla="*/ 208 h 251"/>
                <a:gd name="T84" fmla="*/ 106 w 276"/>
                <a:gd name="T85" fmla="*/ 209 h 251"/>
                <a:gd name="T86" fmla="*/ 168 w 276"/>
                <a:gd name="T87" fmla="*/ 208 h 251"/>
                <a:gd name="T88" fmla="*/ 177 w 276"/>
                <a:gd name="T89" fmla="*/ 207 h 251"/>
                <a:gd name="T90" fmla="*/ 185 w 276"/>
                <a:gd name="T91" fmla="*/ 202 h 251"/>
                <a:gd name="T92" fmla="*/ 190 w 276"/>
                <a:gd name="T93" fmla="*/ 194 h 251"/>
                <a:gd name="T94" fmla="*/ 191 w 276"/>
                <a:gd name="T95" fmla="*/ 185 h 251"/>
                <a:gd name="T96" fmla="*/ 192 w 276"/>
                <a:gd name="T97" fmla="*/ 69 h 251"/>
                <a:gd name="T98" fmla="*/ 191 w 276"/>
                <a:gd name="T99" fmla="*/ 61 h 251"/>
                <a:gd name="T100" fmla="*/ 188 w 276"/>
                <a:gd name="T101" fmla="*/ 53 h 251"/>
                <a:gd name="T102" fmla="*/ 181 w 276"/>
                <a:gd name="T103" fmla="*/ 46 h 251"/>
                <a:gd name="T104" fmla="*/ 172 w 276"/>
                <a:gd name="T105" fmla="*/ 43 h 251"/>
                <a:gd name="T106" fmla="*/ 164 w 276"/>
                <a:gd name="T107" fmla="*/ 42 h 251"/>
                <a:gd name="T108" fmla="*/ 55 w 276"/>
                <a:gd name="T109" fmla="*/ 26 h 251"/>
                <a:gd name="T110" fmla="*/ 56 w 276"/>
                <a:gd name="T111" fmla="*/ 18 h 251"/>
                <a:gd name="T112" fmla="*/ 59 w 276"/>
                <a:gd name="T113" fmla="*/ 11 h 251"/>
                <a:gd name="T114" fmla="*/ 66 w 276"/>
                <a:gd name="T115" fmla="*/ 4 h 251"/>
                <a:gd name="T116" fmla="*/ 74 w 276"/>
                <a:gd name="T117" fmla="*/ 1 h 251"/>
                <a:gd name="T118" fmla="*/ 81 w 276"/>
                <a:gd name="T11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6" h="251">
                  <a:moveTo>
                    <a:pt x="81" y="0"/>
                  </a:moveTo>
                  <a:lnTo>
                    <a:pt x="164" y="0"/>
                  </a:lnTo>
                  <a:lnTo>
                    <a:pt x="171" y="0"/>
                  </a:lnTo>
                  <a:lnTo>
                    <a:pt x="179" y="1"/>
                  </a:lnTo>
                  <a:lnTo>
                    <a:pt x="187" y="1"/>
                  </a:lnTo>
                  <a:lnTo>
                    <a:pt x="195" y="2"/>
                  </a:lnTo>
                  <a:lnTo>
                    <a:pt x="203" y="3"/>
                  </a:lnTo>
                  <a:lnTo>
                    <a:pt x="212" y="5"/>
                  </a:lnTo>
                  <a:lnTo>
                    <a:pt x="220" y="8"/>
                  </a:lnTo>
                  <a:lnTo>
                    <a:pt x="228" y="11"/>
                  </a:lnTo>
                  <a:lnTo>
                    <a:pt x="235" y="15"/>
                  </a:lnTo>
                  <a:lnTo>
                    <a:pt x="243" y="20"/>
                  </a:lnTo>
                  <a:lnTo>
                    <a:pt x="249" y="26"/>
                  </a:lnTo>
                  <a:lnTo>
                    <a:pt x="255" y="33"/>
                  </a:lnTo>
                  <a:lnTo>
                    <a:pt x="260" y="40"/>
                  </a:lnTo>
                  <a:lnTo>
                    <a:pt x="265" y="47"/>
                  </a:lnTo>
                  <a:lnTo>
                    <a:pt x="268" y="55"/>
                  </a:lnTo>
                  <a:lnTo>
                    <a:pt x="270" y="63"/>
                  </a:lnTo>
                  <a:lnTo>
                    <a:pt x="272" y="70"/>
                  </a:lnTo>
                  <a:lnTo>
                    <a:pt x="274" y="77"/>
                  </a:lnTo>
                  <a:lnTo>
                    <a:pt x="275" y="84"/>
                  </a:lnTo>
                  <a:lnTo>
                    <a:pt x="275" y="90"/>
                  </a:lnTo>
                  <a:lnTo>
                    <a:pt x="275" y="96"/>
                  </a:lnTo>
                  <a:lnTo>
                    <a:pt x="276" y="101"/>
                  </a:lnTo>
                  <a:lnTo>
                    <a:pt x="276" y="150"/>
                  </a:lnTo>
                  <a:lnTo>
                    <a:pt x="275" y="155"/>
                  </a:lnTo>
                  <a:lnTo>
                    <a:pt x="275" y="161"/>
                  </a:lnTo>
                  <a:lnTo>
                    <a:pt x="275" y="167"/>
                  </a:lnTo>
                  <a:lnTo>
                    <a:pt x="274" y="174"/>
                  </a:lnTo>
                  <a:lnTo>
                    <a:pt x="272" y="181"/>
                  </a:lnTo>
                  <a:lnTo>
                    <a:pt x="270" y="188"/>
                  </a:lnTo>
                  <a:lnTo>
                    <a:pt x="268" y="196"/>
                  </a:lnTo>
                  <a:lnTo>
                    <a:pt x="265" y="203"/>
                  </a:lnTo>
                  <a:lnTo>
                    <a:pt x="260" y="211"/>
                  </a:lnTo>
                  <a:lnTo>
                    <a:pt x="255" y="218"/>
                  </a:lnTo>
                  <a:lnTo>
                    <a:pt x="249" y="225"/>
                  </a:lnTo>
                  <a:lnTo>
                    <a:pt x="243" y="230"/>
                  </a:lnTo>
                  <a:lnTo>
                    <a:pt x="235" y="235"/>
                  </a:lnTo>
                  <a:lnTo>
                    <a:pt x="228" y="240"/>
                  </a:lnTo>
                  <a:lnTo>
                    <a:pt x="220" y="243"/>
                  </a:lnTo>
                  <a:lnTo>
                    <a:pt x="212" y="245"/>
                  </a:lnTo>
                  <a:lnTo>
                    <a:pt x="203" y="247"/>
                  </a:lnTo>
                  <a:lnTo>
                    <a:pt x="195" y="249"/>
                  </a:lnTo>
                  <a:lnTo>
                    <a:pt x="187" y="250"/>
                  </a:lnTo>
                  <a:lnTo>
                    <a:pt x="179" y="250"/>
                  </a:lnTo>
                  <a:lnTo>
                    <a:pt x="171" y="250"/>
                  </a:lnTo>
                  <a:lnTo>
                    <a:pt x="164" y="251"/>
                  </a:lnTo>
                  <a:lnTo>
                    <a:pt x="101" y="251"/>
                  </a:lnTo>
                  <a:lnTo>
                    <a:pt x="91" y="250"/>
                  </a:lnTo>
                  <a:lnTo>
                    <a:pt x="82" y="250"/>
                  </a:lnTo>
                  <a:lnTo>
                    <a:pt x="74" y="249"/>
                  </a:lnTo>
                  <a:lnTo>
                    <a:pt x="66" y="246"/>
                  </a:lnTo>
                  <a:lnTo>
                    <a:pt x="59" y="244"/>
                  </a:lnTo>
                  <a:lnTo>
                    <a:pt x="52" y="240"/>
                  </a:lnTo>
                  <a:lnTo>
                    <a:pt x="46" y="235"/>
                  </a:lnTo>
                  <a:lnTo>
                    <a:pt x="40" y="229"/>
                  </a:lnTo>
                  <a:lnTo>
                    <a:pt x="34" y="222"/>
                  </a:lnTo>
                  <a:lnTo>
                    <a:pt x="13" y="195"/>
                  </a:lnTo>
                  <a:lnTo>
                    <a:pt x="10" y="190"/>
                  </a:lnTo>
                  <a:lnTo>
                    <a:pt x="6" y="186"/>
                  </a:lnTo>
                  <a:lnTo>
                    <a:pt x="4" y="181"/>
                  </a:lnTo>
                  <a:lnTo>
                    <a:pt x="2" y="177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0" y="162"/>
                  </a:lnTo>
                  <a:lnTo>
                    <a:pt x="2" y="157"/>
                  </a:lnTo>
                  <a:lnTo>
                    <a:pt x="4" y="153"/>
                  </a:lnTo>
                  <a:lnTo>
                    <a:pt x="7" y="148"/>
                  </a:lnTo>
                  <a:lnTo>
                    <a:pt x="10" y="144"/>
                  </a:lnTo>
                  <a:lnTo>
                    <a:pt x="13" y="139"/>
                  </a:lnTo>
                  <a:lnTo>
                    <a:pt x="55" y="84"/>
                  </a:lnTo>
                  <a:lnTo>
                    <a:pt x="160" y="84"/>
                  </a:lnTo>
                  <a:lnTo>
                    <a:pt x="92" y="174"/>
                  </a:lnTo>
                  <a:lnTo>
                    <a:pt x="90" y="177"/>
                  </a:lnTo>
                  <a:lnTo>
                    <a:pt x="87" y="180"/>
                  </a:lnTo>
                  <a:lnTo>
                    <a:pt x="86" y="184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4" y="195"/>
                  </a:lnTo>
                  <a:lnTo>
                    <a:pt x="85" y="199"/>
                  </a:lnTo>
                  <a:lnTo>
                    <a:pt x="87" y="203"/>
                  </a:lnTo>
                  <a:lnTo>
                    <a:pt x="89" y="205"/>
                  </a:lnTo>
                  <a:lnTo>
                    <a:pt x="92" y="206"/>
                  </a:lnTo>
                  <a:lnTo>
                    <a:pt x="96" y="208"/>
                  </a:lnTo>
                  <a:lnTo>
                    <a:pt x="99" y="208"/>
                  </a:lnTo>
                  <a:lnTo>
                    <a:pt x="106" y="209"/>
                  </a:lnTo>
                  <a:lnTo>
                    <a:pt x="164" y="209"/>
                  </a:lnTo>
                  <a:lnTo>
                    <a:pt x="168" y="208"/>
                  </a:lnTo>
                  <a:lnTo>
                    <a:pt x="172" y="208"/>
                  </a:lnTo>
                  <a:lnTo>
                    <a:pt x="177" y="207"/>
                  </a:lnTo>
                  <a:lnTo>
                    <a:pt x="181" y="205"/>
                  </a:lnTo>
                  <a:lnTo>
                    <a:pt x="185" y="202"/>
                  </a:lnTo>
                  <a:lnTo>
                    <a:pt x="188" y="198"/>
                  </a:lnTo>
                  <a:lnTo>
                    <a:pt x="190" y="194"/>
                  </a:lnTo>
                  <a:lnTo>
                    <a:pt x="191" y="190"/>
                  </a:lnTo>
                  <a:lnTo>
                    <a:pt x="191" y="185"/>
                  </a:lnTo>
                  <a:lnTo>
                    <a:pt x="192" y="181"/>
                  </a:lnTo>
                  <a:lnTo>
                    <a:pt x="192" y="69"/>
                  </a:lnTo>
                  <a:lnTo>
                    <a:pt x="191" y="65"/>
                  </a:lnTo>
                  <a:lnTo>
                    <a:pt x="191" y="61"/>
                  </a:lnTo>
                  <a:lnTo>
                    <a:pt x="190" y="57"/>
                  </a:lnTo>
                  <a:lnTo>
                    <a:pt x="188" y="53"/>
                  </a:lnTo>
                  <a:lnTo>
                    <a:pt x="185" y="49"/>
                  </a:lnTo>
                  <a:lnTo>
                    <a:pt x="181" y="46"/>
                  </a:lnTo>
                  <a:lnTo>
                    <a:pt x="177" y="44"/>
                  </a:lnTo>
                  <a:lnTo>
                    <a:pt x="172" y="43"/>
                  </a:lnTo>
                  <a:lnTo>
                    <a:pt x="168" y="42"/>
                  </a:lnTo>
                  <a:lnTo>
                    <a:pt x="164" y="42"/>
                  </a:lnTo>
                  <a:lnTo>
                    <a:pt x="55" y="42"/>
                  </a:lnTo>
                  <a:lnTo>
                    <a:pt x="55" y="26"/>
                  </a:lnTo>
                  <a:lnTo>
                    <a:pt x="55" y="22"/>
                  </a:lnTo>
                  <a:lnTo>
                    <a:pt x="56" y="18"/>
                  </a:lnTo>
                  <a:lnTo>
                    <a:pt x="57" y="15"/>
                  </a:lnTo>
                  <a:lnTo>
                    <a:pt x="59" y="11"/>
                  </a:lnTo>
                  <a:lnTo>
                    <a:pt x="62" y="7"/>
                  </a:lnTo>
                  <a:lnTo>
                    <a:pt x="66" y="4"/>
                  </a:lnTo>
                  <a:lnTo>
                    <a:pt x="70" y="2"/>
                  </a:lnTo>
                  <a:lnTo>
                    <a:pt x="74" y="1"/>
                  </a:lnTo>
                  <a:lnTo>
                    <a:pt x="78" y="0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851550" y="5535910"/>
              <a:ext cx="366712" cy="265113"/>
            </a:xfrm>
            <a:custGeom>
              <a:avLst/>
              <a:gdLst>
                <a:gd name="T0" fmla="*/ 126 w 231"/>
                <a:gd name="T1" fmla="*/ 0 h 167"/>
                <a:gd name="T2" fmla="*/ 231 w 231"/>
                <a:gd name="T3" fmla="*/ 0 h 167"/>
                <a:gd name="T4" fmla="*/ 105 w 231"/>
                <a:gd name="T5" fmla="*/ 167 h 167"/>
                <a:gd name="T6" fmla="*/ 0 w 231"/>
                <a:gd name="T7" fmla="*/ 167 h 167"/>
                <a:gd name="T8" fmla="*/ 126 w 231"/>
                <a:gd name="T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167">
                  <a:moveTo>
                    <a:pt x="126" y="0"/>
                  </a:moveTo>
                  <a:lnTo>
                    <a:pt x="231" y="0"/>
                  </a:lnTo>
                  <a:lnTo>
                    <a:pt x="105" y="167"/>
                  </a:lnTo>
                  <a:lnTo>
                    <a:pt x="0" y="167"/>
                  </a:lnTo>
                  <a:lnTo>
                    <a:pt x="1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6402288" y="5535910"/>
              <a:ext cx="504825" cy="396875"/>
            </a:xfrm>
            <a:custGeom>
              <a:avLst/>
              <a:gdLst>
                <a:gd name="T0" fmla="*/ 26 w 318"/>
                <a:gd name="T1" fmla="*/ 0 h 250"/>
                <a:gd name="T2" fmla="*/ 216 w 318"/>
                <a:gd name="T3" fmla="*/ 0 h 250"/>
                <a:gd name="T4" fmla="*/ 226 w 318"/>
                <a:gd name="T5" fmla="*/ 0 h 250"/>
                <a:gd name="T6" fmla="*/ 235 w 318"/>
                <a:gd name="T7" fmla="*/ 1 h 250"/>
                <a:gd name="T8" fmla="*/ 244 w 318"/>
                <a:gd name="T9" fmla="*/ 2 h 250"/>
                <a:gd name="T10" fmla="*/ 252 w 318"/>
                <a:gd name="T11" fmla="*/ 4 h 250"/>
                <a:gd name="T12" fmla="*/ 259 w 318"/>
                <a:gd name="T13" fmla="*/ 6 h 250"/>
                <a:gd name="T14" fmla="*/ 266 w 318"/>
                <a:gd name="T15" fmla="*/ 11 h 250"/>
                <a:gd name="T16" fmla="*/ 272 w 318"/>
                <a:gd name="T17" fmla="*/ 16 h 250"/>
                <a:gd name="T18" fmla="*/ 278 w 318"/>
                <a:gd name="T19" fmla="*/ 21 h 250"/>
                <a:gd name="T20" fmla="*/ 283 w 318"/>
                <a:gd name="T21" fmla="*/ 28 h 250"/>
                <a:gd name="T22" fmla="*/ 305 w 318"/>
                <a:gd name="T23" fmla="*/ 55 h 250"/>
                <a:gd name="T24" fmla="*/ 308 w 318"/>
                <a:gd name="T25" fmla="*/ 60 h 250"/>
                <a:gd name="T26" fmla="*/ 311 w 318"/>
                <a:gd name="T27" fmla="*/ 65 h 250"/>
                <a:gd name="T28" fmla="*/ 314 w 318"/>
                <a:gd name="T29" fmla="*/ 69 h 250"/>
                <a:gd name="T30" fmla="*/ 316 w 318"/>
                <a:gd name="T31" fmla="*/ 73 h 250"/>
                <a:gd name="T32" fmla="*/ 317 w 318"/>
                <a:gd name="T33" fmla="*/ 78 h 250"/>
                <a:gd name="T34" fmla="*/ 318 w 318"/>
                <a:gd name="T35" fmla="*/ 83 h 250"/>
                <a:gd name="T36" fmla="*/ 317 w 318"/>
                <a:gd name="T37" fmla="*/ 88 h 250"/>
                <a:gd name="T38" fmla="*/ 316 w 318"/>
                <a:gd name="T39" fmla="*/ 93 h 250"/>
                <a:gd name="T40" fmla="*/ 314 w 318"/>
                <a:gd name="T41" fmla="*/ 97 h 250"/>
                <a:gd name="T42" fmla="*/ 311 w 318"/>
                <a:gd name="T43" fmla="*/ 102 h 250"/>
                <a:gd name="T44" fmla="*/ 308 w 318"/>
                <a:gd name="T45" fmla="*/ 106 h 250"/>
                <a:gd name="T46" fmla="*/ 305 w 318"/>
                <a:gd name="T47" fmla="*/ 111 h 250"/>
                <a:gd name="T48" fmla="*/ 262 w 318"/>
                <a:gd name="T49" fmla="*/ 167 h 250"/>
                <a:gd name="T50" fmla="*/ 157 w 318"/>
                <a:gd name="T51" fmla="*/ 167 h 250"/>
                <a:gd name="T52" fmla="*/ 226 w 318"/>
                <a:gd name="T53" fmla="*/ 76 h 250"/>
                <a:gd name="T54" fmla="*/ 228 w 318"/>
                <a:gd name="T55" fmla="*/ 73 h 250"/>
                <a:gd name="T56" fmla="*/ 230 w 318"/>
                <a:gd name="T57" fmla="*/ 70 h 250"/>
                <a:gd name="T58" fmla="*/ 232 w 318"/>
                <a:gd name="T59" fmla="*/ 66 h 250"/>
                <a:gd name="T60" fmla="*/ 233 w 318"/>
                <a:gd name="T61" fmla="*/ 63 h 250"/>
                <a:gd name="T62" fmla="*/ 234 w 318"/>
                <a:gd name="T63" fmla="*/ 59 h 250"/>
                <a:gd name="T64" fmla="*/ 234 w 318"/>
                <a:gd name="T65" fmla="*/ 55 h 250"/>
                <a:gd name="T66" fmla="*/ 233 w 318"/>
                <a:gd name="T67" fmla="*/ 51 h 250"/>
                <a:gd name="T68" fmla="*/ 231 w 318"/>
                <a:gd name="T69" fmla="*/ 48 h 250"/>
                <a:gd name="T70" fmla="*/ 228 w 318"/>
                <a:gd name="T71" fmla="*/ 45 h 250"/>
                <a:gd name="T72" fmla="*/ 225 w 318"/>
                <a:gd name="T73" fmla="*/ 44 h 250"/>
                <a:gd name="T74" fmla="*/ 222 w 318"/>
                <a:gd name="T75" fmla="*/ 43 h 250"/>
                <a:gd name="T76" fmla="*/ 219 w 318"/>
                <a:gd name="T77" fmla="*/ 42 h 250"/>
                <a:gd name="T78" fmla="*/ 215 w 318"/>
                <a:gd name="T79" fmla="*/ 42 h 250"/>
                <a:gd name="T80" fmla="*/ 212 w 318"/>
                <a:gd name="T81" fmla="*/ 42 h 250"/>
                <a:gd name="T82" fmla="*/ 126 w 318"/>
                <a:gd name="T83" fmla="*/ 42 h 250"/>
                <a:gd name="T84" fmla="*/ 126 w 318"/>
                <a:gd name="T85" fmla="*/ 250 h 250"/>
                <a:gd name="T86" fmla="*/ 42 w 318"/>
                <a:gd name="T87" fmla="*/ 250 h 250"/>
                <a:gd name="T88" fmla="*/ 42 w 318"/>
                <a:gd name="T89" fmla="*/ 42 h 250"/>
                <a:gd name="T90" fmla="*/ 0 w 318"/>
                <a:gd name="T91" fmla="*/ 42 h 250"/>
                <a:gd name="T92" fmla="*/ 0 w 318"/>
                <a:gd name="T93" fmla="*/ 25 h 250"/>
                <a:gd name="T94" fmla="*/ 0 w 318"/>
                <a:gd name="T95" fmla="*/ 22 h 250"/>
                <a:gd name="T96" fmla="*/ 1 w 318"/>
                <a:gd name="T97" fmla="*/ 18 h 250"/>
                <a:gd name="T98" fmla="*/ 2 w 318"/>
                <a:gd name="T99" fmla="*/ 14 h 250"/>
                <a:gd name="T100" fmla="*/ 4 w 318"/>
                <a:gd name="T101" fmla="*/ 10 h 250"/>
                <a:gd name="T102" fmla="*/ 7 w 318"/>
                <a:gd name="T103" fmla="*/ 6 h 250"/>
                <a:gd name="T104" fmla="*/ 11 w 318"/>
                <a:gd name="T105" fmla="*/ 4 h 250"/>
                <a:gd name="T106" fmla="*/ 15 w 318"/>
                <a:gd name="T107" fmla="*/ 2 h 250"/>
                <a:gd name="T108" fmla="*/ 18 w 318"/>
                <a:gd name="T109" fmla="*/ 1 h 250"/>
                <a:gd name="T110" fmla="*/ 22 w 318"/>
                <a:gd name="T111" fmla="*/ 0 h 250"/>
                <a:gd name="T112" fmla="*/ 26 w 318"/>
                <a:gd name="T1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8" h="250">
                  <a:moveTo>
                    <a:pt x="26" y="0"/>
                  </a:moveTo>
                  <a:lnTo>
                    <a:pt x="216" y="0"/>
                  </a:lnTo>
                  <a:lnTo>
                    <a:pt x="226" y="0"/>
                  </a:lnTo>
                  <a:lnTo>
                    <a:pt x="235" y="1"/>
                  </a:lnTo>
                  <a:lnTo>
                    <a:pt x="244" y="2"/>
                  </a:lnTo>
                  <a:lnTo>
                    <a:pt x="252" y="4"/>
                  </a:lnTo>
                  <a:lnTo>
                    <a:pt x="259" y="6"/>
                  </a:lnTo>
                  <a:lnTo>
                    <a:pt x="266" y="11"/>
                  </a:lnTo>
                  <a:lnTo>
                    <a:pt x="272" y="16"/>
                  </a:lnTo>
                  <a:lnTo>
                    <a:pt x="278" y="21"/>
                  </a:lnTo>
                  <a:lnTo>
                    <a:pt x="283" y="28"/>
                  </a:lnTo>
                  <a:lnTo>
                    <a:pt x="305" y="55"/>
                  </a:lnTo>
                  <a:lnTo>
                    <a:pt x="308" y="60"/>
                  </a:lnTo>
                  <a:lnTo>
                    <a:pt x="311" y="65"/>
                  </a:lnTo>
                  <a:lnTo>
                    <a:pt x="314" y="69"/>
                  </a:lnTo>
                  <a:lnTo>
                    <a:pt x="316" y="73"/>
                  </a:lnTo>
                  <a:lnTo>
                    <a:pt x="317" y="78"/>
                  </a:lnTo>
                  <a:lnTo>
                    <a:pt x="318" y="83"/>
                  </a:lnTo>
                  <a:lnTo>
                    <a:pt x="317" y="88"/>
                  </a:lnTo>
                  <a:lnTo>
                    <a:pt x="316" y="93"/>
                  </a:lnTo>
                  <a:lnTo>
                    <a:pt x="314" y="97"/>
                  </a:lnTo>
                  <a:lnTo>
                    <a:pt x="311" y="102"/>
                  </a:lnTo>
                  <a:lnTo>
                    <a:pt x="308" y="106"/>
                  </a:lnTo>
                  <a:lnTo>
                    <a:pt x="305" y="111"/>
                  </a:lnTo>
                  <a:lnTo>
                    <a:pt x="262" y="167"/>
                  </a:lnTo>
                  <a:lnTo>
                    <a:pt x="157" y="167"/>
                  </a:lnTo>
                  <a:lnTo>
                    <a:pt x="226" y="76"/>
                  </a:lnTo>
                  <a:lnTo>
                    <a:pt x="228" y="73"/>
                  </a:lnTo>
                  <a:lnTo>
                    <a:pt x="230" y="70"/>
                  </a:lnTo>
                  <a:lnTo>
                    <a:pt x="232" y="66"/>
                  </a:lnTo>
                  <a:lnTo>
                    <a:pt x="233" y="63"/>
                  </a:lnTo>
                  <a:lnTo>
                    <a:pt x="234" y="59"/>
                  </a:lnTo>
                  <a:lnTo>
                    <a:pt x="234" y="55"/>
                  </a:lnTo>
                  <a:lnTo>
                    <a:pt x="233" y="51"/>
                  </a:lnTo>
                  <a:lnTo>
                    <a:pt x="231" y="48"/>
                  </a:lnTo>
                  <a:lnTo>
                    <a:pt x="228" y="45"/>
                  </a:lnTo>
                  <a:lnTo>
                    <a:pt x="225" y="44"/>
                  </a:lnTo>
                  <a:lnTo>
                    <a:pt x="222" y="43"/>
                  </a:lnTo>
                  <a:lnTo>
                    <a:pt x="219" y="42"/>
                  </a:lnTo>
                  <a:lnTo>
                    <a:pt x="215" y="42"/>
                  </a:lnTo>
                  <a:lnTo>
                    <a:pt x="212" y="42"/>
                  </a:lnTo>
                  <a:lnTo>
                    <a:pt x="126" y="42"/>
                  </a:lnTo>
                  <a:lnTo>
                    <a:pt x="126" y="250"/>
                  </a:lnTo>
                  <a:lnTo>
                    <a:pt x="42" y="250"/>
                  </a:lnTo>
                  <a:lnTo>
                    <a:pt x="42" y="42"/>
                  </a:lnTo>
                  <a:lnTo>
                    <a:pt x="0" y="42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8" y="1"/>
                  </a:lnTo>
                  <a:lnTo>
                    <a:pt x="22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455876" y="4783461"/>
            <a:ext cx="2232248" cy="36004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/>
              <a:t>Город – 01.01.2015</a:t>
            </a:r>
          </a:p>
        </p:txBody>
      </p:sp>
    </p:spTree>
    <p:extLst>
      <p:ext uri="{BB962C8B-B14F-4D97-AF65-F5344CB8AC3E}">
        <p14:creationId xmlns:p14="http://schemas.microsoft.com/office/powerpoint/2010/main" xmlns="" val="29983895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14871186"/>
              </p:ext>
            </p:extLst>
          </p:nvPr>
        </p:nvGraphicFramePr>
        <p:xfrm>
          <a:off x="1622" y="1216"/>
          <a:ext cx="1619" cy="1214"/>
        </p:xfrm>
        <a:graphic>
          <a:graphicData uri="http://schemas.openxmlformats.org/presentationml/2006/ole">
            <p:oleObj spid="_x0000_s645128" name="think-cell Slide" r:id="rId3" imgW="360" imgH="360" progId="">
              <p:embed/>
            </p:oleObj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489" y="190802"/>
            <a:ext cx="8845948" cy="2355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21489" y="4992101"/>
            <a:ext cx="125034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baseline="0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ru-RU" sz="80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269577" y="27941"/>
            <a:ext cx="647646" cy="88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baseline="0" dirty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778294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77"/>
            <a:ext cx="2133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94E68778-2931-4643-93A2-54F43B41A5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03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4767277"/>
            <a:ext cx="2895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EE0CFD-6CE0-4D6A-8C17-4FFB86DA98F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8657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50735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4606" name="think-cell Slide" r:id="rId4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9598" y="2787777"/>
            <a:ext cx="4498267" cy="301267"/>
          </a:xfrm>
        </p:spPr>
        <p:txBody>
          <a:bodyPr/>
          <a:lstStyle>
            <a:lvl1pPr algn="l"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8034" y="3435846"/>
            <a:ext cx="3704456" cy="35917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6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4" name="Picture 2" descr="F:\Визер Н.А\Презентации 2016\4 квартал\Андреев\08_12_2016\Рисунок1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3620" b="5486"/>
          <a:stretch/>
        </p:blipFill>
        <p:spPr bwMode="auto">
          <a:xfrm>
            <a:off x="-1736" y="2656"/>
            <a:ext cx="9143999" cy="3479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PKTBLSRV002\ASU-all\Презентации 2011-2016\Презентации\форматы разные\формат для презентаций\инфа\стили\низ шаблона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803"/>
          <a:stretch/>
        </p:blipFill>
        <p:spPr bwMode="auto">
          <a:xfrm>
            <a:off x="1588" y="399876"/>
            <a:ext cx="9144000" cy="474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159335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814480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5631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79"/>
            <a:ext cx="2133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79"/>
            <a:ext cx="2895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EE0CFD-6CE0-4D6A-8C17-4FFB86DA98F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1382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02195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6655" name="think-cell Slide" r:id="rId3" imgW="360" imgH="360" progId="">
              <p:embed/>
            </p:oleObj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79"/>
            <a:ext cx="2133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79"/>
            <a:ext cx="2895600" cy="274637"/>
          </a:xfrm>
          <a:prstGeom prst="rect">
            <a:avLst/>
          </a:prstGeom>
        </p:spPr>
        <p:txBody>
          <a:bodyPr lIns="91336" tIns="45663" rIns="91336" bIns="45663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EE0CFD-6CE0-4D6A-8C17-4FFB86DA98F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05919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13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680599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7303" name="think-cell Slide" r:id="rId10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81B57A24-BA5E-4110-9DC2-8D6FEF63655F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4837115"/>
            <a:ext cx="9144000" cy="314325"/>
          </a:xfrm>
          <a:prstGeom prst="rect">
            <a:avLst/>
          </a:prstGeom>
          <a:solidFill>
            <a:srgbClr val="D3D3D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6" tIns="45663" rIns="91336" bIns="45663" anchor="ctr"/>
          <a:lstStyle/>
          <a:p>
            <a:pPr algn="ctr">
              <a:defRPr/>
            </a:pPr>
            <a:endParaRPr lang="ru-RU" dirty="0">
              <a:solidFill>
                <a:prstClr val="white">
                  <a:lumMod val="6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2"/>
            <a:ext cx="9144000" cy="627063"/>
          </a:xfrm>
          <a:prstGeom prst="rect">
            <a:avLst/>
          </a:prstGeom>
          <a:solidFill>
            <a:srgbClr val="D3D3D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6" tIns="45663" rIns="91336" bIns="45663" anchor="ctr"/>
          <a:lstStyle/>
          <a:p>
            <a:pPr algn="ctr">
              <a:defRPr/>
            </a:pPr>
            <a:endParaRPr lang="ru-RU" dirty="0">
              <a:solidFill>
                <a:prstClr val="white">
                  <a:lumMod val="6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8" name="Заголовок 1"/>
          <p:cNvSpPr>
            <a:spLocks noGrp="1"/>
          </p:cNvSpPr>
          <p:nvPr>
            <p:ph type="title"/>
          </p:nvPr>
        </p:nvSpPr>
        <p:spPr bwMode="auto">
          <a:xfrm>
            <a:off x="0" y="103204"/>
            <a:ext cx="8229600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6" tIns="45663" rIns="91336" bIns="456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9" name="Текст 2"/>
          <p:cNvSpPr>
            <a:spLocks noGrp="1"/>
          </p:cNvSpPr>
          <p:nvPr>
            <p:ph type="body" idx="1"/>
          </p:nvPr>
        </p:nvSpPr>
        <p:spPr bwMode="auto">
          <a:xfrm>
            <a:off x="179388" y="788988"/>
            <a:ext cx="8769350" cy="394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6" tIns="45663" rIns="91336" bIns="456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4925" y="4851400"/>
            <a:ext cx="323850" cy="273050"/>
          </a:xfrm>
          <a:prstGeom prst="rect">
            <a:avLst/>
          </a:prstGeom>
        </p:spPr>
        <p:txBody>
          <a:bodyPr vert="horz" lIns="91336" tIns="45663" rIns="91336" bIns="45663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33CD46EB-E49A-4644-88DD-8929C348B938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2" name="Группа 15"/>
          <p:cNvGrpSpPr/>
          <p:nvPr/>
        </p:nvGrpSpPr>
        <p:grpSpPr>
          <a:xfrm>
            <a:off x="8244408" y="4888858"/>
            <a:ext cx="632618" cy="209618"/>
            <a:chOff x="6402288" y="5402560"/>
            <a:chExt cx="1200150" cy="530225"/>
          </a:xfrm>
          <a:solidFill>
            <a:srgbClr val="C00000"/>
          </a:solidFill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7164288" y="5402560"/>
              <a:ext cx="438150" cy="398463"/>
            </a:xfrm>
            <a:custGeom>
              <a:avLst/>
              <a:gdLst>
                <a:gd name="T0" fmla="*/ 164 w 276"/>
                <a:gd name="T1" fmla="*/ 0 h 251"/>
                <a:gd name="T2" fmla="*/ 179 w 276"/>
                <a:gd name="T3" fmla="*/ 1 h 251"/>
                <a:gd name="T4" fmla="*/ 195 w 276"/>
                <a:gd name="T5" fmla="*/ 2 h 251"/>
                <a:gd name="T6" fmla="*/ 212 w 276"/>
                <a:gd name="T7" fmla="*/ 5 h 251"/>
                <a:gd name="T8" fmla="*/ 228 w 276"/>
                <a:gd name="T9" fmla="*/ 11 h 251"/>
                <a:gd name="T10" fmla="*/ 243 w 276"/>
                <a:gd name="T11" fmla="*/ 20 h 251"/>
                <a:gd name="T12" fmla="*/ 255 w 276"/>
                <a:gd name="T13" fmla="*/ 33 h 251"/>
                <a:gd name="T14" fmla="*/ 265 w 276"/>
                <a:gd name="T15" fmla="*/ 47 h 251"/>
                <a:gd name="T16" fmla="*/ 270 w 276"/>
                <a:gd name="T17" fmla="*/ 63 h 251"/>
                <a:gd name="T18" fmla="*/ 274 w 276"/>
                <a:gd name="T19" fmla="*/ 77 h 251"/>
                <a:gd name="T20" fmla="*/ 275 w 276"/>
                <a:gd name="T21" fmla="*/ 90 h 251"/>
                <a:gd name="T22" fmla="*/ 276 w 276"/>
                <a:gd name="T23" fmla="*/ 101 h 251"/>
                <a:gd name="T24" fmla="*/ 275 w 276"/>
                <a:gd name="T25" fmla="*/ 155 h 251"/>
                <a:gd name="T26" fmla="*/ 275 w 276"/>
                <a:gd name="T27" fmla="*/ 167 h 251"/>
                <a:gd name="T28" fmla="*/ 272 w 276"/>
                <a:gd name="T29" fmla="*/ 181 h 251"/>
                <a:gd name="T30" fmla="*/ 268 w 276"/>
                <a:gd name="T31" fmla="*/ 196 h 251"/>
                <a:gd name="T32" fmla="*/ 260 w 276"/>
                <a:gd name="T33" fmla="*/ 211 h 251"/>
                <a:gd name="T34" fmla="*/ 249 w 276"/>
                <a:gd name="T35" fmla="*/ 225 h 251"/>
                <a:gd name="T36" fmla="*/ 235 w 276"/>
                <a:gd name="T37" fmla="*/ 235 h 251"/>
                <a:gd name="T38" fmla="*/ 220 w 276"/>
                <a:gd name="T39" fmla="*/ 243 h 251"/>
                <a:gd name="T40" fmla="*/ 203 w 276"/>
                <a:gd name="T41" fmla="*/ 247 h 251"/>
                <a:gd name="T42" fmla="*/ 187 w 276"/>
                <a:gd name="T43" fmla="*/ 250 h 251"/>
                <a:gd name="T44" fmla="*/ 171 w 276"/>
                <a:gd name="T45" fmla="*/ 250 h 251"/>
                <a:gd name="T46" fmla="*/ 101 w 276"/>
                <a:gd name="T47" fmla="*/ 251 h 251"/>
                <a:gd name="T48" fmla="*/ 82 w 276"/>
                <a:gd name="T49" fmla="*/ 250 h 251"/>
                <a:gd name="T50" fmla="*/ 66 w 276"/>
                <a:gd name="T51" fmla="*/ 246 h 251"/>
                <a:gd name="T52" fmla="*/ 52 w 276"/>
                <a:gd name="T53" fmla="*/ 240 h 251"/>
                <a:gd name="T54" fmla="*/ 40 w 276"/>
                <a:gd name="T55" fmla="*/ 229 h 251"/>
                <a:gd name="T56" fmla="*/ 13 w 276"/>
                <a:gd name="T57" fmla="*/ 195 h 251"/>
                <a:gd name="T58" fmla="*/ 6 w 276"/>
                <a:gd name="T59" fmla="*/ 186 h 251"/>
                <a:gd name="T60" fmla="*/ 2 w 276"/>
                <a:gd name="T61" fmla="*/ 177 h 251"/>
                <a:gd name="T62" fmla="*/ 0 w 276"/>
                <a:gd name="T63" fmla="*/ 167 h 251"/>
                <a:gd name="T64" fmla="*/ 2 w 276"/>
                <a:gd name="T65" fmla="*/ 157 h 251"/>
                <a:gd name="T66" fmla="*/ 7 w 276"/>
                <a:gd name="T67" fmla="*/ 148 h 251"/>
                <a:gd name="T68" fmla="*/ 13 w 276"/>
                <a:gd name="T69" fmla="*/ 139 h 251"/>
                <a:gd name="T70" fmla="*/ 160 w 276"/>
                <a:gd name="T71" fmla="*/ 84 h 251"/>
                <a:gd name="T72" fmla="*/ 90 w 276"/>
                <a:gd name="T73" fmla="*/ 177 h 251"/>
                <a:gd name="T74" fmla="*/ 86 w 276"/>
                <a:gd name="T75" fmla="*/ 184 h 251"/>
                <a:gd name="T76" fmla="*/ 84 w 276"/>
                <a:gd name="T77" fmla="*/ 191 h 251"/>
                <a:gd name="T78" fmla="*/ 85 w 276"/>
                <a:gd name="T79" fmla="*/ 199 h 251"/>
                <a:gd name="T80" fmla="*/ 89 w 276"/>
                <a:gd name="T81" fmla="*/ 205 h 251"/>
                <a:gd name="T82" fmla="*/ 96 w 276"/>
                <a:gd name="T83" fmla="*/ 208 h 251"/>
                <a:gd name="T84" fmla="*/ 106 w 276"/>
                <a:gd name="T85" fmla="*/ 209 h 251"/>
                <a:gd name="T86" fmla="*/ 168 w 276"/>
                <a:gd name="T87" fmla="*/ 208 h 251"/>
                <a:gd name="T88" fmla="*/ 177 w 276"/>
                <a:gd name="T89" fmla="*/ 207 h 251"/>
                <a:gd name="T90" fmla="*/ 185 w 276"/>
                <a:gd name="T91" fmla="*/ 202 h 251"/>
                <a:gd name="T92" fmla="*/ 190 w 276"/>
                <a:gd name="T93" fmla="*/ 194 h 251"/>
                <a:gd name="T94" fmla="*/ 191 w 276"/>
                <a:gd name="T95" fmla="*/ 185 h 251"/>
                <a:gd name="T96" fmla="*/ 192 w 276"/>
                <a:gd name="T97" fmla="*/ 69 h 251"/>
                <a:gd name="T98" fmla="*/ 191 w 276"/>
                <a:gd name="T99" fmla="*/ 61 h 251"/>
                <a:gd name="T100" fmla="*/ 188 w 276"/>
                <a:gd name="T101" fmla="*/ 53 h 251"/>
                <a:gd name="T102" fmla="*/ 181 w 276"/>
                <a:gd name="T103" fmla="*/ 46 h 251"/>
                <a:gd name="T104" fmla="*/ 172 w 276"/>
                <a:gd name="T105" fmla="*/ 43 h 251"/>
                <a:gd name="T106" fmla="*/ 164 w 276"/>
                <a:gd name="T107" fmla="*/ 42 h 251"/>
                <a:gd name="T108" fmla="*/ 55 w 276"/>
                <a:gd name="T109" fmla="*/ 26 h 251"/>
                <a:gd name="T110" fmla="*/ 56 w 276"/>
                <a:gd name="T111" fmla="*/ 18 h 251"/>
                <a:gd name="T112" fmla="*/ 59 w 276"/>
                <a:gd name="T113" fmla="*/ 11 h 251"/>
                <a:gd name="T114" fmla="*/ 66 w 276"/>
                <a:gd name="T115" fmla="*/ 4 h 251"/>
                <a:gd name="T116" fmla="*/ 74 w 276"/>
                <a:gd name="T117" fmla="*/ 1 h 251"/>
                <a:gd name="T118" fmla="*/ 81 w 276"/>
                <a:gd name="T11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6" h="251">
                  <a:moveTo>
                    <a:pt x="81" y="0"/>
                  </a:moveTo>
                  <a:lnTo>
                    <a:pt x="164" y="0"/>
                  </a:lnTo>
                  <a:lnTo>
                    <a:pt x="171" y="0"/>
                  </a:lnTo>
                  <a:lnTo>
                    <a:pt x="179" y="1"/>
                  </a:lnTo>
                  <a:lnTo>
                    <a:pt x="187" y="1"/>
                  </a:lnTo>
                  <a:lnTo>
                    <a:pt x="195" y="2"/>
                  </a:lnTo>
                  <a:lnTo>
                    <a:pt x="203" y="3"/>
                  </a:lnTo>
                  <a:lnTo>
                    <a:pt x="212" y="5"/>
                  </a:lnTo>
                  <a:lnTo>
                    <a:pt x="220" y="8"/>
                  </a:lnTo>
                  <a:lnTo>
                    <a:pt x="228" y="11"/>
                  </a:lnTo>
                  <a:lnTo>
                    <a:pt x="235" y="15"/>
                  </a:lnTo>
                  <a:lnTo>
                    <a:pt x="243" y="20"/>
                  </a:lnTo>
                  <a:lnTo>
                    <a:pt x="249" y="26"/>
                  </a:lnTo>
                  <a:lnTo>
                    <a:pt x="255" y="33"/>
                  </a:lnTo>
                  <a:lnTo>
                    <a:pt x="260" y="40"/>
                  </a:lnTo>
                  <a:lnTo>
                    <a:pt x="265" y="47"/>
                  </a:lnTo>
                  <a:lnTo>
                    <a:pt x="268" y="55"/>
                  </a:lnTo>
                  <a:lnTo>
                    <a:pt x="270" y="63"/>
                  </a:lnTo>
                  <a:lnTo>
                    <a:pt x="272" y="70"/>
                  </a:lnTo>
                  <a:lnTo>
                    <a:pt x="274" y="77"/>
                  </a:lnTo>
                  <a:lnTo>
                    <a:pt x="275" y="84"/>
                  </a:lnTo>
                  <a:lnTo>
                    <a:pt x="275" y="90"/>
                  </a:lnTo>
                  <a:lnTo>
                    <a:pt x="275" y="96"/>
                  </a:lnTo>
                  <a:lnTo>
                    <a:pt x="276" y="101"/>
                  </a:lnTo>
                  <a:lnTo>
                    <a:pt x="276" y="150"/>
                  </a:lnTo>
                  <a:lnTo>
                    <a:pt x="275" y="155"/>
                  </a:lnTo>
                  <a:lnTo>
                    <a:pt x="275" y="161"/>
                  </a:lnTo>
                  <a:lnTo>
                    <a:pt x="275" y="167"/>
                  </a:lnTo>
                  <a:lnTo>
                    <a:pt x="274" y="174"/>
                  </a:lnTo>
                  <a:lnTo>
                    <a:pt x="272" y="181"/>
                  </a:lnTo>
                  <a:lnTo>
                    <a:pt x="270" y="188"/>
                  </a:lnTo>
                  <a:lnTo>
                    <a:pt x="268" y="196"/>
                  </a:lnTo>
                  <a:lnTo>
                    <a:pt x="265" y="203"/>
                  </a:lnTo>
                  <a:lnTo>
                    <a:pt x="260" y="211"/>
                  </a:lnTo>
                  <a:lnTo>
                    <a:pt x="255" y="218"/>
                  </a:lnTo>
                  <a:lnTo>
                    <a:pt x="249" y="225"/>
                  </a:lnTo>
                  <a:lnTo>
                    <a:pt x="243" y="230"/>
                  </a:lnTo>
                  <a:lnTo>
                    <a:pt x="235" y="235"/>
                  </a:lnTo>
                  <a:lnTo>
                    <a:pt x="228" y="240"/>
                  </a:lnTo>
                  <a:lnTo>
                    <a:pt x="220" y="243"/>
                  </a:lnTo>
                  <a:lnTo>
                    <a:pt x="212" y="245"/>
                  </a:lnTo>
                  <a:lnTo>
                    <a:pt x="203" y="247"/>
                  </a:lnTo>
                  <a:lnTo>
                    <a:pt x="195" y="249"/>
                  </a:lnTo>
                  <a:lnTo>
                    <a:pt x="187" y="250"/>
                  </a:lnTo>
                  <a:lnTo>
                    <a:pt x="179" y="250"/>
                  </a:lnTo>
                  <a:lnTo>
                    <a:pt x="171" y="250"/>
                  </a:lnTo>
                  <a:lnTo>
                    <a:pt x="164" y="251"/>
                  </a:lnTo>
                  <a:lnTo>
                    <a:pt x="101" y="251"/>
                  </a:lnTo>
                  <a:lnTo>
                    <a:pt x="91" y="250"/>
                  </a:lnTo>
                  <a:lnTo>
                    <a:pt x="82" y="250"/>
                  </a:lnTo>
                  <a:lnTo>
                    <a:pt x="74" y="249"/>
                  </a:lnTo>
                  <a:lnTo>
                    <a:pt x="66" y="246"/>
                  </a:lnTo>
                  <a:lnTo>
                    <a:pt x="59" y="244"/>
                  </a:lnTo>
                  <a:lnTo>
                    <a:pt x="52" y="240"/>
                  </a:lnTo>
                  <a:lnTo>
                    <a:pt x="46" y="235"/>
                  </a:lnTo>
                  <a:lnTo>
                    <a:pt x="40" y="229"/>
                  </a:lnTo>
                  <a:lnTo>
                    <a:pt x="34" y="222"/>
                  </a:lnTo>
                  <a:lnTo>
                    <a:pt x="13" y="195"/>
                  </a:lnTo>
                  <a:lnTo>
                    <a:pt x="10" y="190"/>
                  </a:lnTo>
                  <a:lnTo>
                    <a:pt x="6" y="186"/>
                  </a:lnTo>
                  <a:lnTo>
                    <a:pt x="4" y="181"/>
                  </a:lnTo>
                  <a:lnTo>
                    <a:pt x="2" y="177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0" y="162"/>
                  </a:lnTo>
                  <a:lnTo>
                    <a:pt x="2" y="157"/>
                  </a:lnTo>
                  <a:lnTo>
                    <a:pt x="4" y="153"/>
                  </a:lnTo>
                  <a:lnTo>
                    <a:pt x="7" y="148"/>
                  </a:lnTo>
                  <a:lnTo>
                    <a:pt x="10" y="144"/>
                  </a:lnTo>
                  <a:lnTo>
                    <a:pt x="13" y="139"/>
                  </a:lnTo>
                  <a:lnTo>
                    <a:pt x="55" y="84"/>
                  </a:lnTo>
                  <a:lnTo>
                    <a:pt x="160" y="84"/>
                  </a:lnTo>
                  <a:lnTo>
                    <a:pt x="92" y="174"/>
                  </a:lnTo>
                  <a:lnTo>
                    <a:pt x="90" y="177"/>
                  </a:lnTo>
                  <a:lnTo>
                    <a:pt x="87" y="180"/>
                  </a:lnTo>
                  <a:lnTo>
                    <a:pt x="86" y="184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4" y="195"/>
                  </a:lnTo>
                  <a:lnTo>
                    <a:pt x="85" y="199"/>
                  </a:lnTo>
                  <a:lnTo>
                    <a:pt x="87" y="203"/>
                  </a:lnTo>
                  <a:lnTo>
                    <a:pt x="89" y="205"/>
                  </a:lnTo>
                  <a:lnTo>
                    <a:pt x="92" y="206"/>
                  </a:lnTo>
                  <a:lnTo>
                    <a:pt x="96" y="208"/>
                  </a:lnTo>
                  <a:lnTo>
                    <a:pt x="99" y="208"/>
                  </a:lnTo>
                  <a:lnTo>
                    <a:pt x="106" y="209"/>
                  </a:lnTo>
                  <a:lnTo>
                    <a:pt x="164" y="209"/>
                  </a:lnTo>
                  <a:lnTo>
                    <a:pt x="168" y="208"/>
                  </a:lnTo>
                  <a:lnTo>
                    <a:pt x="172" y="208"/>
                  </a:lnTo>
                  <a:lnTo>
                    <a:pt x="177" y="207"/>
                  </a:lnTo>
                  <a:lnTo>
                    <a:pt x="181" y="205"/>
                  </a:lnTo>
                  <a:lnTo>
                    <a:pt x="185" y="202"/>
                  </a:lnTo>
                  <a:lnTo>
                    <a:pt x="188" y="198"/>
                  </a:lnTo>
                  <a:lnTo>
                    <a:pt x="190" y="194"/>
                  </a:lnTo>
                  <a:lnTo>
                    <a:pt x="191" y="190"/>
                  </a:lnTo>
                  <a:lnTo>
                    <a:pt x="191" y="185"/>
                  </a:lnTo>
                  <a:lnTo>
                    <a:pt x="192" y="181"/>
                  </a:lnTo>
                  <a:lnTo>
                    <a:pt x="192" y="69"/>
                  </a:lnTo>
                  <a:lnTo>
                    <a:pt x="191" y="65"/>
                  </a:lnTo>
                  <a:lnTo>
                    <a:pt x="191" y="61"/>
                  </a:lnTo>
                  <a:lnTo>
                    <a:pt x="190" y="57"/>
                  </a:lnTo>
                  <a:lnTo>
                    <a:pt x="188" y="53"/>
                  </a:lnTo>
                  <a:lnTo>
                    <a:pt x="185" y="49"/>
                  </a:lnTo>
                  <a:lnTo>
                    <a:pt x="181" y="46"/>
                  </a:lnTo>
                  <a:lnTo>
                    <a:pt x="177" y="44"/>
                  </a:lnTo>
                  <a:lnTo>
                    <a:pt x="172" y="43"/>
                  </a:lnTo>
                  <a:lnTo>
                    <a:pt x="168" y="42"/>
                  </a:lnTo>
                  <a:lnTo>
                    <a:pt x="164" y="42"/>
                  </a:lnTo>
                  <a:lnTo>
                    <a:pt x="55" y="42"/>
                  </a:lnTo>
                  <a:lnTo>
                    <a:pt x="55" y="26"/>
                  </a:lnTo>
                  <a:lnTo>
                    <a:pt x="55" y="22"/>
                  </a:lnTo>
                  <a:lnTo>
                    <a:pt x="56" y="18"/>
                  </a:lnTo>
                  <a:lnTo>
                    <a:pt x="57" y="15"/>
                  </a:lnTo>
                  <a:lnTo>
                    <a:pt x="59" y="11"/>
                  </a:lnTo>
                  <a:lnTo>
                    <a:pt x="62" y="7"/>
                  </a:lnTo>
                  <a:lnTo>
                    <a:pt x="66" y="4"/>
                  </a:lnTo>
                  <a:lnTo>
                    <a:pt x="70" y="2"/>
                  </a:lnTo>
                  <a:lnTo>
                    <a:pt x="74" y="1"/>
                  </a:lnTo>
                  <a:lnTo>
                    <a:pt x="78" y="0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6851550" y="5535910"/>
              <a:ext cx="366712" cy="265113"/>
            </a:xfrm>
            <a:custGeom>
              <a:avLst/>
              <a:gdLst>
                <a:gd name="T0" fmla="*/ 126 w 231"/>
                <a:gd name="T1" fmla="*/ 0 h 167"/>
                <a:gd name="T2" fmla="*/ 231 w 231"/>
                <a:gd name="T3" fmla="*/ 0 h 167"/>
                <a:gd name="T4" fmla="*/ 105 w 231"/>
                <a:gd name="T5" fmla="*/ 167 h 167"/>
                <a:gd name="T6" fmla="*/ 0 w 231"/>
                <a:gd name="T7" fmla="*/ 167 h 167"/>
                <a:gd name="T8" fmla="*/ 126 w 231"/>
                <a:gd name="T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167">
                  <a:moveTo>
                    <a:pt x="126" y="0"/>
                  </a:moveTo>
                  <a:lnTo>
                    <a:pt x="231" y="0"/>
                  </a:lnTo>
                  <a:lnTo>
                    <a:pt x="105" y="167"/>
                  </a:lnTo>
                  <a:lnTo>
                    <a:pt x="0" y="167"/>
                  </a:lnTo>
                  <a:lnTo>
                    <a:pt x="1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6402288" y="5535910"/>
              <a:ext cx="504825" cy="396875"/>
            </a:xfrm>
            <a:custGeom>
              <a:avLst/>
              <a:gdLst>
                <a:gd name="T0" fmla="*/ 26 w 318"/>
                <a:gd name="T1" fmla="*/ 0 h 250"/>
                <a:gd name="T2" fmla="*/ 216 w 318"/>
                <a:gd name="T3" fmla="*/ 0 h 250"/>
                <a:gd name="T4" fmla="*/ 226 w 318"/>
                <a:gd name="T5" fmla="*/ 0 h 250"/>
                <a:gd name="T6" fmla="*/ 235 w 318"/>
                <a:gd name="T7" fmla="*/ 1 h 250"/>
                <a:gd name="T8" fmla="*/ 244 w 318"/>
                <a:gd name="T9" fmla="*/ 2 h 250"/>
                <a:gd name="T10" fmla="*/ 252 w 318"/>
                <a:gd name="T11" fmla="*/ 4 h 250"/>
                <a:gd name="T12" fmla="*/ 259 w 318"/>
                <a:gd name="T13" fmla="*/ 6 h 250"/>
                <a:gd name="T14" fmla="*/ 266 w 318"/>
                <a:gd name="T15" fmla="*/ 11 h 250"/>
                <a:gd name="T16" fmla="*/ 272 w 318"/>
                <a:gd name="T17" fmla="*/ 16 h 250"/>
                <a:gd name="T18" fmla="*/ 278 w 318"/>
                <a:gd name="T19" fmla="*/ 21 h 250"/>
                <a:gd name="T20" fmla="*/ 283 w 318"/>
                <a:gd name="T21" fmla="*/ 28 h 250"/>
                <a:gd name="T22" fmla="*/ 305 w 318"/>
                <a:gd name="T23" fmla="*/ 55 h 250"/>
                <a:gd name="T24" fmla="*/ 308 w 318"/>
                <a:gd name="T25" fmla="*/ 60 h 250"/>
                <a:gd name="T26" fmla="*/ 311 w 318"/>
                <a:gd name="T27" fmla="*/ 65 h 250"/>
                <a:gd name="T28" fmla="*/ 314 w 318"/>
                <a:gd name="T29" fmla="*/ 69 h 250"/>
                <a:gd name="T30" fmla="*/ 316 w 318"/>
                <a:gd name="T31" fmla="*/ 73 h 250"/>
                <a:gd name="T32" fmla="*/ 317 w 318"/>
                <a:gd name="T33" fmla="*/ 78 h 250"/>
                <a:gd name="T34" fmla="*/ 318 w 318"/>
                <a:gd name="T35" fmla="*/ 83 h 250"/>
                <a:gd name="T36" fmla="*/ 317 w 318"/>
                <a:gd name="T37" fmla="*/ 88 h 250"/>
                <a:gd name="T38" fmla="*/ 316 w 318"/>
                <a:gd name="T39" fmla="*/ 93 h 250"/>
                <a:gd name="T40" fmla="*/ 314 w 318"/>
                <a:gd name="T41" fmla="*/ 97 h 250"/>
                <a:gd name="T42" fmla="*/ 311 w 318"/>
                <a:gd name="T43" fmla="*/ 102 h 250"/>
                <a:gd name="T44" fmla="*/ 308 w 318"/>
                <a:gd name="T45" fmla="*/ 106 h 250"/>
                <a:gd name="T46" fmla="*/ 305 w 318"/>
                <a:gd name="T47" fmla="*/ 111 h 250"/>
                <a:gd name="T48" fmla="*/ 262 w 318"/>
                <a:gd name="T49" fmla="*/ 167 h 250"/>
                <a:gd name="T50" fmla="*/ 157 w 318"/>
                <a:gd name="T51" fmla="*/ 167 h 250"/>
                <a:gd name="T52" fmla="*/ 226 w 318"/>
                <a:gd name="T53" fmla="*/ 76 h 250"/>
                <a:gd name="T54" fmla="*/ 228 w 318"/>
                <a:gd name="T55" fmla="*/ 73 h 250"/>
                <a:gd name="T56" fmla="*/ 230 w 318"/>
                <a:gd name="T57" fmla="*/ 70 h 250"/>
                <a:gd name="T58" fmla="*/ 232 w 318"/>
                <a:gd name="T59" fmla="*/ 66 h 250"/>
                <a:gd name="T60" fmla="*/ 233 w 318"/>
                <a:gd name="T61" fmla="*/ 63 h 250"/>
                <a:gd name="T62" fmla="*/ 234 w 318"/>
                <a:gd name="T63" fmla="*/ 59 h 250"/>
                <a:gd name="T64" fmla="*/ 234 w 318"/>
                <a:gd name="T65" fmla="*/ 55 h 250"/>
                <a:gd name="T66" fmla="*/ 233 w 318"/>
                <a:gd name="T67" fmla="*/ 51 h 250"/>
                <a:gd name="T68" fmla="*/ 231 w 318"/>
                <a:gd name="T69" fmla="*/ 48 h 250"/>
                <a:gd name="T70" fmla="*/ 228 w 318"/>
                <a:gd name="T71" fmla="*/ 45 h 250"/>
                <a:gd name="T72" fmla="*/ 225 w 318"/>
                <a:gd name="T73" fmla="*/ 44 h 250"/>
                <a:gd name="T74" fmla="*/ 222 w 318"/>
                <a:gd name="T75" fmla="*/ 43 h 250"/>
                <a:gd name="T76" fmla="*/ 219 w 318"/>
                <a:gd name="T77" fmla="*/ 42 h 250"/>
                <a:gd name="T78" fmla="*/ 215 w 318"/>
                <a:gd name="T79" fmla="*/ 42 h 250"/>
                <a:gd name="T80" fmla="*/ 212 w 318"/>
                <a:gd name="T81" fmla="*/ 42 h 250"/>
                <a:gd name="T82" fmla="*/ 126 w 318"/>
                <a:gd name="T83" fmla="*/ 42 h 250"/>
                <a:gd name="T84" fmla="*/ 126 w 318"/>
                <a:gd name="T85" fmla="*/ 250 h 250"/>
                <a:gd name="T86" fmla="*/ 42 w 318"/>
                <a:gd name="T87" fmla="*/ 250 h 250"/>
                <a:gd name="T88" fmla="*/ 42 w 318"/>
                <a:gd name="T89" fmla="*/ 42 h 250"/>
                <a:gd name="T90" fmla="*/ 0 w 318"/>
                <a:gd name="T91" fmla="*/ 42 h 250"/>
                <a:gd name="T92" fmla="*/ 0 w 318"/>
                <a:gd name="T93" fmla="*/ 25 h 250"/>
                <a:gd name="T94" fmla="*/ 0 w 318"/>
                <a:gd name="T95" fmla="*/ 22 h 250"/>
                <a:gd name="T96" fmla="*/ 1 w 318"/>
                <a:gd name="T97" fmla="*/ 18 h 250"/>
                <a:gd name="T98" fmla="*/ 2 w 318"/>
                <a:gd name="T99" fmla="*/ 14 h 250"/>
                <a:gd name="T100" fmla="*/ 4 w 318"/>
                <a:gd name="T101" fmla="*/ 10 h 250"/>
                <a:gd name="T102" fmla="*/ 7 w 318"/>
                <a:gd name="T103" fmla="*/ 6 h 250"/>
                <a:gd name="T104" fmla="*/ 11 w 318"/>
                <a:gd name="T105" fmla="*/ 4 h 250"/>
                <a:gd name="T106" fmla="*/ 15 w 318"/>
                <a:gd name="T107" fmla="*/ 2 h 250"/>
                <a:gd name="T108" fmla="*/ 18 w 318"/>
                <a:gd name="T109" fmla="*/ 1 h 250"/>
                <a:gd name="T110" fmla="*/ 22 w 318"/>
                <a:gd name="T111" fmla="*/ 0 h 250"/>
                <a:gd name="T112" fmla="*/ 26 w 318"/>
                <a:gd name="T1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8" h="250">
                  <a:moveTo>
                    <a:pt x="26" y="0"/>
                  </a:moveTo>
                  <a:lnTo>
                    <a:pt x="216" y="0"/>
                  </a:lnTo>
                  <a:lnTo>
                    <a:pt x="226" y="0"/>
                  </a:lnTo>
                  <a:lnTo>
                    <a:pt x="235" y="1"/>
                  </a:lnTo>
                  <a:lnTo>
                    <a:pt x="244" y="2"/>
                  </a:lnTo>
                  <a:lnTo>
                    <a:pt x="252" y="4"/>
                  </a:lnTo>
                  <a:lnTo>
                    <a:pt x="259" y="6"/>
                  </a:lnTo>
                  <a:lnTo>
                    <a:pt x="266" y="11"/>
                  </a:lnTo>
                  <a:lnTo>
                    <a:pt x="272" y="16"/>
                  </a:lnTo>
                  <a:lnTo>
                    <a:pt x="278" y="21"/>
                  </a:lnTo>
                  <a:lnTo>
                    <a:pt x="283" y="28"/>
                  </a:lnTo>
                  <a:lnTo>
                    <a:pt x="305" y="55"/>
                  </a:lnTo>
                  <a:lnTo>
                    <a:pt x="308" y="60"/>
                  </a:lnTo>
                  <a:lnTo>
                    <a:pt x="311" y="65"/>
                  </a:lnTo>
                  <a:lnTo>
                    <a:pt x="314" y="69"/>
                  </a:lnTo>
                  <a:lnTo>
                    <a:pt x="316" y="73"/>
                  </a:lnTo>
                  <a:lnTo>
                    <a:pt x="317" y="78"/>
                  </a:lnTo>
                  <a:lnTo>
                    <a:pt x="318" y="83"/>
                  </a:lnTo>
                  <a:lnTo>
                    <a:pt x="317" y="88"/>
                  </a:lnTo>
                  <a:lnTo>
                    <a:pt x="316" y="93"/>
                  </a:lnTo>
                  <a:lnTo>
                    <a:pt x="314" y="97"/>
                  </a:lnTo>
                  <a:lnTo>
                    <a:pt x="311" y="102"/>
                  </a:lnTo>
                  <a:lnTo>
                    <a:pt x="308" y="106"/>
                  </a:lnTo>
                  <a:lnTo>
                    <a:pt x="305" y="111"/>
                  </a:lnTo>
                  <a:lnTo>
                    <a:pt x="262" y="167"/>
                  </a:lnTo>
                  <a:lnTo>
                    <a:pt x="157" y="167"/>
                  </a:lnTo>
                  <a:lnTo>
                    <a:pt x="226" y="76"/>
                  </a:lnTo>
                  <a:lnTo>
                    <a:pt x="228" y="73"/>
                  </a:lnTo>
                  <a:lnTo>
                    <a:pt x="230" y="70"/>
                  </a:lnTo>
                  <a:lnTo>
                    <a:pt x="232" y="66"/>
                  </a:lnTo>
                  <a:lnTo>
                    <a:pt x="233" y="63"/>
                  </a:lnTo>
                  <a:lnTo>
                    <a:pt x="234" y="59"/>
                  </a:lnTo>
                  <a:lnTo>
                    <a:pt x="234" y="55"/>
                  </a:lnTo>
                  <a:lnTo>
                    <a:pt x="233" y="51"/>
                  </a:lnTo>
                  <a:lnTo>
                    <a:pt x="231" y="48"/>
                  </a:lnTo>
                  <a:lnTo>
                    <a:pt x="228" y="45"/>
                  </a:lnTo>
                  <a:lnTo>
                    <a:pt x="225" y="44"/>
                  </a:lnTo>
                  <a:lnTo>
                    <a:pt x="222" y="43"/>
                  </a:lnTo>
                  <a:lnTo>
                    <a:pt x="219" y="42"/>
                  </a:lnTo>
                  <a:lnTo>
                    <a:pt x="215" y="42"/>
                  </a:lnTo>
                  <a:lnTo>
                    <a:pt x="212" y="42"/>
                  </a:lnTo>
                  <a:lnTo>
                    <a:pt x="126" y="42"/>
                  </a:lnTo>
                  <a:lnTo>
                    <a:pt x="126" y="250"/>
                  </a:lnTo>
                  <a:lnTo>
                    <a:pt x="42" y="250"/>
                  </a:lnTo>
                  <a:lnTo>
                    <a:pt x="42" y="42"/>
                  </a:lnTo>
                  <a:lnTo>
                    <a:pt x="0" y="42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8" y="1"/>
                  </a:lnTo>
                  <a:lnTo>
                    <a:pt x="22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556320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72" r:id="rId2"/>
    <p:sldLayoutId id="2147483873" r:id="rId3"/>
    <p:sldLayoutId id="2147484276" r:id="rId4"/>
    <p:sldLayoutId id="2147484290" r:id="rId5"/>
    <p:sldLayoutId id="2147484291" r:id="rId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668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91336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37004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8267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341313" indent="-3413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1363" indent="-28416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1413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597025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4225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174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2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102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78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8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6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4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21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03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8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762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444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342806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3583" name="think-cell Slide" r:id="rId9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7A8E8BC-BE2E-4934-92C8-5863CA28F40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000" b="0" i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4837115"/>
            <a:ext cx="9144000" cy="314325"/>
          </a:xfrm>
          <a:prstGeom prst="rect">
            <a:avLst/>
          </a:prstGeom>
          <a:solidFill>
            <a:srgbClr val="D3D3D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6" tIns="45663" rIns="91336" bIns="45663" anchor="ctr"/>
          <a:lstStyle/>
          <a:p>
            <a:pPr algn="ctr">
              <a:defRPr/>
            </a:pPr>
            <a:endParaRPr lang="ru-RU" dirty="0">
              <a:solidFill>
                <a:prstClr val="white">
                  <a:lumMod val="6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2"/>
            <a:ext cx="9144000" cy="627063"/>
          </a:xfrm>
          <a:prstGeom prst="rect">
            <a:avLst/>
          </a:prstGeom>
          <a:solidFill>
            <a:srgbClr val="D3D3D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6" tIns="45663" rIns="91336" bIns="45663" anchor="ctr"/>
          <a:lstStyle/>
          <a:p>
            <a:pPr algn="ctr">
              <a:defRPr/>
            </a:pPr>
            <a:endParaRPr lang="ru-RU" dirty="0">
              <a:solidFill>
                <a:prstClr val="white">
                  <a:lumMod val="6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8" name="Заголовок 1"/>
          <p:cNvSpPr>
            <a:spLocks noGrp="1"/>
          </p:cNvSpPr>
          <p:nvPr>
            <p:ph type="title"/>
          </p:nvPr>
        </p:nvSpPr>
        <p:spPr bwMode="auto">
          <a:xfrm>
            <a:off x="0" y="103204"/>
            <a:ext cx="8229600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6" tIns="45663" rIns="91336" bIns="456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9" name="Текст 2"/>
          <p:cNvSpPr>
            <a:spLocks noGrp="1"/>
          </p:cNvSpPr>
          <p:nvPr>
            <p:ph type="body" idx="1"/>
          </p:nvPr>
        </p:nvSpPr>
        <p:spPr bwMode="auto">
          <a:xfrm>
            <a:off x="179388" y="788988"/>
            <a:ext cx="8769350" cy="394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6" tIns="45663" rIns="91336" bIns="456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4925" y="4851400"/>
            <a:ext cx="323850" cy="273050"/>
          </a:xfrm>
          <a:prstGeom prst="rect">
            <a:avLst/>
          </a:prstGeom>
        </p:spPr>
        <p:txBody>
          <a:bodyPr vert="horz" lIns="91336" tIns="45663" rIns="91336" bIns="45663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33CD46EB-E49A-4644-88DD-8929C348B938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2" name="Группа 15"/>
          <p:cNvGrpSpPr/>
          <p:nvPr/>
        </p:nvGrpSpPr>
        <p:grpSpPr>
          <a:xfrm>
            <a:off x="8244408" y="4888858"/>
            <a:ext cx="632618" cy="209618"/>
            <a:chOff x="6402288" y="5402560"/>
            <a:chExt cx="1200150" cy="530225"/>
          </a:xfrm>
          <a:solidFill>
            <a:srgbClr val="C00000"/>
          </a:solidFill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7164288" y="5402560"/>
              <a:ext cx="438150" cy="398463"/>
            </a:xfrm>
            <a:custGeom>
              <a:avLst/>
              <a:gdLst>
                <a:gd name="T0" fmla="*/ 164 w 276"/>
                <a:gd name="T1" fmla="*/ 0 h 251"/>
                <a:gd name="T2" fmla="*/ 179 w 276"/>
                <a:gd name="T3" fmla="*/ 1 h 251"/>
                <a:gd name="T4" fmla="*/ 195 w 276"/>
                <a:gd name="T5" fmla="*/ 2 h 251"/>
                <a:gd name="T6" fmla="*/ 212 w 276"/>
                <a:gd name="T7" fmla="*/ 5 h 251"/>
                <a:gd name="T8" fmla="*/ 228 w 276"/>
                <a:gd name="T9" fmla="*/ 11 h 251"/>
                <a:gd name="T10" fmla="*/ 243 w 276"/>
                <a:gd name="T11" fmla="*/ 20 h 251"/>
                <a:gd name="T12" fmla="*/ 255 w 276"/>
                <a:gd name="T13" fmla="*/ 33 h 251"/>
                <a:gd name="T14" fmla="*/ 265 w 276"/>
                <a:gd name="T15" fmla="*/ 47 h 251"/>
                <a:gd name="T16" fmla="*/ 270 w 276"/>
                <a:gd name="T17" fmla="*/ 63 h 251"/>
                <a:gd name="T18" fmla="*/ 274 w 276"/>
                <a:gd name="T19" fmla="*/ 77 h 251"/>
                <a:gd name="T20" fmla="*/ 275 w 276"/>
                <a:gd name="T21" fmla="*/ 90 h 251"/>
                <a:gd name="T22" fmla="*/ 276 w 276"/>
                <a:gd name="T23" fmla="*/ 101 h 251"/>
                <a:gd name="T24" fmla="*/ 275 w 276"/>
                <a:gd name="T25" fmla="*/ 155 h 251"/>
                <a:gd name="T26" fmla="*/ 275 w 276"/>
                <a:gd name="T27" fmla="*/ 167 h 251"/>
                <a:gd name="T28" fmla="*/ 272 w 276"/>
                <a:gd name="T29" fmla="*/ 181 h 251"/>
                <a:gd name="T30" fmla="*/ 268 w 276"/>
                <a:gd name="T31" fmla="*/ 196 h 251"/>
                <a:gd name="T32" fmla="*/ 260 w 276"/>
                <a:gd name="T33" fmla="*/ 211 h 251"/>
                <a:gd name="T34" fmla="*/ 249 w 276"/>
                <a:gd name="T35" fmla="*/ 225 h 251"/>
                <a:gd name="T36" fmla="*/ 235 w 276"/>
                <a:gd name="T37" fmla="*/ 235 h 251"/>
                <a:gd name="T38" fmla="*/ 220 w 276"/>
                <a:gd name="T39" fmla="*/ 243 h 251"/>
                <a:gd name="T40" fmla="*/ 203 w 276"/>
                <a:gd name="T41" fmla="*/ 247 h 251"/>
                <a:gd name="T42" fmla="*/ 187 w 276"/>
                <a:gd name="T43" fmla="*/ 250 h 251"/>
                <a:gd name="T44" fmla="*/ 171 w 276"/>
                <a:gd name="T45" fmla="*/ 250 h 251"/>
                <a:gd name="T46" fmla="*/ 101 w 276"/>
                <a:gd name="T47" fmla="*/ 251 h 251"/>
                <a:gd name="T48" fmla="*/ 82 w 276"/>
                <a:gd name="T49" fmla="*/ 250 h 251"/>
                <a:gd name="T50" fmla="*/ 66 w 276"/>
                <a:gd name="T51" fmla="*/ 246 h 251"/>
                <a:gd name="T52" fmla="*/ 52 w 276"/>
                <a:gd name="T53" fmla="*/ 240 h 251"/>
                <a:gd name="T54" fmla="*/ 40 w 276"/>
                <a:gd name="T55" fmla="*/ 229 h 251"/>
                <a:gd name="T56" fmla="*/ 13 w 276"/>
                <a:gd name="T57" fmla="*/ 195 h 251"/>
                <a:gd name="T58" fmla="*/ 6 w 276"/>
                <a:gd name="T59" fmla="*/ 186 h 251"/>
                <a:gd name="T60" fmla="*/ 2 w 276"/>
                <a:gd name="T61" fmla="*/ 177 h 251"/>
                <a:gd name="T62" fmla="*/ 0 w 276"/>
                <a:gd name="T63" fmla="*/ 167 h 251"/>
                <a:gd name="T64" fmla="*/ 2 w 276"/>
                <a:gd name="T65" fmla="*/ 157 h 251"/>
                <a:gd name="T66" fmla="*/ 7 w 276"/>
                <a:gd name="T67" fmla="*/ 148 h 251"/>
                <a:gd name="T68" fmla="*/ 13 w 276"/>
                <a:gd name="T69" fmla="*/ 139 h 251"/>
                <a:gd name="T70" fmla="*/ 160 w 276"/>
                <a:gd name="T71" fmla="*/ 84 h 251"/>
                <a:gd name="T72" fmla="*/ 90 w 276"/>
                <a:gd name="T73" fmla="*/ 177 h 251"/>
                <a:gd name="T74" fmla="*/ 86 w 276"/>
                <a:gd name="T75" fmla="*/ 184 h 251"/>
                <a:gd name="T76" fmla="*/ 84 w 276"/>
                <a:gd name="T77" fmla="*/ 191 h 251"/>
                <a:gd name="T78" fmla="*/ 85 w 276"/>
                <a:gd name="T79" fmla="*/ 199 h 251"/>
                <a:gd name="T80" fmla="*/ 89 w 276"/>
                <a:gd name="T81" fmla="*/ 205 h 251"/>
                <a:gd name="T82" fmla="*/ 96 w 276"/>
                <a:gd name="T83" fmla="*/ 208 h 251"/>
                <a:gd name="T84" fmla="*/ 106 w 276"/>
                <a:gd name="T85" fmla="*/ 209 h 251"/>
                <a:gd name="T86" fmla="*/ 168 w 276"/>
                <a:gd name="T87" fmla="*/ 208 h 251"/>
                <a:gd name="T88" fmla="*/ 177 w 276"/>
                <a:gd name="T89" fmla="*/ 207 h 251"/>
                <a:gd name="T90" fmla="*/ 185 w 276"/>
                <a:gd name="T91" fmla="*/ 202 h 251"/>
                <a:gd name="T92" fmla="*/ 190 w 276"/>
                <a:gd name="T93" fmla="*/ 194 h 251"/>
                <a:gd name="T94" fmla="*/ 191 w 276"/>
                <a:gd name="T95" fmla="*/ 185 h 251"/>
                <a:gd name="T96" fmla="*/ 192 w 276"/>
                <a:gd name="T97" fmla="*/ 69 h 251"/>
                <a:gd name="T98" fmla="*/ 191 w 276"/>
                <a:gd name="T99" fmla="*/ 61 h 251"/>
                <a:gd name="T100" fmla="*/ 188 w 276"/>
                <a:gd name="T101" fmla="*/ 53 h 251"/>
                <a:gd name="T102" fmla="*/ 181 w 276"/>
                <a:gd name="T103" fmla="*/ 46 h 251"/>
                <a:gd name="T104" fmla="*/ 172 w 276"/>
                <a:gd name="T105" fmla="*/ 43 h 251"/>
                <a:gd name="T106" fmla="*/ 164 w 276"/>
                <a:gd name="T107" fmla="*/ 42 h 251"/>
                <a:gd name="T108" fmla="*/ 55 w 276"/>
                <a:gd name="T109" fmla="*/ 26 h 251"/>
                <a:gd name="T110" fmla="*/ 56 w 276"/>
                <a:gd name="T111" fmla="*/ 18 h 251"/>
                <a:gd name="T112" fmla="*/ 59 w 276"/>
                <a:gd name="T113" fmla="*/ 11 h 251"/>
                <a:gd name="T114" fmla="*/ 66 w 276"/>
                <a:gd name="T115" fmla="*/ 4 h 251"/>
                <a:gd name="T116" fmla="*/ 74 w 276"/>
                <a:gd name="T117" fmla="*/ 1 h 251"/>
                <a:gd name="T118" fmla="*/ 81 w 276"/>
                <a:gd name="T11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6" h="251">
                  <a:moveTo>
                    <a:pt x="81" y="0"/>
                  </a:moveTo>
                  <a:lnTo>
                    <a:pt x="164" y="0"/>
                  </a:lnTo>
                  <a:lnTo>
                    <a:pt x="171" y="0"/>
                  </a:lnTo>
                  <a:lnTo>
                    <a:pt x="179" y="1"/>
                  </a:lnTo>
                  <a:lnTo>
                    <a:pt x="187" y="1"/>
                  </a:lnTo>
                  <a:lnTo>
                    <a:pt x="195" y="2"/>
                  </a:lnTo>
                  <a:lnTo>
                    <a:pt x="203" y="3"/>
                  </a:lnTo>
                  <a:lnTo>
                    <a:pt x="212" y="5"/>
                  </a:lnTo>
                  <a:lnTo>
                    <a:pt x="220" y="8"/>
                  </a:lnTo>
                  <a:lnTo>
                    <a:pt x="228" y="11"/>
                  </a:lnTo>
                  <a:lnTo>
                    <a:pt x="235" y="15"/>
                  </a:lnTo>
                  <a:lnTo>
                    <a:pt x="243" y="20"/>
                  </a:lnTo>
                  <a:lnTo>
                    <a:pt x="249" y="26"/>
                  </a:lnTo>
                  <a:lnTo>
                    <a:pt x="255" y="33"/>
                  </a:lnTo>
                  <a:lnTo>
                    <a:pt x="260" y="40"/>
                  </a:lnTo>
                  <a:lnTo>
                    <a:pt x="265" y="47"/>
                  </a:lnTo>
                  <a:lnTo>
                    <a:pt x="268" y="55"/>
                  </a:lnTo>
                  <a:lnTo>
                    <a:pt x="270" y="63"/>
                  </a:lnTo>
                  <a:lnTo>
                    <a:pt x="272" y="70"/>
                  </a:lnTo>
                  <a:lnTo>
                    <a:pt x="274" y="77"/>
                  </a:lnTo>
                  <a:lnTo>
                    <a:pt x="275" y="84"/>
                  </a:lnTo>
                  <a:lnTo>
                    <a:pt x="275" y="90"/>
                  </a:lnTo>
                  <a:lnTo>
                    <a:pt x="275" y="96"/>
                  </a:lnTo>
                  <a:lnTo>
                    <a:pt x="276" y="101"/>
                  </a:lnTo>
                  <a:lnTo>
                    <a:pt x="276" y="150"/>
                  </a:lnTo>
                  <a:lnTo>
                    <a:pt x="275" y="155"/>
                  </a:lnTo>
                  <a:lnTo>
                    <a:pt x="275" y="161"/>
                  </a:lnTo>
                  <a:lnTo>
                    <a:pt x="275" y="167"/>
                  </a:lnTo>
                  <a:lnTo>
                    <a:pt x="274" y="174"/>
                  </a:lnTo>
                  <a:lnTo>
                    <a:pt x="272" y="181"/>
                  </a:lnTo>
                  <a:lnTo>
                    <a:pt x="270" y="188"/>
                  </a:lnTo>
                  <a:lnTo>
                    <a:pt x="268" y="196"/>
                  </a:lnTo>
                  <a:lnTo>
                    <a:pt x="265" y="203"/>
                  </a:lnTo>
                  <a:lnTo>
                    <a:pt x="260" y="211"/>
                  </a:lnTo>
                  <a:lnTo>
                    <a:pt x="255" y="218"/>
                  </a:lnTo>
                  <a:lnTo>
                    <a:pt x="249" y="225"/>
                  </a:lnTo>
                  <a:lnTo>
                    <a:pt x="243" y="230"/>
                  </a:lnTo>
                  <a:lnTo>
                    <a:pt x="235" y="235"/>
                  </a:lnTo>
                  <a:lnTo>
                    <a:pt x="228" y="240"/>
                  </a:lnTo>
                  <a:lnTo>
                    <a:pt x="220" y="243"/>
                  </a:lnTo>
                  <a:lnTo>
                    <a:pt x="212" y="245"/>
                  </a:lnTo>
                  <a:lnTo>
                    <a:pt x="203" y="247"/>
                  </a:lnTo>
                  <a:lnTo>
                    <a:pt x="195" y="249"/>
                  </a:lnTo>
                  <a:lnTo>
                    <a:pt x="187" y="250"/>
                  </a:lnTo>
                  <a:lnTo>
                    <a:pt x="179" y="250"/>
                  </a:lnTo>
                  <a:lnTo>
                    <a:pt x="171" y="250"/>
                  </a:lnTo>
                  <a:lnTo>
                    <a:pt x="164" y="251"/>
                  </a:lnTo>
                  <a:lnTo>
                    <a:pt x="101" y="251"/>
                  </a:lnTo>
                  <a:lnTo>
                    <a:pt x="91" y="250"/>
                  </a:lnTo>
                  <a:lnTo>
                    <a:pt x="82" y="250"/>
                  </a:lnTo>
                  <a:lnTo>
                    <a:pt x="74" y="249"/>
                  </a:lnTo>
                  <a:lnTo>
                    <a:pt x="66" y="246"/>
                  </a:lnTo>
                  <a:lnTo>
                    <a:pt x="59" y="244"/>
                  </a:lnTo>
                  <a:lnTo>
                    <a:pt x="52" y="240"/>
                  </a:lnTo>
                  <a:lnTo>
                    <a:pt x="46" y="235"/>
                  </a:lnTo>
                  <a:lnTo>
                    <a:pt x="40" y="229"/>
                  </a:lnTo>
                  <a:lnTo>
                    <a:pt x="34" y="222"/>
                  </a:lnTo>
                  <a:lnTo>
                    <a:pt x="13" y="195"/>
                  </a:lnTo>
                  <a:lnTo>
                    <a:pt x="10" y="190"/>
                  </a:lnTo>
                  <a:lnTo>
                    <a:pt x="6" y="186"/>
                  </a:lnTo>
                  <a:lnTo>
                    <a:pt x="4" y="181"/>
                  </a:lnTo>
                  <a:lnTo>
                    <a:pt x="2" y="177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0" y="162"/>
                  </a:lnTo>
                  <a:lnTo>
                    <a:pt x="2" y="157"/>
                  </a:lnTo>
                  <a:lnTo>
                    <a:pt x="4" y="153"/>
                  </a:lnTo>
                  <a:lnTo>
                    <a:pt x="7" y="148"/>
                  </a:lnTo>
                  <a:lnTo>
                    <a:pt x="10" y="144"/>
                  </a:lnTo>
                  <a:lnTo>
                    <a:pt x="13" y="139"/>
                  </a:lnTo>
                  <a:lnTo>
                    <a:pt x="55" y="84"/>
                  </a:lnTo>
                  <a:lnTo>
                    <a:pt x="160" y="84"/>
                  </a:lnTo>
                  <a:lnTo>
                    <a:pt x="92" y="174"/>
                  </a:lnTo>
                  <a:lnTo>
                    <a:pt x="90" y="177"/>
                  </a:lnTo>
                  <a:lnTo>
                    <a:pt x="87" y="180"/>
                  </a:lnTo>
                  <a:lnTo>
                    <a:pt x="86" y="184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4" y="195"/>
                  </a:lnTo>
                  <a:lnTo>
                    <a:pt x="85" y="199"/>
                  </a:lnTo>
                  <a:lnTo>
                    <a:pt x="87" y="203"/>
                  </a:lnTo>
                  <a:lnTo>
                    <a:pt x="89" y="205"/>
                  </a:lnTo>
                  <a:lnTo>
                    <a:pt x="92" y="206"/>
                  </a:lnTo>
                  <a:lnTo>
                    <a:pt x="96" y="208"/>
                  </a:lnTo>
                  <a:lnTo>
                    <a:pt x="99" y="208"/>
                  </a:lnTo>
                  <a:lnTo>
                    <a:pt x="106" y="209"/>
                  </a:lnTo>
                  <a:lnTo>
                    <a:pt x="164" y="209"/>
                  </a:lnTo>
                  <a:lnTo>
                    <a:pt x="168" y="208"/>
                  </a:lnTo>
                  <a:lnTo>
                    <a:pt x="172" y="208"/>
                  </a:lnTo>
                  <a:lnTo>
                    <a:pt x="177" y="207"/>
                  </a:lnTo>
                  <a:lnTo>
                    <a:pt x="181" y="205"/>
                  </a:lnTo>
                  <a:lnTo>
                    <a:pt x="185" y="202"/>
                  </a:lnTo>
                  <a:lnTo>
                    <a:pt x="188" y="198"/>
                  </a:lnTo>
                  <a:lnTo>
                    <a:pt x="190" y="194"/>
                  </a:lnTo>
                  <a:lnTo>
                    <a:pt x="191" y="190"/>
                  </a:lnTo>
                  <a:lnTo>
                    <a:pt x="191" y="185"/>
                  </a:lnTo>
                  <a:lnTo>
                    <a:pt x="192" y="181"/>
                  </a:lnTo>
                  <a:lnTo>
                    <a:pt x="192" y="69"/>
                  </a:lnTo>
                  <a:lnTo>
                    <a:pt x="191" y="65"/>
                  </a:lnTo>
                  <a:lnTo>
                    <a:pt x="191" y="61"/>
                  </a:lnTo>
                  <a:lnTo>
                    <a:pt x="190" y="57"/>
                  </a:lnTo>
                  <a:lnTo>
                    <a:pt x="188" y="53"/>
                  </a:lnTo>
                  <a:lnTo>
                    <a:pt x="185" y="49"/>
                  </a:lnTo>
                  <a:lnTo>
                    <a:pt x="181" y="46"/>
                  </a:lnTo>
                  <a:lnTo>
                    <a:pt x="177" y="44"/>
                  </a:lnTo>
                  <a:lnTo>
                    <a:pt x="172" y="43"/>
                  </a:lnTo>
                  <a:lnTo>
                    <a:pt x="168" y="42"/>
                  </a:lnTo>
                  <a:lnTo>
                    <a:pt x="164" y="42"/>
                  </a:lnTo>
                  <a:lnTo>
                    <a:pt x="55" y="42"/>
                  </a:lnTo>
                  <a:lnTo>
                    <a:pt x="55" y="26"/>
                  </a:lnTo>
                  <a:lnTo>
                    <a:pt x="55" y="22"/>
                  </a:lnTo>
                  <a:lnTo>
                    <a:pt x="56" y="18"/>
                  </a:lnTo>
                  <a:lnTo>
                    <a:pt x="57" y="15"/>
                  </a:lnTo>
                  <a:lnTo>
                    <a:pt x="59" y="11"/>
                  </a:lnTo>
                  <a:lnTo>
                    <a:pt x="62" y="7"/>
                  </a:lnTo>
                  <a:lnTo>
                    <a:pt x="66" y="4"/>
                  </a:lnTo>
                  <a:lnTo>
                    <a:pt x="70" y="2"/>
                  </a:lnTo>
                  <a:lnTo>
                    <a:pt x="74" y="1"/>
                  </a:lnTo>
                  <a:lnTo>
                    <a:pt x="78" y="0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6851550" y="5535910"/>
              <a:ext cx="366712" cy="265113"/>
            </a:xfrm>
            <a:custGeom>
              <a:avLst/>
              <a:gdLst>
                <a:gd name="T0" fmla="*/ 126 w 231"/>
                <a:gd name="T1" fmla="*/ 0 h 167"/>
                <a:gd name="T2" fmla="*/ 231 w 231"/>
                <a:gd name="T3" fmla="*/ 0 h 167"/>
                <a:gd name="T4" fmla="*/ 105 w 231"/>
                <a:gd name="T5" fmla="*/ 167 h 167"/>
                <a:gd name="T6" fmla="*/ 0 w 231"/>
                <a:gd name="T7" fmla="*/ 167 h 167"/>
                <a:gd name="T8" fmla="*/ 126 w 231"/>
                <a:gd name="T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167">
                  <a:moveTo>
                    <a:pt x="126" y="0"/>
                  </a:moveTo>
                  <a:lnTo>
                    <a:pt x="231" y="0"/>
                  </a:lnTo>
                  <a:lnTo>
                    <a:pt x="105" y="167"/>
                  </a:lnTo>
                  <a:lnTo>
                    <a:pt x="0" y="167"/>
                  </a:lnTo>
                  <a:lnTo>
                    <a:pt x="1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6402288" y="5535910"/>
              <a:ext cx="504825" cy="396875"/>
            </a:xfrm>
            <a:custGeom>
              <a:avLst/>
              <a:gdLst>
                <a:gd name="T0" fmla="*/ 26 w 318"/>
                <a:gd name="T1" fmla="*/ 0 h 250"/>
                <a:gd name="T2" fmla="*/ 216 w 318"/>
                <a:gd name="T3" fmla="*/ 0 h 250"/>
                <a:gd name="T4" fmla="*/ 226 w 318"/>
                <a:gd name="T5" fmla="*/ 0 h 250"/>
                <a:gd name="T6" fmla="*/ 235 w 318"/>
                <a:gd name="T7" fmla="*/ 1 h 250"/>
                <a:gd name="T8" fmla="*/ 244 w 318"/>
                <a:gd name="T9" fmla="*/ 2 h 250"/>
                <a:gd name="T10" fmla="*/ 252 w 318"/>
                <a:gd name="T11" fmla="*/ 4 h 250"/>
                <a:gd name="T12" fmla="*/ 259 w 318"/>
                <a:gd name="T13" fmla="*/ 6 h 250"/>
                <a:gd name="T14" fmla="*/ 266 w 318"/>
                <a:gd name="T15" fmla="*/ 11 h 250"/>
                <a:gd name="T16" fmla="*/ 272 w 318"/>
                <a:gd name="T17" fmla="*/ 16 h 250"/>
                <a:gd name="T18" fmla="*/ 278 w 318"/>
                <a:gd name="T19" fmla="*/ 21 h 250"/>
                <a:gd name="T20" fmla="*/ 283 w 318"/>
                <a:gd name="T21" fmla="*/ 28 h 250"/>
                <a:gd name="T22" fmla="*/ 305 w 318"/>
                <a:gd name="T23" fmla="*/ 55 h 250"/>
                <a:gd name="T24" fmla="*/ 308 w 318"/>
                <a:gd name="T25" fmla="*/ 60 h 250"/>
                <a:gd name="T26" fmla="*/ 311 w 318"/>
                <a:gd name="T27" fmla="*/ 65 h 250"/>
                <a:gd name="T28" fmla="*/ 314 w 318"/>
                <a:gd name="T29" fmla="*/ 69 h 250"/>
                <a:gd name="T30" fmla="*/ 316 w 318"/>
                <a:gd name="T31" fmla="*/ 73 h 250"/>
                <a:gd name="T32" fmla="*/ 317 w 318"/>
                <a:gd name="T33" fmla="*/ 78 h 250"/>
                <a:gd name="T34" fmla="*/ 318 w 318"/>
                <a:gd name="T35" fmla="*/ 83 h 250"/>
                <a:gd name="T36" fmla="*/ 317 w 318"/>
                <a:gd name="T37" fmla="*/ 88 h 250"/>
                <a:gd name="T38" fmla="*/ 316 w 318"/>
                <a:gd name="T39" fmla="*/ 93 h 250"/>
                <a:gd name="T40" fmla="*/ 314 w 318"/>
                <a:gd name="T41" fmla="*/ 97 h 250"/>
                <a:gd name="T42" fmla="*/ 311 w 318"/>
                <a:gd name="T43" fmla="*/ 102 h 250"/>
                <a:gd name="T44" fmla="*/ 308 w 318"/>
                <a:gd name="T45" fmla="*/ 106 h 250"/>
                <a:gd name="T46" fmla="*/ 305 w 318"/>
                <a:gd name="T47" fmla="*/ 111 h 250"/>
                <a:gd name="T48" fmla="*/ 262 w 318"/>
                <a:gd name="T49" fmla="*/ 167 h 250"/>
                <a:gd name="T50" fmla="*/ 157 w 318"/>
                <a:gd name="T51" fmla="*/ 167 h 250"/>
                <a:gd name="T52" fmla="*/ 226 w 318"/>
                <a:gd name="T53" fmla="*/ 76 h 250"/>
                <a:gd name="T54" fmla="*/ 228 w 318"/>
                <a:gd name="T55" fmla="*/ 73 h 250"/>
                <a:gd name="T56" fmla="*/ 230 w 318"/>
                <a:gd name="T57" fmla="*/ 70 h 250"/>
                <a:gd name="T58" fmla="*/ 232 w 318"/>
                <a:gd name="T59" fmla="*/ 66 h 250"/>
                <a:gd name="T60" fmla="*/ 233 w 318"/>
                <a:gd name="T61" fmla="*/ 63 h 250"/>
                <a:gd name="T62" fmla="*/ 234 w 318"/>
                <a:gd name="T63" fmla="*/ 59 h 250"/>
                <a:gd name="T64" fmla="*/ 234 w 318"/>
                <a:gd name="T65" fmla="*/ 55 h 250"/>
                <a:gd name="T66" fmla="*/ 233 w 318"/>
                <a:gd name="T67" fmla="*/ 51 h 250"/>
                <a:gd name="T68" fmla="*/ 231 w 318"/>
                <a:gd name="T69" fmla="*/ 48 h 250"/>
                <a:gd name="T70" fmla="*/ 228 w 318"/>
                <a:gd name="T71" fmla="*/ 45 h 250"/>
                <a:gd name="T72" fmla="*/ 225 w 318"/>
                <a:gd name="T73" fmla="*/ 44 h 250"/>
                <a:gd name="T74" fmla="*/ 222 w 318"/>
                <a:gd name="T75" fmla="*/ 43 h 250"/>
                <a:gd name="T76" fmla="*/ 219 w 318"/>
                <a:gd name="T77" fmla="*/ 42 h 250"/>
                <a:gd name="T78" fmla="*/ 215 w 318"/>
                <a:gd name="T79" fmla="*/ 42 h 250"/>
                <a:gd name="T80" fmla="*/ 212 w 318"/>
                <a:gd name="T81" fmla="*/ 42 h 250"/>
                <a:gd name="T82" fmla="*/ 126 w 318"/>
                <a:gd name="T83" fmla="*/ 42 h 250"/>
                <a:gd name="T84" fmla="*/ 126 w 318"/>
                <a:gd name="T85" fmla="*/ 250 h 250"/>
                <a:gd name="T86" fmla="*/ 42 w 318"/>
                <a:gd name="T87" fmla="*/ 250 h 250"/>
                <a:gd name="T88" fmla="*/ 42 w 318"/>
                <a:gd name="T89" fmla="*/ 42 h 250"/>
                <a:gd name="T90" fmla="*/ 0 w 318"/>
                <a:gd name="T91" fmla="*/ 42 h 250"/>
                <a:gd name="T92" fmla="*/ 0 w 318"/>
                <a:gd name="T93" fmla="*/ 25 h 250"/>
                <a:gd name="T94" fmla="*/ 0 w 318"/>
                <a:gd name="T95" fmla="*/ 22 h 250"/>
                <a:gd name="T96" fmla="*/ 1 w 318"/>
                <a:gd name="T97" fmla="*/ 18 h 250"/>
                <a:gd name="T98" fmla="*/ 2 w 318"/>
                <a:gd name="T99" fmla="*/ 14 h 250"/>
                <a:gd name="T100" fmla="*/ 4 w 318"/>
                <a:gd name="T101" fmla="*/ 10 h 250"/>
                <a:gd name="T102" fmla="*/ 7 w 318"/>
                <a:gd name="T103" fmla="*/ 6 h 250"/>
                <a:gd name="T104" fmla="*/ 11 w 318"/>
                <a:gd name="T105" fmla="*/ 4 h 250"/>
                <a:gd name="T106" fmla="*/ 15 w 318"/>
                <a:gd name="T107" fmla="*/ 2 h 250"/>
                <a:gd name="T108" fmla="*/ 18 w 318"/>
                <a:gd name="T109" fmla="*/ 1 h 250"/>
                <a:gd name="T110" fmla="*/ 22 w 318"/>
                <a:gd name="T111" fmla="*/ 0 h 250"/>
                <a:gd name="T112" fmla="*/ 26 w 318"/>
                <a:gd name="T1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8" h="250">
                  <a:moveTo>
                    <a:pt x="26" y="0"/>
                  </a:moveTo>
                  <a:lnTo>
                    <a:pt x="216" y="0"/>
                  </a:lnTo>
                  <a:lnTo>
                    <a:pt x="226" y="0"/>
                  </a:lnTo>
                  <a:lnTo>
                    <a:pt x="235" y="1"/>
                  </a:lnTo>
                  <a:lnTo>
                    <a:pt x="244" y="2"/>
                  </a:lnTo>
                  <a:lnTo>
                    <a:pt x="252" y="4"/>
                  </a:lnTo>
                  <a:lnTo>
                    <a:pt x="259" y="6"/>
                  </a:lnTo>
                  <a:lnTo>
                    <a:pt x="266" y="11"/>
                  </a:lnTo>
                  <a:lnTo>
                    <a:pt x="272" y="16"/>
                  </a:lnTo>
                  <a:lnTo>
                    <a:pt x="278" y="21"/>
                  </a:lnTo>
                  <a:lnTo>
                    <a:pt x="283" y="28"/>
                  </a:lnTo>
                  <a:lnTo>
                    <a:pt x="305" y="55"/>
                  </a:lnTo>
                  <a:lnTo>
                    <a:pt x="308" y="60"/>
                  </a:lnTo>
                  <a:lnTo>
                    <a:pt x="311" y="65"/>
                  </a:lnTo>
                  <a:lnTo>
                    <a:pt x="314" y="69"/>
                  </a:lnTo>
                  <a:lnTo>
                    <a:pt x="316" y="73"/>
                  </a:lnTo>
                  <a:lnTo>
                    <a:pt x="317" y="78"/>
                  </a:lnTo>
                  <a:lnTo>
                    <a:pt x="318" y="83"/>
                  </a:lnTo>
                  <a:lnTo>
                    <a:pt x="317" y="88"/>
                  </a:lnTo>
                  <a:lnTo>
                    <a:pt x="316" y="93"/>
                  </a:lnTo>
                  <a:lnTo>
                    <a:pt x="314" y="97"/>
                  </a:lnTo>
                  <a:lnTo>
                    <a:pt x="311" y="102"/>
                  </a:lnTo>
                  <a:lnTo>
                    <a:pt x="308" y="106"/>
                  </a:lnTo>
                  <a:lnTo>
                    <a:pt x="305" y="111"/>
                  </a:lnTo>
                  <a:lnTo>
                    <a:pt x="262" y="167"/>
                  </a:lnTo>
                  <a:lnTo>
                    <a:pt x="157" y="167"/>
                  </a:lnTo>
                  <a:lnTo>
                    <a:pt x="226" y="76"/>
                  </a:lnTo>
                  <a:lnTo>
                    <a:pt x="228" y="73"/>
                  </a:lnTo>
                  <a:lnTo>
                    <a:pt x="230" y="70"/>
                  </a:lnTo>
                  <a:lnTo>
                    <a:pt x="232" y="66"/>
                  </a:lnTo>
                  <a:lnTo>
                    <a:pt x="233" y="63"/>
                  </a:lnTo>
                  <a:lnTo>
                    <a:pt x="234" y="59"/>
                  </a:lnTo>
                  <a:lnTo>
                    <a:pt x="234" y="55"/>
                  </a:lnTo>
                  <a:lnTo>
                    <a:pt x="233" y="51"/>
                  </a:lnTo>
                  <a:lnTo>
                    <a:pt x="231" y="48"/>
                  </a:lnTo>
                  <a:lnTo>
                    <a:pt x="228" y="45"/>
                  </a:lnTo>
                  <a:lnTo>
                    <a:pt x="225" y="44"/>
                  </a:lnTo>
                  <a:lnTo>
                    <a:pt x="222" y="43"/>
                  </a:lnTo>
                  <a:lnTo>
                    <a:pt x="219" y="42"/>
                  </a:lnTo>
                  <a:lnTo>
                    <a:pt x="215" y="42"/>
                  </a:lnTo>
                  <a:lnTo>
                    <a:pt x="212" y="42"/>
                  </a:lnTo>
                  <a:lnTo>
                    <a:pt x="126" y="42"/>
                  </a:lnTo>
                  <a:lnTo>
                    <a:pt x="126" y="250"/>
                  </a:lnTo>
                  <a:lnTo>
                    <a:pt x="42" y="250"/>
                  </a:lnTo>
                  <a:lnTo>
                    <a:pt x="42" y="42"/>
                  </a:lnTo>
                  <a:lnTo>
                    <a:pt x="0" y="42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8" y="1"/>
                  </a:lnTo>
                  <a:lnTo>
                    <a:pt x="22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947886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668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91336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37004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8267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341313" indent="-3413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1363" indent="-28416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1413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597025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4225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174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2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102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78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8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6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4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21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03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8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762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444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63665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2791" name="think-cell Slide" r:id="rId9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071A2F3A-6D35-409B-9619-0B6171385830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000" b="0" i="0" baseline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4837115"/>
            <a:ext cx="9144000" cy="314325"/>
          </a:xfrm>
          <a:prstGeom prst="rect">
            <a:avLst/>
          </a:prstGeom>
          <a:solidFill>
            <a:srgbClr val="D3D3D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6" tIns="45663" rIns="91336" bIns="45663" anchor="ctr"/>
          <a:lstStyle/>
          <a:p>
            <a:pPr algn="ctr">
              <a:defRPr/>
            </a:pPr>
            <a:endParaRPr lang="ru-RU" dirty="0">
              <a:solidFill>
                <a:prstClr val="white">
                  <a:lumMod val="6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2"/>
            <a:ext cx="9144000" cy="627063"/>
          </a:xfrm>
          <a:prstGeom prst="rect">
            <a:avLst/>
          </a:prstGeom>
          <a:solidFill>
            <a:srgbClr val="D3D3D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6" tIns="45663" rIns="91336" bIns="45663" anchor="ctr"/>
          <a:lstStyle/>
          <a:p>
            <a:pPr algn="ctr">
              <a:defRPr/>
            </a:pPr>
            <a:endParaRPr lang="ru-RU" dirty="0">
              <a:solidFill>
                <a:prstClr val="white">
                  <a:lumMod val="6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8" name="Заголовок 1"/>
          <p:cNvSpPr>
            <a:spLocks noGrp="1"/>
          </p:cNvSpPr>
          <p:nvPr>
            <p:ph type="title"/>
          </p:nvPr>
        </p:nvSpPr>
        <p:spPr bwMode="auto">
          <a:xfrm>
            <a:off x="0" y="103204"/>
            <a:ext cx="8229600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6" tIns="45663" rIns="91336" bIns="456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9" name="Текст 2"/>
          <p:cNvSpPr>
            <a:spLocks noGrp="1"/>
          </p:cNvSpPr>
          <p:nvPr>
            <p:ph type="body" idx="1"/>
          </p:nvPr>
        </p:nvSpPr>
        <p:spPr bwMode="auto">
          <a:xfrm>
            <a:off x="179388" y="788988"/>
            <a:ext cx="8769350" cy="394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6" tIns="45663" rIns="91336" bIns="456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4925" y="4851400"/>
            <a:ext cx="323850" cy="273050"/>
          </a:xfrm>
          <a:prstGeom prst="rect">
            <a:avLst/>
          </a:prstGeom>
        </p:spPr>
        <p:txBody>
          <a:bodyPr vert="horz" lIns="91336" tIns="45663" rIns="91336" bIns="45663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33CD46EB-E49A-4644-88DD-8929C348B938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2" name="Группа 15"/>
          <p:cNvGrpSpPr/>
          <p:nvPr/>
        </p:nvGrpSpPr>
        <p:grpSpPr>
          <a:xfrm>
            <a:off x="8244408" y="4888858"/>
            <a:ext cx="632618" cy="209618"/>
            <a:chOff x="6402288" y="5402560"/>
            <a:chExt cx="1200150" cy="530225"/>
          </a:xfrm>
          <a:solidFill>
            <a:srgbClr val="C00000"/>
          </a:solidFill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7164288" y="5402560"/>
              <a:ext cx="438150" cy="398463"/>
            </a:xfrm>
            <a:custGeom>
              <a:avLst/>
              <a:gdLst>
                <a:gd name="T0" fmla="*/ 164 w 276"/>
                <a:gd name="T1" fmla="*/ 0 h 251"/>
                <a:gd name="T2" fmla="*/ 179 w 276"/>
                <a:gd name="T3" fmla="*/ 1 h 251"/>
                <a:gd name="T4" fmla="*/ 195 w 276"/>
                <a:gd name="T5" fmla="*/ 2 h 251"/>
                <a:gd name="T6" fmla="*/ 212 w 276"/>
                <a:gd name="T7" fmla="*/ 5 h 251"/>
                <a:gd name="T8" fmla="*/ 228 w 276"/>
                <a:gd name="T9" fmla="*/ 11 h 251"/>
                <a:gd name="T10" fmla="*/ 243 w 276"/>
                <a:gd name="T11" fmla="*/ 20 h 251"/>
                <a:gd name="T12" fmla="*/ 255 w 276"/>
                <a:gd name="T13" fmla="*/ 33 h 251"/>
                <a:gd name="T14" fmla="*/ 265 w 276"/>
                <a:gd name="T15" fmla="*/ 47 h 251"/>
                <a:gd name="T16" fmla="*/ 270 w 276"/>
                <a:gd name="T17" fmla="*/ 63 h 251"/>
                <a:gd name="T18" fmla="*/ 274 w 276"/>
                <a:gd name="T19" fmla="*/ 77 h 251"/>
                <a:gd name="T20" fmla="*/ 275 w 276"/>
                <a:gd name="T21" fmla="*/ 90 h 251"/>
                <a:gd name="T22" fmla="*/ 276 w 276"/>
                <a:gd name="T23" fmla="*/ 101 h 251"/>
                <a:gd name="T24" fmla="*/ 275 w 276"/>
                <a:gd name="T25" fmla="*/ 155 h 251"/>
                <a:gd name="T26" fmla="*/ 275 w 276"/>
                <a:gd name="T27" fmla="*/ 167 h 251"/>
                <a:gd name="T28" fmla="*/ 272 w 276"/>
                <a:gd name="T29" fmla="*/ 181 h 251"/>
                <a:gd name="T30" fmla="*/ 268 w 276"/>
                <a:gd name="T31" fmla="*/ 196 h 251"/>
                <a:gd name="T32" fmla="*/ 260 w 276"/>
                <a:gd name="T33" fmla="*/ 211 h 251"/>
                <a:gd name="T34" fmla="*/ 249 w 276"/>
                <a:gd name="T35" fmla="*/ 225 h 251"/>
                <a:gd name="T36" fmla="*/ 235 w 276"/>
                <a:gd name="T37" fmla="*/ 235 h 251"/>
                <a:gd name="T38" fmla="*/ 220 w 276"/>
                <a:gd name="T39" fmla="*/ 243 h 251"/>
                <a:gd name="T40" fmla="*/ 203 w 276"/>
                <a:gd name="T41" fmla="*/ 247 h 251"/>
                <a:gd name="T42" fmla="*/ 187 w 276"/>
                <a:gd name="T43" fmla="*/ 250 h 251"/>
                <a:gd name="T44" fmla="*/ 171 w 276"/>
                <a:gd name="T45" fmla="*/ 250 h 251"/>
                <a:gd name="T46" fmla="*/ 101 w 276"/>
                <a:gd name="T47" fmla="*/ 251 h 251"/>
                <a:gd name="T48" fmla="*/ 82 w 276"/>
                <a:gd name="T49" fmla="*/ 250 h 251"/>
                <a:gd name="T50" fmla="*/ 66 w 276"/>
                <a:gd name="T51" fmla="*/ 246 h 251"/>
                <a:gd name="T52" fmla="*/ 52 w 276"/>
                <a:gd name="T53" fmla="*/ 240 h 251"/>
                <a:gd name="T54" fmla="*/ 40 w 276"/>
                <a:gd name="T55" fmla="*/ 229 h 251"/>
                <a:gd name="T56" fmla="*/ 13 w 276"/>
                <a:gd name="T57" fmla="*/ 195 h 251"/>
                <a:gd name="T58" fmla="*/ 6 w 276"/>
                <a:gd name="T59" fmla="*/ 186 h 251"/>
                <a:gd name="T60" fmla="*/ 2 w 276"/>
                <a:gd name="T61" fmla="*/ 177 h 251"/>
                <a:gd name="T62" fmla="*/ 0 w 276"/>
                <a:gd name="T63" fmla="*/ 167 h 251"/>
                <a:gd name="T64" fmla="*/ 2 w 276"/>
                <a:gd name="T65" fmla="*/ 157 h 251"/>
                <a:gd name="T66" fmla="*/ 7 w 276"/>
                <a:gd name="T67" fmla="*/ 148 h 251"/>
                <a:gd name="T68" fmla="*/ 13 w 276"/>
                <a:gd name="T69" fmla="*/ 139 h 251"/>
                <a:gd name="T70" fmla="*/ 160 w 276"/>
                <a:gd name="T71" fmla="*/ 84 h 251"/>
                <a:gd name="T72" fmla="*/ 90 w 276"/>
                <a:gd name="T73" fmla="*/ 177 h 251"/>
                <a:gd name="T74" fmla="*/ 86 w 276"/>
                <a:gd name="T75" fmla="*/ 184 h 251"/>
                <a:gd name="T76" fmla="*/ 84 w 276"/>
                <a:gd name="T77" fmla="*/ 191 h 251"/>
                <a:gd name="T78" fmla="*/ 85 w 276"/>
                <a:gd name="T79" fmla="*/ 199 h 251"/>
                <a:gd name="T80" fmla="*/ 89 w 276"/>
                <a:gd name="T81" fmla="*/ 205 h 251"/>
                <a:gd name="T82" fmla="*/ 96 w 276"/>
                <a:gd name="T83" fmla="*/ 208 h 251"/>
                <a:gd name="T84" fmla="*/ 106 w 276"/>
                <a:gd name="T85" fmla="*/ 209 h 251"/>
                <a:gd name="T86" fmla="*/ 168 w 276"/>
                <a:gd name="T87" fmla="*/ 208 h 251"/>
                <a:gd name="T88" fmla="*/ 177 w 276"/>
                <a:gd name="T89" fmla="*/ 207 h 251"/>
                <a:gd name="T90" fmla="*/ 185 w 276"/>
                <a:gd name="T91" fmla="*/ 202 h 251"/>
                <a:gd name="T92" fmla="*/ 190 w 276"/>
                <a:gd name="T93" fmla="*/ 194 h 251"/>
                <a:gd name="T94" fmla="*/ 191 w 276"/>
                <a:gd name="T95" fmla="*/ 185 h 251"/>
                <a:gd name="T96" fmla="*/ 192 w 276"/>
                <a:gd name="T97" fmla="*/ 69 h 251"/>
                <a:gd name="T98" fmla="*/ 191 w 276"/>
                <a:gd name="T99" fmla="*/ 61 h 251"/>
                <a:gd name="T100" fmla="*/ 188 w 276"/>
                <a:gd name="T101" fmla="*/ 53 h 251"/>
                <a:gd name="T102" fmla="*/ 181 w 276"/>
                <a:gd name="T103" fmla="*/ 46 h 251"/>
                <a:gd name="T104" fmla="*/ 172 w 276"/>
                <a:gd name="T105" fmla="*/ 43 h 251"/>
                <a:gd name="T106" fmla="*/ 164 w 276"/>
                <a:gd name="T107" fmla="*/ 42 h 251"/>
                <a:gd name="T108" fmla="*/ 55 w 276"/>
                <a:gd name="T109" fmla="*/ 26 h 251"/>
                <a:gd name="T110" fmla="*/ 56 w 276"/>
                <a:gd name="T111" fmla="*/ 18 h 251"/>
                <a:gd name="T112" fmla="*/ 59 w 276"/>
                <a:gd name="T113" fmla="*/ 11 h 251"/>
                <a:gd name="T114" fmla="*/ 66 w 276"/>
                <a:gd name="T115" fmla="*/ 4 h 251"/>
                <a:gd name="T116" fmla="*/ 74 w 276"/>
                <a:gd name="T117" fmla="*/ 1 h 251"/>
                <a:gd name="T118" fmla="*/ 81 w 276"/>
                <a:gd name="T11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6" h="251">
                  <a:moveTo>
                    <a:pt x="81" y="0"/>
                  </a:moveTo>
                  <a:lnTo>
                    <a:pt x="164" y="0"/>
                  </a:lnTo>
                  <a:lnTo>
                    <a:pt x="171" y="0"/>
                  </a:lnTo>
                  <a:lnTo>
                    <a:pt x="179" y="1"/>
                  </a:lnTo>
                  <a:lnTo>
                    <a:pt x="187" y="1"/>
                  </a:lnTo>
                  <a:lnTo>
                    <a:pt x="195" y="2"/>
                  </a:lnTo>
                  <a:lnTo>
                    <a:pt x="203" y="3"/>
                  </a:lnTo>
                  <a:lnTo>
                    <a:pt x="212" y="5"/>
                  </a:lnTo>
                  <a:lnTo>
                    <a:pt x="220" y="8"/>
                  </a:lnTo>
                  <a:lnTo>
                    <a:pt x="228" y="11"/>
                  </a:lnTo>
                  <a:lnTo>
                    <a:pt x="235" y="15"/>
                  </a:lnTo>
                  <a:lnTo>
                    <a:pt x="243" y="20"/>
                  </a:lnTo>
                  <a:lnTo>
                    <a:pt x="249" y="26"/>
                  </a:lnTo>
                  <a:lnTo>
                    <a:pt x="255" y="33"/>
                  </a:lnTo>
                  <a:lnTo>
                    <a:pt x="260" y="40"/>
                  </a:lnTo>
                  <a:lnTo>
                    <a:pt x="265" y="47"/>
                  </a:lnTo>
                  <a:lnTo>
                    <a:pt x="268" y="55"/>
                  </a:lnTo>
                  <a:lnTo>
                    <a:pt x="270" y="63"/>
                  </a:lnTo>
                  <a:lnTo>
                    <a:pt x="272" y="70"/>
                  </a:lnTo>
                  <a:lnTo>
                    <a:pt x="274" y="77"/>
                  </a:lnTo>
                  <a:lnTo>
                    <a:pt x="275" y="84"/>
                  </a:lnTo>
                  <a:lnTo>
                    <a:pt x="275" y="90"/>
                  </a:lnTo>
                  <a:lnTo>
                    <a:pt x="275" y="96"/>
                  </a:lnTo>
                  <a:lnTo>
                    <a:pt x="276" y="101"/>
                  </a:lnTo>
                  <a:lnTo>
                    <a:pt x="276" y="150"/>
                  </a:lnTo>
                  <a:lnTo>
                    <a:pt x="275" y="155"/>
                  </a:lnTo>
                  <a:lnTo>
                    <a:pt x="275" y="161"/>
                  </a:lnTo>
                  <a:lnTo>
                    <a:pt x="275" y="167"/>
                  </a:lnTo>
                  <a:lnTo>
                    <a:pt x="274" y="174"/>
                  </a:lnTo>
                  <a:lnTo>
                    <a:pt x="272" y="181"/>
                  </a:lnTo>
                  <a:lnTo>
                    <a:pt x="270" y="188"/>
                  </a:lnTo>
                  <a:lnTo>
                    <a:pt x="268" y="196"/>
                  </a:lnTo>
                  <a:lnTo>
                    <a:pt x="265" y="203"/>
                  </a:lnTo>
                  <a:lnTo>
                    <a:pt x="260" y="211"/>
                  </a:lnTo>
                  <a:lnTo>
                    <a:pt x="255" y="218"/>
                  </a:lnTo>
                  <a:lnTo>
                    <a:pt x="249" y="225"/>
                  </a:lnTo>
                  <a:lnTo>
                    <a:pt x="243" y="230"/>
                  </a:lnTo>
                  <a:lnTo>
                    <a:pt x="235" y="235"/>
                  </a:lnTo>
                  <a:lnTo>
                    <a:pt x="228" y="240"/>
                  </a:lnTo>
                  <a:lnTo>
                    <a:pt x="220" y="243"/>
                  </a:lnTo>
                  <a:lnTo>
                    <a:pt x="212" y="245"/>
                  </a:lnTo>
                  <a:lnTo>
                    <a:pt x="203" y="247"/>
                  </a:lnTo>
                  <a:lnTo>
                    <a:pt x="195" y="249"/>
                  </a:lnTo>
                  <a:lnTo>
                    <a:pt x="187" y="250"/>
                  </a:lnTo>
                  <a:lnTo>
                    <a:pt x="179" y="250"/>
                  </a:lnTo>
                  <a:lnTo>
                    <a:pt x="171" y="250"/>
                  </a:lnTo>
                  <a:lnTo>
                    <a:pt x="164" y="251"/>
                  </a:lnTo>
                  <a:lnTo>
                    <a:pt x="101" y="251"/>
                  </a:lnTo>
                  <a:lnTo>
                    <a:pt x="91" y="250"/>
                  </a:lnTo>
                  <a:lnTo>
                    <a:pt x="82" y="250"/>
                  </a:lnTo>
                  <a:lnTo>
                    <a:pt x="74" y="249"/>
                  </a:lnTo>
                  <a:lnTo>
                    <a:pt x="66" y="246"/>
                  </a:lnTo>
                  <a:lnTo>
                    <a:pt x="59" y="244"/>
                  </a:lnTo>
                  <a:lnTo>
                    <a:pt x="52" y="240"/>
                  </a:lnTo>
                  <a:lnTo>
                    <a:pt x="46" y="235"/>
                  </a:lnTo>
                  <a:lnTo>
                    <a:pt x="40" y="229"/>
                  </a:lnTo>
                  <a:lnTo>
                    <a:pt x="34" y="222"/>
                  </a:lnTo>
                  <a:lnTo>
                    <a:pt x="13" y="195"/>
                  </a:lnTo>
                  <a:lnTo>
                    <a:pt x="10" y="190"/>
                  </a:lnTo>
                  <a:lnTo>
                    <a:pt x="6" y="186"/>
                  </a:lnTo>
                  <a:lnTo>
                    <a:pt x="4" y="181"/>
                  </a:lnTo>
                  <a:lnTo>
                    <a:pt x="2" y="177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0" y="162"/>
                  </a:lnTo>
                  <a:lnTo>
                    <a:pt x="2" y="157"/>
                  </a:lnTo>
                  <a:lnTo>
                    <a:pt x="4" y="153"/>
                  </a:lnTo>
                  <a:lnTo>
                    <a:pt x="7" y="148"/>
                  </a:lnTo>
                  <a:lnTo>
                    <a:pt x="10" y="144"/>
                  </a:lnTo>
                  <a:lnTo>
                    <a:pt x="13" y="139"/>
                  </a:lnTo>
                  <a:lnTo>
                    <a:pt x="55" y="84"/>
                  </a:lnTo>
                  <a:lnTo>
                    <a:pt x="160" y="84"/>
                  </a:lnTo>
                  <a:lnTo>
                    <a:pt x="92" y="174"/>
                  </a:lnTo>
                  <a:lnTo>
                    <a:pt x="90" y="177"/>
                  </a:lnTo>
                  <a:lnTo>
                    <a:pt x="87" y="180"/>
                  </a:lnTo>
                  <a:lnTo>
                    <a:pt x="86" y="184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4" y="195"/>
                  </a:lnTo>
                  <a:lnTo>
                    <a:pt x="85" y="199"/>
                  </a:lnTo>
                  <a:lnTo>
                    <a:pt x="87" y="203"/>
                  </a:lnTo>
                  <a:lnTo>
                    <a:pt x="89" y="205"/>
                  </a:lnTo>
                  <a:lnTo>
                    <a:pt x="92" y="206"/>
                  </a:lnTo>
                  <a:lnTo>
                    <a:pt x="96" y="208"/>
                  </a:lnTo>
                  <a:lnTo>
                    <a:pt x="99" y="208"/>
                  </a:lnTo>
                  <a:lnTo>
                    <a:pt x="106" y="209"/>
                  </a:lnTo>
                  <a:lnTo>
                    <a:pt x="164" y="209"/>
                  </a:lnTo>
                  <a:lnTo>
                    <a:pt x="168" y="208"/>
                  </a:lnTo>
                  <a:lnTo>
                    <a:pt x="172" y="208"/>
                  </a:lnTo>
                  <a:lnTo>
                    <a:pt x="177" y="207"/>
                  </a:lnTo>
                  <a:lnTo>
                    <a:pt x="181" y="205"/>
                  </a:lnTo>
                  <a:lnTo>
                    <a:pt x="185" y="202"/>
                  </a:lnTo>
                  <a:lnTo>
                    <a:pt x="188" y="198"/>
                  </a:lnTo>
                  <a:lnTo>
                    <a:pt x="190" y="194"/>
                  </a:lnTo>
                  <a:lnTo>
                    <a:pt x="191" y="190"/>
                  </a:lnTo>
                  <a:lnTo>
                    <a:pt x="191" y="185"/>
                  </a:lnTo>
                  <a:lnTo>
                    <a:pt x="192" y="181"/>
                  </a:lnTo>
                  <a:lnTo>
                    <a:pt x="192" y="69"/>
                  </a:lnTo>
                  <a:lnTo>
                    <a:pt x="191" y="65"/>
                  </a:lnTo>
                  <a:lnTo>
                    <a:pt x="191" y="61"/>
                  </a:lnTo>
                  <a:lnTo>
                    <a:pt x="190" y="57"/>
                  </a:lnTo>
                  <a:lnTo>
                    <a:pt x="188" y="53"/>
                  </a:lnTo>
                  <a:lnTo>
                    <a:pt x="185" y="49"/>
                  </a:lnTo>
                  <a:lnTo>
                    <a:pt x="181" y="46"/>
                  </a:lnTo>
                  <a:lnTo>
                    <a:pt x="177" y="44"/>
                  </a:lnTo>
                  <a:lnTo>
                    <a:pt x="172" y="43"/>
                  </a:lnTo>
                  <a:lnTo>
                    <a:pt x="168" y="42"/>
                  </a:lnTo>
                  <a:lnTo>
                    <a:pt x="164" y="42"/>
                  </a:lnTo>
                  <a:lnTo>
                    <a:pt x="55" y="42"/>
                  </a:lnTo>
                  <a:lnTo>
                    <a:pt x="55" y="26"/>
                  </a:lnTo>
                  <a:lnTo>
                    <a:pt x="55" y="22"/>
                  </a:lnTo>
                  <a:lnTo>
                    <a:pt x="56" y="18"/>
                  </a:lnTo>
                  <a:lnTo>
                    <a:pt x="57" y="15"/>
                  </a:lnTo>
                  <a:lnTo>
                    <a:pt x="59" y="11"/>
                  </a:lnTo>
                  <a:lnTo>
                    <a:pt x="62" y="7"/>
                  </a:lnTo>
                  <a:lnTo>
                    <a:pt x="66" y="4"/>
                  </a:lnTo>
                  <a:lnTo>
                    <a:pt x="70" y="2"/>
                  </a:lnTo>
                  <a:lnTo>
                    <a:pt x="74" y="1"/>
                  </a:lnTo>
                  <a:lnTo>
                    <a:pt x="78" y="0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6851550" y="5535910"/>
              <a:ext cx="366712" cy="265113"/>
            </a:xfrm>
            <a:custGeom>
              <a:avLst/>
              <a:gdLst>
                <a:gd name="T0" fmla="*/ 126 w 231"/>
                <a:gd name="T1" fmla="*/ 0 h 167"/>
                <a:gd name="T2" fmla="*/ 231 w 231"/>
                <a:gd name="T3" fmla="*/ 0 h 167"/>
                <a:gd name="T4" fmla="*/ 105 w 231"/>
                <a:gd name="T5" fmla="*/ 167 h 167"/>
                <a:gd name="T6" fmla="*/ 0 w 231"/>
                <a:gd name="T7" fmla="*/ 167 h 167"/>
                <a:gd name="T8" fmla="*/ 126 w 231"/>
                <a:gd name="T9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167">
                  <a:moveTo>
                    <a:pt x="126" y="0"/>
                  </a:moveTo>
                  <a:lnTo>
                    <a:pt x="231" y="0"/>
                  </a:lnTo>
                  <a:lnTo>
                    <a:pt x="105" y="167"/>
                  </a:lnTo>
                  <a:lnTo>
                    <a:pt x="0" y="167"/>
                  </a:lnTo>
                  <a:lnTo>
                    <a:pt x="1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6402288" y="5535910"/>
              <a:ext cx="504825" cy="396875"/>
            </a:xfrm>
            <a:custGeom>
              <a:avLst/>
              <a:gdLst>
                <a:gd name="T0" fmla="*/ 26 w 318"/>
                <a:gd name="T1" fmla="*/ 0 h 250"/>
                <a:gd name="T2" fmla="*/ 216 w 318"/>
                <a:gd name="T3" fmla="*/ 0 h 250"/>
                <a:gd name="T4" fmla="*/ 226 w 318"/>
                <a:gd name="T5" fmla="*/ 0 h 250"/>
                <a:gd name="T6" fmla="*/ 235 w 318"/>
                <a:gd name="T7" fmla="*/ 1 h 250"/>
                <a:gd name="T8" fmla="*/ 244 w 318"/>
                <a:gd name="T9" fmla="*/ 2 h 250"/>
                <a:gd name="T10" fmla="*/ 252 w 318"/>
                <a:gd name="T11" fmla="*/ 4 h 250"/>
                <a:gd name="T12" fmla="*/ 259 w 318"/>
                <a:gd name="T13" fmla="*/ 6 h 250"/>
                <a:gd name="T14" fmla="*/ 266 w 318"/>
                <a:gd name="T15" fmla="*/ 11 h 250"/>
                <a:gd name="T16" fmla="*/ 272 w 318"/>
                <a:gd name="T17" fmla="*/ 16 h 250"/>
                <a:gd name="T18" fmla="*/ 278 w 318"/>
                <a:gd name="T19" fmla="*/ 21 h 250"/>
                <a:gd name="T20" fmla="*/ 283 w 318"/>
                <a:gd name="T21" fmla="*/ 28 h 250"/>
                <a:gd name="T22" fmla="*/ 305 w 318"/>
                <a:gd name="T23" fmla="*/ 55 h 250"/>
                <a:gd name="T24" fmla="*/ 308 w 318"/>
                <a:gd name="T25" fmla="*/ 60 h 250"/>
                <a:gd name="T26" fmla="*/ 311 w 318"/>
                <a:gd name="T27" fmla="*/ 65 h 250"/>
                <a:gd name="T28" fmla="*/ 314 w 318"/>
                <a:gd name="T29" fmla="*/ 69 h 250"/>
                <a:gd name="T30" fmla="*/ 316 w 318"/>
                <a:gd name="T31" fmla="*/ 73 h 250"/>
                <a:gd name="T32" fmla="*/ 317 w 318"/>
                <a:gd name="T33" fmla="*/ 78 h 250"/>
                <a:gd name="T34" fmla="*/ 318 w 318"/>
                <a:gd name="T35" fmla="*/ 83 h 250"/>
                <a:gd name="T36" fmla="*/ 317 w 318"/>
                <a:gd name="T37" fmla="*/ 88 h 250"/>
                <a:gd name="T38" fmla="*/ 316 w 318"/>
                <a:gd name="T39" fmla="*/ 93 h 250"/>
                <a:gd name="T40" fmla="*/ 314 w 318"/>
                <a:gd name="T41" fmla="*/ 97 h 250"/>
                <a:gd name="T42" fmla="*/ 311 w 318"/>
                <a:gd name="T43" fmla="*/ 102 h 250"/>
                <a:gd name="T44" fmla="*/ 308 w 318"/>
                <a:gd name="T45" fmla="*/ 106 h 250"/>
                <a:gd name="T46" fmla="*/ 305 w 318"/>
                <a:gd name="T47" fmla="*/ 111 h 250"/>
                <a:gd name="T48" fmla="*/ 262 w 318"/>
                <a:gd name="T49" fmla="*/ 167 h 250"/>
                <a:gd name="T50" fmla="*/ 157 w 318"/>
                <a:gd name="T51" fmla="*/ 167 h 250"/>
                <a:gd name="T52" fmla="*/ 226 w 318"/>
                <a:gd name="T53" fmla="*/ 76 h 250"/>
                <a:gd name="T54" fmla="*/ 228 w 318"/>
                <a:gd name="T55" fmla="*/ 73 h 250"/>
                <a:gd name="T56" fmla="*/ 230 w 318"/>
                <a:gd name="T57" fmla="*/ 70 h 250"/>
                <a:gd name="T58" fmla="*/ 232 w 318"/>
                <a:gd name="T59" fmla="*/ 66 h 250"/>
                <a:gd name="T60" fmla="*/ 233 w 318"/>
                <a:gd name="T61" fmla="*/ 63 h 250"/>
                <a:gd name="T62" fmla="*/ 234 w 318"/>
                <a:gd name="T63" fmla="*/ 59 h 250"/>
                <a:gd name="T64" fmla="*/ 234 w 318"/>
                <a:gd name="T65" fmla="*/ 55 h 250"/>
                <a:gd name="T66" fmla="*/ 233 w 318"/>
                <a:gd name="T67" fmla="*/ 51 h 250"/>
                <a:gd name="T68" fmla="*/ 231 w 318"/>
                <a:gd name="T69" fmla="*/ 48 h 250"/>
                <a:gd name="T70" fmla="*/ 228 w 318"/>
                <a:gd name="T71" fmla="*/ 45 h 250"/>
                <a:gd name="T72" fmla="*/ 225 w 318"/>
                <a:gd name="T73" fmla="*/ 44 h 250"/>
                <a:gd name="T74" fmla="*/ 222 w 318"/>
                <a:gd name="T75" fmla="*/ 43 h 250"/>
                <a:gd name="T76" fmla="*/ 219 w 318"/>
                <a:gd name="T77" fmla="*/ 42 h 250"/>
                <a:gd name="T78" fmla="*/ 215 w 318"/>
                <a:gd name="T79" fmla="*/ 42 h 250"/>
                <a:gd name="T80" fmla="*/ 212 w 318"/>
                <a:gd name="T81" fmla="*/ 42 h 250"/>
                <a:gd name="T82" fmla="*/ 126 w 318"/>
                <a:gd name="T83" fmla="*/ 42 h 250"/>
                <a:gd name="T84" fmla="*/ 126 w 318"/>
                <a:gd name="T85" fmla="*/ 250 h 250"/>
                <a:gd name="T86" fmla="*/ 42 w 318"/>
                <a:gd name="T87" fmla="*/ 250 h 250"/>
                <a:gd name="T88" fmla="*/ 42 w 318"/>
                <a:gd name="T89" fmla="*/ 42 h 250"/>
                <a:gd name="T90" fmla="*/ 0 w 318"/>
                <a:gd name="T91" fmla="*/ 42 h 250"/>
                <a:gd name="T92" fmla="*/ 0 w 318"/>
                <a:gd name="T93" fmla="*/ 25 h 250"/>
                <a:gd name="T94" fmla="*/ 0 w 318"/>
                <a:gd name="T95" fmla="*/ 22 h 250"/>
                <a:gd name="T96" fmla="*/ 1 w 318"/>
                <a:gd name="T97" fmla="*/ 18 h 250"/>
                <a:gd name="T98" fmla="*/ 2 w 318"/>
                <a:gd name="T99" fmla="*/ 14 h 250"/>
                <a:gd name="T100" fmla="*/ 4 w 318"/>
                <a:gd name="T101" fmla="*/ 10 h 250"/>
                <a:gd name="T102" fmla="*/ 7 w 318"/>
                <a:gd name="T103" fmla="*/ 6 h 250"/>
                <a:gd name="T104" fmla="*/ 11 w 318"/>
                <a:gd name="T105" fmla="*/ 4 h 250"/>
                <a:gd name="T106" fmla="*/ 15 w 318"/>
                <a:gd name="T107" fmla="*/ 2 h 250"/>
                <a:gd name="T108" fmla="*/ 18 w 318"/>
                <a:gd name="T109" fmla="*/ 1 h 250"/>
                <a:gd name="T110" fmla="*/ 22 w 318"/>
                <a:gd name="T111" fmla="*/ 0 h 250"/>
                <a:gd name="T112" fmla="*/ 26 w 318"/>
                <a:gd name="T1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8" h="250">
                  <a:moveTo>
                    <a:pt x="26" y="0"/>
                  </a:moveTo>
                  <a:lnTo>
                    <a:pt x="216" y="0"/>
                  </a:lnTo>
                  <a:lnTo>
                    <a:pt x="226" y="0"/>
                  </a:lnTo>
                  <a:lnTo>
                    <a:pt x="235" y="1"/>
                  </a:lnTo>
                  <a:lnTo>
                    <a:pt x="244" y="2"/>
                  </a:lnTo>
                  <a:lnTo>
                    <a:pt x="252" y="4"/>
                  </a:lnTo>
                  <a:lnTo>
                    <a:pt x="259" y="6"/>
                  </a:lnTo>
                  <a:lnTo>
                    <a:pt x="266" y="11"/>
                  </a:lnTo>
                  <a:lnTo>
                    <a:pt x="272" y="16"/>
                  </a:lnTo>
                  <a:lnTo>
                    <a:pt x="278" y="21"/>
                  </a:lnTo>
                  <a:lnTo>
                    <a:pt x="283" y="28"/>
                  </a:lnTo>
                  <a:lnTo>
                    <a:pt x="305" y="55"/>
                  </a:lnTo>
                  <a:lnTo>
                    <a:pt x="308" y="60"/>
                  </a:lnTo>
                  <a:lnTo>
                    <a:pt x="311" y="65"/>
                  </a:lnTo>
                  <a:lnTo>
                    <a:pt x="314" y="69"/>
                  </a:lnTo>
                  <a:lnTo>
                    <a:pt x="316" y="73"/>
                  </a:lnTo>
                  <a:lnTo>
                    <a:pt x="317" y="78"/>
                  </a:lnTo>
                  <a:lnTo>
                    <a:pt x="318" y="83"/>
                  </a:lnTo>
                  <a:lnTo>
                    <a:pt x="317" y="88"/>
                  </a:lnTo>
                  <a:lnTo>
                    <a:pt x="316" y="93"/>
                  </a:lnTo>
                  <a:lnTo>
                    <a:pt x="314" y="97"/>
                  </a:lnTo>
                  <a:lnTo>
                    <a:pt x="311" y="102"/>
                  </a:lnTo>
                  <a:lnTo>
                    <a:pt x="308" y="106"/>
                  </a:lnTo>
                  <a:lnTo>
                    <a:pt x="305" y="111"/>
                  </a:lnTo>
                  <a:lnTo>
                    <a:pt x="262" y="167"/>
                  </a:lnTo>
                  <a:lnTo>
                    <a:pt x="157" y="167"/>
                  </a:lnTo>
                  <a:lnTo>
                    <a:pt x="226" y="76"/>
                  </a:lnTo>
                  <a:lnTo>
                    <a:pt x="228" y="73"/>
                  </a:lnTo>
                  <a:lnTo>
                    <a:pt x="230" y="70"/>
                  </a:lnTo>
                  <a:lnTo>
                    <a:pt x="232" y="66"/>
                  </a:lnTo>
                  <a:lnTo>
                    <a:pt x="233" y="63"/>
                  </a:lnTo>
                  <a:lnTo>
                    <a:pt x="234" y="59"/>
                  </a:lnTo>
                  <a:lnTo>
                    <a:pt x="234" y="55"/>
                  </a:lnTo>
                  <a:lnTo>
                    <a:pt x="233" y="51"/>
                  </a:lnTo>
                  <a:lnTo>
                    <a:pt x="231" y="48"/>
                  </a:lnTo>
                  <a:lnTo>
                    <a:pt x="228" y="45"/>
                  </a:lnTo>
                  <a:lnTo>
                    <a:pt x="225" y="44"/>
                  </a:lnTo>
                  <a:lnTo>
                    <a:pt x="222" y="43"/>
                  </a:lnTo>
                  <a:lnTo>
                    <a:pt x="219" y="42"/>
                  </a:lnTo>
                  <a:lnTo>
                    <a:pt x="215" y="42"/>
                  </a:lnTo>
                  <a:lnTo>
                    <a:pt x="212" y="42"/>
                  </a:lnTo>
                  <a:lnTo>
                    <a:pt x="126" y="42"/>
                  </a:lnTo>
                  <a:lnTo>
                    <a:pt x="126" y="250"/>
                  </a:lnTo>
                  <a:lnTo>
                    <a:pt x="42" y="250"/>
                  </a:lnTo>
                  <a:lnTo>
                    <a:pt x="42" y="42"/>
                  </a:lnTo>
                  <a:lnTo>
                    <a:pt x="0" y="42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8" y="1"/>
                  </a:lnTo>
                  <a:lnTo>
                    <a:pt x="22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182691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5" r:id="rId1"/>
    <p:sldLayoutId id="2147484286" r:id="rId2"/>
    <p:sldLayoutId id="2147484287" r:id="rId3"/>
    <p:sldLayoutId id="2147484288" r:id="rId4"/>
    <p:sldLayoutId id="2147484289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668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91336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37004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8267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341313" indent="-3413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1363" indent="-28416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1413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597025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4225" indent="-2270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174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2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102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781" indent="-228340" algn="l" defTabSz="9133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8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6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4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21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03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80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762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444" algn="l" defTabSz="9133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8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4" Type="http://schemas.openxmlformats.org/officeDocument/2006/relationships/tags" Target="../tags/tag185.xml"/><Relationship Id="rId9" Type="http://schemas.openxmlformats.org/officeDocument/2006/relationships/oleObject" Target="../embeddings/_____Microsoft_Office_Excel_97-20034.xls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0.xml"/><Relationship Id="rId117" Type="http://schemas.openxmlformats.org/officeDocument/2006/relationships/tags" Target="../tags/tag121.xml"/><Relationship Id="rId21" Type="http://schemas.openxmlformats.org/officeDocument/2006/relationships/tags" Target="../tags/tag25.xml"/><Relationship Id="rId42" Type="http://schemas.openxmlformats.org/officeDocument/2006/relationships/tags" Target="../tags/tag46.xml"/><Relationship Id="rId47" Type="http://schemas.openxmlformats.org/officeDocument/2006/relationships/tags" Target="../tags/tag51.xml"/><Relationship Id="rId63" Type="http://schemas.openxmlformats.org/officeDocument/2006/relationships/tags" Target="../tags/tag67.xml"/><Relationship Id="rId68" Type="http://schemas.openxmlformats.org/officeDocument/2006/relationships/tags" Target="../tags/tag72.xml"/><Relationship Id="rId84" Type="http://schemas.openxmlformats.org/officeDocument/2006/relationships/tags" Target="../tags/tag88.xml"/><Relationship Id="rId89" Type="http://schemas.openxmlformats.org/officeDocument/2006/relationships/tags" Target="../tags/tag93.xml"/><Relationship Id="rId112" Type="http://schemas.openxmlformats.org/officeDocument/2006/relationships/tags" Target="../tags/tag116.xml"/><Relationship Id="rId133" Type="http://schemas.openxmlformats.org/officeDocument/2006/relationships/tags" Target="../tags/tag137.xml"/><Relationship Id="rId16" Type="http://schemas.openxmlformats.org/officeDocument/2006/relationships/tags" Target="../tags/tag20.xml"/><Relationship Id="rId107" Type="http://schemas.openxmlformats.org/officeDocument/2006/relationships/tags" Target="../tags/tag111.xml"/><Relationship Id="rId11" Type="http://schemas.openxmlformats.org/officeDocument/2006/relationships/tags" Target="../tags/tag15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53" Type="http://schemas.openxmlformats.org/officeDocument/2006/relationships/tags" Target="../tags/tag57.xml"/><Relationship Id="rId58" Type="http://schemas.openxmlformats.org/officeDocument/2006/relationships/tags" Target="../tags/tag62.xml"/><Relationship Id="rId74" Type="http://schemas.openxmlformats.org/officeDocument/2006/relationships/tags" Target="../tags/tag78.xml"/><Relationship Id="rId79" Type="http://schemas.openxmlformats.org/officeDocument/2006/relationships/tags" Target="../tags/tag83.xml"/><Relationship Id="rId102" Type="http://schemas.openxmlformats.org/officeDocument/2006/relationships/tags" Target="../tags/tag106.xml"/><Relationship Id="rId123" Type="http://schemas.openxmlformats.org/officeDocument/2006/relationships/tags" Target="../tags/tag127.xml"/><Relationship Id="rId128" Type="http://schemas.openxmlformats.org/officeDocument/2006/relationships/tags" Target="../tags/tag132.xml"/><Relationship Id="rId5" Type="http://schemas.openxmlformats.org/officeDocument/2006/relationships/tags" Target="../tags/tag9.xml"/><Relationship Id="rId90" Type="http://schemas.openxmlformats.org/officeDocument/2006/relationships/tags" Target="../tags/tag94.xml"/><Relationship Id="rId95" Type="http://schemas.openxmlformats.org/officeDocument/2006/relationships/tags" Target="../tags/tag99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tags" Target="../tags/tag52.xml"/><Relationship Id="rId56" Type="http://schemas.openxmlformats.org/officeDocument/2006/relationships/tags" Target="../tags/tag60.xml"/><Relationship Id="rId64" Type="http://schemas.openxmlformats.org/officeDocument/2006/relationships/tags" Target="../tags/tag68.xml"/><Relationship Id="rId69" Type="http://schemas.openxmlformats.org/officeDocument/2006/relationships/tags" Target="../tags/tag73.xml"/><Relationship Id="rId77" Type="http://schemas.openxmlformats.org/officeDocument/2006/relationships/tags" Target="../tags/tag81.xml"/><Relationship Id="rId100" Type="http://schemas.openxmlformats.org/officeDocument/2006/relationships/tags" Target="../tags/tag104.xml"/><Relationship Id="rId105" Type="http://schemas.openxmlformats.org/officeDocument/2006/relationships/tags" Target="../tags/tag109.xml"/><Relationship Id="rId113" Type="http://schemas.openxmlformats.org/officeDocument/2006/relationships/tags" Target="../tags/tag117.xml"/><Relationship Id="rId118" Type="http://schemas.openxmlformats.org/officeDocument/2006/relationships/tags" Target="../tags/tag122.xml"/><Relationship Id="rId126" Type="http://schemas.openxmlformats.org/officeDocument/2006/relationships/tags" Target="../tags/tag130.xml"/><Relationship Id="rId134" Type="http://schemas.openxmlformats.org/officeDocument/2006/relationships/slideLayout" Target="../slideLayouts/slideLayout5.xml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72" Type="http://schemas.openxmlformats.org/officeDocument/2006/relationships/tags" Target="../tags/tag76.xml"/><Relationship Id="rId80" Type="http://schemas.openxmlformats.org/officeDocument/2006/relationships/tags" Target="../tags/tag84.xml"/><Relationship Id="rId85" Type="http://schemas.openxmlformats.org/officeDocument/2006/relationships/tags" Target="../tags/tag89.xml"/><Relationship Id="rId93" Type="http://schemas.openxmlformats.org/officeDocument/2006/relationships/tags" Target="../tags/tag97.xml"/><Relationship Id="rId98" Type="http://schemas.openxmlformats.org/officeDocument/2006/relationships/tags" Target="../tags/tag102.xml"/><Relationship Id="rId121" Type="http://schemas.openxmlformats.org/officeDocument/2006/relationships/tags" Target="../tags/tag125.xml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tags" Target="../tags/tag50.xml"/><Relationship Id="rId59" Type="http://schemas.openxmlformats.org/officeDocument/2006/relationships/tags" Target="../tags/tag63.xml"/><Relationship Id="rId67" Type="http://schemas.openxmlformats.org/officeDocument/2006/relationships/tags" Target="../tags/tag71.xml"/><Relationship Id="rId103" Type="http://schemas.openxmlformats.org/officeDocument/2006/relationships/tags" Target="../tags/tag107.xml"/><Relationship Id="rId108" Type="http://schemas.openxmlformats.org/officeDocument/2006/relationships/tags" Target="../tags/tag112.xml"/><Relationship Id="rId116" Type="http://schemas.openxmlformats.org/officeDocument/2006/relationships/tags" Target="../tags/tag120.xml"/><Relationship Id="rId124" Type="http://schemas.openxmlformats.org/officeDocument/2006/relationships/tags" Target="../tags/tag128.xml"/><Relationship Id="rId129" Type="http://schemas.openxmlformats.org/officeDocument/2006/relationships/tags" Target="../tags/tag133.xml"/><Relationship Id="rId20" Type="http://schemas.openxmlformats.org/officeDocument/2006/relationships/tags" Target="../tags/tag24.xml"/><Relationship Id="rId41" Type="http://schemas.openxmlformats.org/officeDocument/2006/relationships/tags" Target="../tags/tag45.xml"/><Relationship Id="rId54" Type="http://schemas.openxmlformats.org/officeDocument/2006/relationships/tags" Target="../tags/tag58.xml"/><Relationship Id="rId62" Type="http://schemas.openxmlformats.org/officeDocument/2006/relationships/tags" Target="../tags/tag66.xml"/><Relationship Id="rId70" Type="http://schemas.openxmlformats.org/officeDocument/2006/relationships/tags" Target="../tags/tag74.xml"/><Relationship Id="rId75" Type="http://schemas.openxmlformats.org/officeDocument/2006/relationships/tags" Target="../tags/tag79.xml"/><Relationship Id="rId83" Type="http://schemas.openxmlformats.org/officeDocument/2006/relationships/tags" Target="../tags/tag87.xml"/><Relationship Id="rId88" Type="http://schemas.openxmlformats.org/officeDocument/2006/relationships/tags" Target="../tags/tag92.xml"/><Relationship Id="rId91" Type="http://schemas.openxmlformats.org/officeDocument/2006/relationships/tags" Target="../tags/tag95.xml"/><Relationship Id="rId96" Type="http://schemas.openxmlformats.org/officeDocument/2006/relationships/tags" Target="../tags/tag100.xml"/><Relationship Id="rId111" Type="http://schemas.openxmlformats.org/officeDocument/2006/relationships/tags" Target="../tags/tag115.xml"/><Relationship Id="rId132" Type="http://schemas.openxmlformats.org/officeDocument/2006/relationships/tags" Target="../tags/tag13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tags" Target="../tags/tag53.xml"/><Relationship Id="rId57" Type="http://schemas.openxmlformats.org/officeDocument/2006/relationships/tags" Target="../tags/tag61.xml"/><Relationship Id="rId106" Type="http://schemas.openxmlformats.org/officeDocument/2006/relationships/tags" Target="../tags/tag110.xml"/><Relationship Id="rId114" Type="http://schemas.openxmlformats.org/officeDocument/2006/relationships/tags" Target="../tags/tag118.xml"/><Relationship Id="rId119" Type="http://schemas.openxmlformats.org/officeDocument/2006/relationships/tags" Target="../tags/tag123.xml"/><Relationship Id="rId127" Type="http://schemas.openxmlformats.org/officeDocument/2006/relationships/tags" Target="../tags/tag131.xml"/><Relationship Id="rId10" Type="http://schemas.openxmlformats.org/officeDocument/2006/relationships/tags" Target="../tags/tag14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52" Type="http://schemas.openxmlformats.org/officeDocument/2006/relationships/tags" Target="../tags/tag56.xml"/><Relationship Id="rId60" Type="http://schemas.openxmlformats.org/officeDocument/2006/relationships/tags" Target="../tags/tag64.xml"/><Relationship Id="rId65" Type="http://schemas.openxmlformats.org/officeDocument/2006/relationships/tags" Target="../tags/tag69.xml"/><Relationship Id="rId73" Type="http://schemas.openxmlformats.org/officeDocument/2006/relationships/tags" Target="../tags/tag77.xml"/><Relationship Id="rId78" Type="http://schemas.openxmlformats.org/officeDocument/2006/relationships/tags" Target="../tags/tag82.xml"/><Relationship Id="rId81" Type="http://schemas.openxmlformats.org/officeDocument/2006/relationships/tags" Target="../tags/tag85.xml"/><Relationship Id="rId86" Type="http://schemas.openxmlformats.org/officeDocument/2006/relationships/tags" Target="../tags/tag90.xml"/><Relationship Id="rId94" Type="http://schemas.openxmlformats.org/officeDocument/2006/relationships/tags" Target="../tags/tag98.xml"/><Relationship Id="rId99" Type="http://schemas.openxmlformats.org/officeDocument/2006/relationships/tags" Target="../tags/tag103.xml"/><Relationship Id="rId101" Type="http://schemas.openxmlformats.org/officeDocument/2006/relationships/tags" Target="../tags/tag105.xml"/><Relationship Id="rId122" Type="http://schemas.openxmlformats.org/officeDocument/2006/relationships/tags" Target="../tags/tag126.xml"/><Relationship Id="rId130" Type="http://schemas.openxmlformats.org/officeDocument/2006/relationships/tags" Target="../tags/tag13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39" Type="http://schemas.openxmlformats.org/officeDocument/2006/relationships/tags" Target="../tags/tag43.xml"/><Relationship Id="rId109" Type="http://schemas.openxmlformats.org/officeDocument/2006/relationships/tags" Target="../tags/tag113.xml"/><Relationship Id="rId34" Type="http://schemas.openxmlformats.org/officeDocument/2006/relationships/tags" Target="../tags/tag38.xml"/><Relationship Id="rId50" Type="http://schemas.openxmlformats.org/officeDocument/2006/relationships/tags" Target="../tags/tag54.xml"/><Relationship Id="rId55" Type="http://schemas.openxmlformats.org/officeDocument/2006/relationships/tags" Target="../tags/tag59.xml"/><Relationship Id="rId76" Type="http://schemas.openxmlformats.org/officeDocument/2006/relationships/tags" Target="../tags/tag80.xml"/><Relationship Id="rId97" Type="http://schemas.openxmlformats.org/officeDocument/2006/relationships/tags" Target="../tags/tag101.xml"/><Relationship Id="rId104" Type="http://schemas.openxmlformats.org/officeDocument/2006/relationships/tags" Target="../tags/tag108.xml"/><Relationship Id="rId120" Type="http://schemas.openxmlformats.org/officeDocument/2006/relationships/tags" Target="../tags/tag124.xml"/><Relationship Id="rId125" Type="http://schemas.openxmlformats.org/officeDocument/2006/relationships/tags" Target="../tags/tag129.xml"/><Relationship Id="rId7" Type="http://schemas.openxmlformats.org/officeDocument/2006/relationships/tags" Target="../tags/tag11.xml"/><Relationship Id="rId71" Type="http://schemas.openxmlformats.org/officeDocument/2006/relationships/tags" Target="../tags/tag75.xml"/><Relationship Id="rId92" Type="http://schemas.openxmlformats.org/officeDocument/2006/relationships/tags" Target="../tags/tag96.xml"/><Relationship Id="rId2" Type="http://schemas.openxmlformats.org/officeDocument/2006/relationships/tags" Target="../tags/tag6.xml"/><Relationship Id="rId29" Type="http://schemas.openxmlformats.org/officeDocument/2006/relationships/tags" Target="../tags/tag33.xml"/><Relationship Id="rId24" Type="http://schemas.openxmlformats.org/officeDocument/2006/relationships/tags" Target="../tags/tag28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66" Type="http://schemas.openxmlformats.org/officeDocument/2006/relationships/tags" Target="../tags/tag70.xml"/><Relationship Id="rId87" Type="http://schemas.openxmlformats.org/officeDocument/2006/relationships/tags" Target="../tags/tag91.xml"/><Relationship Id="rId110" Type="http://schemas.openxmlformats.org/officeDocument/2006/relationships/tags" Target="../tags/tag114.xml"/><Relationship Id="rId115" Type="http://schemas.openxmlformats.org/officeDocument/2006/relationships/tags" Target="../tags/tag119.xml"/><Relationship Id="rId131" Type="http://schemas.openxmlformats.org/officeDocument/2006/relationships/tags" Target="../tags/tag135.xml"/><Relationship Id="rId61" Type="http://schemas.openxmlformats.org/officeDocument/2006/relationships/tags" Target="../tags/tag65.xml"/><Relationship Id="rId82" Type="http://schemas.openxmlformats.org/officeDocument/2006/relationships/tags" Target="../tags/tag86.xml"/><Relationship Id="rId19" Type="http://schemas.openxmlformats.org/officeDocument/2006/relationships/tags" Target="../tags/tag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tags" Target="../tags/tag149.xml"/><Relationship Id="rId18" Type="http://schemas.openxmlformats.org/officeDocument/2006/relationships/tags" Target="../tags/tag154.xml"/><Relationship Id="rId26" Type="http://schemas.openxmlformats.org/officeDocument/2006/relationships/tags" Target="../tags/tag162.xml"/><Relationship Id="rId3" Type="http://schemas.openxmlformats.org/officeDocument/2006/relationships/tags" Target="../tags/tag139.xml"/><Relationship Id="rId21" Type="http://schemas.openxmlformats.org/officeDocument/2006/relationships/tags" Target="../tags/tag157.xml"/><Relationship Id="rId34" Type="http://schemas.openxmlformats.org/officeDocument/2006/relationships/chart" Target="../charts/chart1.xml"/><Relationship Id="rId7" Type="http://schemas.openxmlformats.org/officeDocument/2006/relationships/tags" Target="../tags/tag143.xml"/><Relationship Id="rId12" Type="http://schemas.openxmlformats.org/officeDocument/2006/relationships/tags" Target="../tags/tag148.xml"/><Relationship Id="rId17" Type="http://schemas.openxmlformats.org/officeDocument/2006/relationships/tags" Target="../tags/tag153.xml"/><Relationship Id="rId25" Type="http://schemas.openxmlformats.org/officeDocument/2006/relationships/tags" Target="../tags/tag161.xml"/><Relationship Id="rId33" Type="http://schemas.openxmlformats.org/officeDocument/2006/relationships/oleObject" Target="../embeddings/oleObject19.bin"/><Relationship Id="rId2" Type="http://schemas.openxmlformats.org/officeDocument/2006/relationships/tags" Target="../tags/tag138.xml"/><Relationship Id="rId16" Type="http://schemas.openxmlformats.org/officeDocument/2006/relationships/tags" Target="../tags/tag152.xml"/><Relationship Id="rId20" Type="http://schemas.openxmlformats.org/officeDocument/2006/relationships/tags" Target="../tags/tag156.xml"/><Relationship Id="rId29" Type="http://schemas.openxmlformats.org/officeDocument/2006/relationships/tags" Target="../tags/tag16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24" Type="http://schemas.openxmlformats.org/officeDocument/2006/relationships/tags" Target="../tags/tag160.xml"/><Relationship Id="rId32" Type="http://schemas.openxmlformats.org/officeDocument/2006/relationships/notesSlide" Target="../notesSlides/notesSlide3.xml"/><Relationship Id="rId5" Type="http://schemas.openxmlformats.org/officeDocument/2006/relationships/tags" Target="../tags/tag141.xml"/><Relationship Id="rId15" Type="http://schemas.openxmlformats.org/officeDocument/2006/relationships/tags" Target="../tags/tag151.xml"/><Relationship Id="rId23" Type="http://schemas.openxmlformats.org/officeDocument/2006/relationships/tags" Target="../tags/tag159.xml"/><Relationship Id="rId28" Type="http://schemas.openxmlformats.org/officeDocument/2006/relationships/tags" Target="../tags/tag164.xml"/><Relationship Id="rId10" Type="http://schemas.openxmlformats.org/officeDocument/2006/relationships/tags" Target="../tags/tag146.xml"/><Relationship Id="rId19" Type="http://schemas.openxmlformats.org/officeDocument/2006/relationships/tags" Target="../tags/tag155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tags" Target="../tags/tag150.xml"/><Relationship Id="rId22" Type="http://schemas.openxmlformats.org/officeDocument/2006/relationships/tags" Target="../tags/tag158.xml"/><Relationship Id="rId27" Type="http://schemas.openxmlformats.org/officeDocument/2006/relationships/tags" Target="../tags/tag163.xml"/><Relationship Id="rId30" Type="http://schemas.openxmlformats.org/officeDocument/2006/relationships/tags" Target="../tags/tag166.xml"/><Relationship Id="rId35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tags" Target="../tags/tag178.xml"/><Relationship Id="rId18" Type="http://schemas.openxmlformats.org/officeDocument/2006/relationships/slideLayout" Target="../slideLayouts/slideLayout2.xml"/><Relationship Id="rId26" Type="http://schemas.openxmlformats.org/officeDocument/2006/relationships/image" Target="../media/image28.png"/><Relationship Id="rId3" Type="http://schemas.openxmlformats.org/officeDocument/2006/relationships/tags" Target="../tags/tag168.xml"/><Relationship Id="rId21" Type="http://schemas.openxmlformats.org/officeDocument/2006/relationships/image" Target="../media/image26.png"/><Relationship Id="rId7" Type="http://schemas.openxmlformats.org/officeDocument/2006/relationships/tags" Target="../tags/tag172.xml"/><Relationship Id="rId12" Type="http://schemas.openxmlformats.org/officeDocument/2006/relationships/tags" Target="../tags/tag177.xml"/><Relationship Id="rId17" Type="http://schemas.openxmlformats.org/officeDocument/2006/relationships/tags" Target="../tags/tag182.xml"/><Relationship Id="rId25" Type="http://schemas.openxmlformats.org/officeDocument/2006/relationships/oleObject" Target="../embeddings/_____Microsoft_Office_Excel_97-20033.xls"/><Relationship Id="rId2" Type="http://schemas.openxmlformats.org/officeDocument/2006/relationships/tags" Target="../tags/tag167.xml"/><Relationship Id="rId16" Type="http://schemas.openxmlformats.org/officeDocument/2006/relationships/tags" Target="../tags/tag181.xml"/><Relationship Id="rId20" Type="http://schemas.openxmlformats.org/officeDocument/2006/relationships/image" Target="../media/image25.png"/><Relationship Id="rId1" Type="http://schemas.openxmlformats.org/officeDocument/2006/relationships/vmlDrawing" Target="../drawings/vmlDrawing20.vml"/><Relationship Id="rId6" Type="http://schemas.openxmlformats.org/officeDocument/2006/relationships/tags" Target="../tags/tag171.xml"/><Relationship Id="rId11" Type="http://schemas.openxmlformats.org/officeDocument/2006/relationships/tags" Target="../tags/tag176.xml"/><Relationship Id="rId24" Type="http://schemas.openxmlformats.org/officeDocument/2006/relationships/oleObject" Target="../embeddings/_____Microsoft_Office_Excel_97-20032.xls"/><Relationship Id="rId5" Type="http://schemas.openxmlformats.org/officeDocument/2006/relationships/tags" Target="../tags/tag170.xml"/><Relationship Id="rId15" Type="http://schemas.openxmlformats.org/officeDocument/2006/relationships/tags" Target="../tags/tag180.xml"/><Relationship Id="rId23" Type="http://schemas.openxmlformats.org/officeDocument/2006/relationships/oleObject" Target="../embeddings/_____Microsoft_Office_Excel_97-20031.xls"/><Relationship Id="rId10" Type="http://schemas.openxmlformats.org/officeDocument/2006/relationships/tags" Target="../tags/tag175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169.xml"/><Relationship Id="rId9" Type="http://schemas.openxmlformats.org/officeDocument/2006/relationships/tags" Target="../tags/tag174.xml"/><Relationship Id="rId14" Type="http://schemas.openxmlformats.org/officeDocument/2006/relationships/tags" Target="../tags/tag179.xml"/><Relationship Id="rId22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3" descr="G:\парк ПС\эп3д 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9233" r="4334"/>
          <a:stretch/>
        </p:blipFill>
        <p:spPr bwMode="auto">
          <a:xfrm>
            <a:off x="-1" y="-6455"/>
            <a:ext cx="9150493" cy="360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7738712" y="4815341"/>
            <a:ext cx="1405289" cy="3281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9" rIns="91398" bIns="4569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738712" y="4815341"/>
            <a:ext cx="1405289" cy="3281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9" rIns="91398" bIns="4569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7" name="Picture 7" descr="E:\2017\Февраль\ПРЕЗЕНТАЦИИ ШАБЛОНЫ для Ц\ppt\слайд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7186" b="8937"/>
          <a:stretch/>
        </p:blipFill>
        <p:spPr bwMode="auto">
          <a:xfrm>
            <a:off x="0" y="2688435"/>
            <a:ext cx="9144000" cy="2455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02878" y="2878832"/>
            <a:ext cx="6768752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ru-RU" sz="14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игородные перевозки: повышение эффективности, улучшение качества обслуживания пассажиров</a:t>
            </a:r>
            <a:endParaRPr lang="ru-RU" sz="14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ru-RU" sz="10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ru-RU" sz="8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" name="Picture 7" descr="E:\2017\Февраль\ПРЕЗЕНТАЦИИ ШАБЛОНЫ для Ц\ppt\слайд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938" t="82935" b="467"/>
          <a:stretch/>
        </p:blipFill>
        <p:spPr bwMode="auto">
          <a:xfrm>
            <a:off x="7858180" y="4299942"/>
            <a:ext cx="1285820" cy="843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6"/>
          <p:cNvSpPr txBox="1">
            <a:spLocks/>
          </p:cNvSpPr>
          <p:nvPr/>
        </p:nvSpPr>
        <p:spPr bwMode="auto">
          <a:xfrm>
            <a:off x="671860" y="3795688"/>
            <a:ext cx="6348412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kumimoji="1" lang="ru-RU" alt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Заместитель генерального директора ОАО «РЖД» </a:t>
            </a:r>
            <a:endParaRPr kumimoji="1" lang="ru-RU" altLang="ru-RU" sz="1600" dirty="0">
              <a:latin typeface="Verdana" pitchFamily="34" charset="0"/>
              <a:cs typeface="Arial" pitchFamily="34" charset="0"/>
            </a:endParaRPr>
          </a:p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kumimoji="1" lang="ru-RU" altLang="ru-RU" sz="1600" b="1" dirty="0" err="1">
                <a:latin typeface="Verdana" pitchFamily="34" charset="0"/>
                <a:cs typeface="Arial" pitchFamily="34" charset="0"/>
              </a:rPr>
              <a:t>Пегов</a:t>
            </a:r>
            <a:r>
              <a:rPr kumimoji="1" lang="ru-RU" altLang="ru-RU" sz="1600" b="1" dirty="0">
                <a:latin typeface="Verdana" pitchFamily="34" charset="0"/>
                <a:cs typeface="Arial" pitchFamily="34" charset="0"/>
              </a:rPr>
              <a:t> Дмитрий Владимирович</a:t>
            </a:r>
          </a:p>
        </p:txBody>
      </p:sp>
    </p:spTree>
    <p:extLst>
      <p:ext uri="{BB962C8B-B14F-4D97-AF65-F5344CB8AC3E}">
        <p14:creationId xmlns:p14="http://schemas.microsoft.com/office/powerpoint/2010/main" xmlns="" val="17066978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/>
          <p:cNvSpPr/>
          <p:nvPr/>
        </p:nvSpPr>
        <p:spPr>
          <a:xfrm>
            <a:off x="0" y="598488"/>
            <a:ext cx="9144000" cy="460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20" name="TextBox 42"/>
          <p:cNvSpPr txBox="1">
            <a:spLocks noChangeArrowheads="1"/>
          </p:cNvSpPr>
          <p:nvPr/>
        </p:nvSpPr>
        <p:spPr bwMode="auto">
          <a:xfrm>
            <a:off x="1" y="0"/>
            <a:ext cx="9144000" cy="555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ctr"/>
          <a:lstStyle/>
          <a:p>
            <a:pPr defTabSz="912813" eaLnBrk="1" hangingPunct="1"/>
            <a:r>
              <a:rPr lang="ru-RU" alt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Предлагаемые изменения в Уголовный кодекс РФ направлены на повышение гарантий безопасности работников перевозчиков</a:t>
            </a:r>
          </a:p>
        </p:txBody>
      </p:sp>
      <p:sp>
        <p:nvSpPr>
          <p:cNvPr id="9221" name="Прямоугольник 44"/>
          <p:cNvSpPr>
            <a:spLocks noChangeArrowheads="1"/>
          </p:cNvSpPr>
          <p:nvPr/>
        </p:nvSpPr>
        <p:spPr bwMode="auto">
          <a:xfrm>
            <a:off x="4467225" y="676275"/>
            <a:ext cx="4386263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" tIns="60116" rIns="10800" bIns="60116">
            <a:spAutoFit/>
          </a:bodyPr>
          <a:lstStyle/>
          <a:p>
            <a:pPr eaLnBrk="1" hangingPunct="1"/>
            <a:r>
              <a:rPr lang="ru-RU" altLang="ru-RU" sz="1600" b="1">
                <a:latin typeface="Verdana" pitchFamily="34" charset="0"/>
                <a:ea typeface="Verdana" pitchFamily="34" charset="0"/>
                <a:cs typeface="Verdana" pitchFamily="34" charset="0"/>
              </a:rPr>
              <a:t>ИЗМЕНЕНИЯ В УГОЛОВНЫЙ </a:t>
            </a:r>
          </a:p>
          <a:p>
            <a:pPr eaLnBrk="1" hangingPunct="1"/>
            <a:r>
              <a:rPr lang="ru-RU" altLang="ru-RU" sz="1600" b="1">
                <a:latin typeface="Verdana" pitchFamily="34" charset="0"/>
                <a:ea typeface="Verdana" pitchFamily="34" charset="0"/>
                <a:cs typeface="Verdana" pitchFamily="34" charset="0"/>
              </a:rPr>
              <a:t>КОДЕКС РФ</a:t>
            </a:r>
          </a:p>
        </p:txBody>
      </p:sp>
      <p:sp>
        <p:nvSpPr>
          <p:cNvPr id="9222" name="Прямоугольник 48"/>
          <p:cNvSpPr>
            <a:spLocks noChangeArrowheads="1"/>
          </p:cNvSpPr>
          <p:nvPr/>
        </p:nvSpPr>
        <p:spPr bwMode="auto">
          <a:xfrm>
            <a:off x="223838" y="700088"/>
            <a:ext cx="3671887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" tIns="60116" rIns="10800" bIns="60116">
            <a:spAutoFit/>
          </a:bodyPr>
          <a:lstStyle/>
          <a:p>
            <a:pPr eaLnBrk="1" hangingPunct="1"/>
            <a:r>
              <a:rPr lang="ru-RU" altLang="ru-RU" sz="16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ПРАВОНАРУШЕНИЯ В ОТНОШЕНИИ ПЕРСОНАЛА </a:t>
            </a:r>
          </a:p>
        </p:txBody>
      </p:sp>
      <p:sp>
        <p:nvSpPr>
          <p:cNvPr id="9224" name="AutoShape 7" descr="http://www.farsipharm.com.ua/wp-content/uploads/2018/08/medical-prescription.svg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 sz="110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59" name="Прямая соединительная линия 58"/>
          <p:cNvCxnSpPr/>
          <p:nvPr/>
        </p:nvCxnSpPr>
        <p:spPr>
          <a:xfrm>
            <a:off x="50800" y="7938"/>
            <a:ext cx="43815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226" name="Диаграмма 65"/>
          <p:cNvGraphicFramePr>
            <a:graphicFrameLocks/>
          </p:cNvGraphicFramePr>
          <p:nvPr/>
        </p:nvGraphicFramePr>
        <p:xfrm>
          <a:off x="395536" y="2571750"/>
          <a:ext cx="3865562" cy="2816225"/>
        </p:xfrm>
        <a:graphic>
          <a:graphicData uri="http://schemas.openxmlformats.org/presentationml/2006/ole">
            <p:oleObj spid="_x0000_s746498" r:id="rId9" imgW="3865199" imgH="2816596" progId="Excel.Sheet.8">
              <p:embed/>
            </p:oleObj>
          </a:graphicData>
        </a:graphic>
      </p:graphicFrame>
      <p:sp>
        <p:nvSpPr>
          <p:cNvPr id="9227" name="Текст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768475" y="2473325"/>
            <a:ext cx="819150" cy="304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Font typeface="Arial" pitchFamily="34" charset="0"/>
              <a:buNone/>
            </a:pPr>
            <a:r>
              <a:rPr lang="ru-RU" altLang="en-US" b="1">
                <a:latin typeface="Verdana" pitchFamily="34" charset="0"/>
                <a:ea typeface="Verdana" pitchFamily="34" charset="0"/>
                <a:cs typeface="Verdana" pitchFamily="34" charset="0"/>
              </a:rPr>
              <a:t>+27%</a:t>
            </a:r>
            <a:endParaRPr lang="ru-RU" altLang="ru-RU" b="1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67" name="Прямая соединительная линия 66"/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2954338" y="2633663"/>
            <a:ext cx="0" cy="3333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1211263" y="2633663"/>
            <a:ext cx="557212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>
            <p:custDataLst>
              <p:tags r:id="rId5"/>
            </p:custDataLst>
          </p:nvPr>
        </p:nvCxnSpPr>
        <p:spPr bwMode="auto">
          <a:xfrm>
            <a:off x="1209675" y="2633663"/>
            <a:ext cx="0" cy="6667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31" name="Прямоугольник 31"/>
          <p:cNvSpPr>
            <a:spLocks noChangeArrowheads="1"/>
          </p:cNvSpPr>
          <p:nvPr/>
        </p:nvSpPr>
        <p:spPr bwMode="auto">
          <a:xfrm>
            <a:off x="474663" y="1370013"/>
            <a:ext cx="1150937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2800" b="1">
                <a:solidFill>
                  <a:srgbClr val="E92D2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7%</a:t>
            </a:r>
          </a:p>
        </p:txBody>
      </p:sp>
      <p:sp>
        <p:nvSpPr>
          <p:cNvPr id="9232" name="Прямоугольник 32"/>
          <p:cNvSpPr>
            <a:spLocks noChangeArrowheads="1"/>
          </p:cNvSpPr>
          <p:nvPr/>
        </p:nvSpPr>
        <p:spPr bwMode="auto">
          <a:xfrm>
            <a:off x="249238" y="1446213"/>
            <a:ext cx="3397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 b="1">
                <a:solidFill>
                  <a:srgbClr val="E92D2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</a:t>
            </a:r>
            <a:endParaRPr lang="ru-RU" altLang="ru-RU"/>
          </a:p>
        </p:txBody>
      </p:sp>
      <p:sp>
        <p:nvSpPr>
          <p:cNvPr id="9233" name="Прямоугольник 33"/>
          <p:cNvSpPr>
            <a:spLocks noChangeArrowheads="1"/>
          </p:cNvSpPr>
          <p:nvPr/>
        </p:nvSpPr>
        <p:spPr bwMode="auto">
          <a:xfrm>
            <a:off x="1487488" y="1446213"/>
            <a:ext cx="25908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 b="1">
                <a:solidFill>
                  <a:srgbClr val="E92D24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увеличение случаев нападения на персонал </a:t>
            </a:r>
          </a:p>
        </p:txBody>
      </p:sp>
      <p:sp>
        <p:nvSpPr>
          <p:cNvPr id="9234" name="Прямоугольник 32"/>
          <p:cNvSpPr>
            <a:spLocks noChangeArrowheads="1"/>
          </p:cNvSpPr>
          <p:nvPr/>
        </p:nvSpPr>
        <p:spPr bwMode="auto">
          <a:xfrm>
            <a:off x="4826000" y="3621088"/>
            <a:ext cx="38036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2813" eaLnBrk="1" hangingPunct="1"/>
            <a:endParaRPr lang="ru-RU" altLang="ru-RU" sz="500"/>
          </a:p>
          <a:p>
            <a:pPr defTabSz="912813" eaLnBrk="1" hangingPunct="1"/>
            <a:r>
              <a:rPr lang="ru-RU" altLang="ru-RU" sz="1100">
                <a:latin typeface="Verdana" pitchFamily="34" charset="0"/>
                <a:ea typeface="Verdana" pitchFamily="34" charset="0"/>
                <a:cs typeface="Verdana" pitchFamily="34" charset="0"/>
              </a:rPr>
              <a:t> - штраф до 200 тыс. руб. или в размере заработной платы (или иного дохода) осужденного за период </a:t>
            </a:r>
            <a:r>
              <a:rPr lang="ru-RU" altLang="ru-RU" sz="1100" b="1">
                <a:latin typeface="Verdana" pitchFamily="34" charset="0"/>
                <a:ea typeface="Verdana" pitchFamily="34" charset="0"/>
                <a:cs typeface="Verdana" pitchFamily="34" charset="0"/>
              </a:rPr>
              <a:t>до восемнадцати месяцев</a:t>
            </a:r>
            <a:r>
              <a:rPr lang="ru-RU" altLang="ru-RU" sz="1100">
                <a:latin typeface="Verdana" pitchFamily="34" charset="0"/>
                <a:ea typeface="Verdana" pitchFamily="34" charset="0"/>
                <a:cs typeface="Verdana" pitchFamily="34" charset="0"/>
              </a:rPr>
              <a:t>, либо принудительными работами </a:t>
            </a:r>
            <a:r>
              <a:rPr lang="ru-RU" altLang="ru-RU" sz="1100" b="1">
                <a:latin typeface="Verdana" pitchFamily="34" charset="0"/>
                <a:ea typeface="Verdana" pitchFamily="34" charset="0"/>
                <a:cs typeface="Verdana" pitchFamily="34" charset="0"/>
              </a:rPr>
              <a:t>до пяти лет</a:t>
            </a:r>
            <a:r>
              <a:rPr lang="ru-RU" altLang="ru-RU" sz="1100"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57175" y="1257300"/>
            <a:ext cx="26765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362450" y="1257300"/>
            <a:ext cx="26765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37" name="Прямоугольник 37"/>
          <p:cNvSpPr>
            <a:spLocks noChangeArrowheads="1"/>
          </p:cNvSpPr>
          <p:nvPr/>
        </p:nvSpPr>
        <p:spPr bwMode="auto">
          <a:xfrm>
            <a:off x="4381500" y="1347788"/>
            <a:ext cx="4572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>
                <a:latin typeface="Verdana" pitchFamily="34" charset="0"/>
                <a:ea typeface="Verdana" pitchFamily="34" charset="0"/>
                <a:cs typeface="Verdana" pitchFamily="34" charset="0"/>
              </a:rPr>
              <a:t>Дополнить </a:t>
            </a:r>
            <a:r>
              <a:rPr lang="ru-RU" altLang="ru-RU" b="1">
                <a:latin typeface="Verdana" pitchFamily="34" charset="0"/>
                <a:ea typeface="Verdana" pitchFamily="34" charset="0"/>
                <a:cs typeface="Verdana" pitchFamily="34" charset="0"/>
              </a:rPr>
              <a:t>новой ст. 268.1</a:t>
            </a:r>
            <a:r>
              <a:rPr lang="ru-RU" altLang="ru-RU">
                <a:latin typeface="Verdana" pitchFamily="34" charset="0"/>
                <a:ea typeface="Verdana" pitchFamily="34" charset="0"/>
                <a:cs typeface="Verdana" pitchFamily="34" charset="0"/>
              </a:rPr>
              <a:t> предусматривающей:</a:t>
            </a:r>
            <a:endParaRPr lang="ru-RU" altLang="ru-RU"/>
          </a:p>
        </p:txBody>
      </p:sp>
      <p:sp>
        <p:nvSpPr>
          <p:cNvPr id="9238" name="Прямоугольник 38"/>
          <p:cNvSpPr>
            <a:spLocks noChangeArrowheads="1"/>
          </p:cNvSpPr>
          <p:nvPr/>
        </p:nvSpPr>
        <p:spPr bwMode="auto">
          <a:xfrm>
            <a:off x="4819650" y="1866900"/>
            <a:ext cx="401002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2813" eaLnBrk="1" hangingPunct="1"/>
            <a:r>
              <a:rPr lang="ru-RU" altLang="ru-RU" sz="1100" b="1">
                <a:latin typeface="Verdana" pitchFamily="34" charset="0"/>
                <a:ea typeface="Verdana" pitchFamily="34" charset="0"/>
                <a:cs typeface="Verdana" pitchFamily="34" charset="0"/>
              </a:rPr>
              <a:t>За применение насилия, не опасного для жизни или здоровья, либо угрозы применения насилия в отношении персонала:</a:t>
            </a:r>
          </a:p>
        </p:txBody>
      </p:sp>
      <p:sp>
        <p:nvSpPr>
          <p:cNvPr id="40" name="Стрелка: пятиугольник 101"/>
          <p:cNvSpPr/>
          <p:nvPr/>
        </p:nvSpPr>
        <p:spPr>
          <a:xfrm>
            <a:off x="4462463" y="2019300"/>
            <a:ext cx="347662" cy="219075"/>
          </a:xfrm>
          <a:prstGeom prst="homePlate">
            <a:avLst>
              <a:gd name="adj" fmla="val 35753"/>
            </a:avLst>
          </a:pr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231" tIns="60116" rIns="120231" bIns="60116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9240" name="Прямоугольник 41"/>
          <p:cNvSpPr>
            <a:spLocks noChangeArrowheads="1"/>
          </p:cNvSpPr>
          <p:nvPr/>
        </p:nvSpPr>
        <p:spPr bwMode="auto">
          <a:xfrm>
            <a:off x="4838700" y="2457450"/>
            <a:ext cx="377190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2813" eaLnBrk="1" hangingPunct="1"/>
            <a:r>
              <a:rPr lang="ru-RU" altLang="ru-RU" dirty="0"/>
              <a:t>– </a:t>
            </a:r>
            <a:r>
              <a:rPr lang="ru-RU" altLang="ru-RU" sz="1000" dirty="0">
                <a:latin typeface="Verdana" pitchFamily="34" charset="0"/>
                <a:ea typeface="Verdana" pitchFamily="34" charset="0"/>
                <a:cs typeface="Verdana" pitchFamily="34" charset="0"/>
              </a:rPr>
              <a:t>штраф до 200 тыс. руб. или в размере заработной платы (или иного дохода) осужденного за период </a:t>
            </a:r>
            <a:r>
              <a:rPr lang="ru-RU" altLang="ru-RU" sz="10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до одного года</a:t>
            </a:r>
            <a:r>
              <a:rPr lang="ru-RU" altLang="ru-RU" sz="1000" dirty="0">
                <a:latin typeface="Verdana" pitchFamily="34" charset="0"/>
                <a:ea typeface="Verdana" pitchFamily="34" charset="0"/>
                <a:cs typeface="Verdana" pitchFamily="34" charset="0"/>
              </a:rPr>
              <a:t>, либо принудительными работами </a:t>
            </a:r>
            <a:r>
              <a:rPr lang="ru-RU" altLang="ru-RU" sz="10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до двух лет</a:t>
            </a:r>
            <a:r>
              <a:rPr lang="ru-RU" altLang="ru-RU" sz="1000" dirty="0"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</p:txBody>
      </p:sp>
      <p:sp>
        <p:nvSpPr>
          <p:cNvPr id="43" name="Стрелка: пятиугольник 101"/>
          <p:cNvSpPr/>
          <p:nvPr/>
        </p:nvSpPr>
        <p:spPr>
          <a:xfrm>
            <a:off x="4443413" y="3352800"/>
            <a:ext cx="347662" cy="219075"/>
          </a:xfrm>
          <a:prstGeom prst="homePlate">
            <a:avLst>
              <a:gd name="adj" fmla="val 35753"/>
            </a:avLst>
          </a:pr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231" tIns="60116" rIns="120231" bIns="60116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9242" name="Прямоугольник 44"/>
          <p:cNvSpPr>
            <a:spLocks noChangeArrowheads="1"/>
          </p:cNvSpPr>
          <p:nvPr/>
        </p:nvSpPr>
        <p:spPr bwMode="auto">
          <a:xfrm>
            <a:off x="4838700" y="3262313"/>
            <a:ext cx="39814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2813" eaLnBrk="1" hangingPunct="1"/>
            <a:r>
              <a:rPr lang="ru-RU" altLang="ru-RU" sz="1100" b="1">
                <a:latin typeface="Verdana" pitchFamily="34" charset="0"/>
                <a:ea typeface="Verdana" pitchFamily="34" charset="0"/>
                <a:cs typeface="Verdana" pitchFamily="34" charset="0"/>
              </a:rPr>
              <a:t>За применение насилия, опасного для жизни или здоровья</a:t>
            </a:r>
          </a:p>
        </p:txBody>
      </p:sp>
      <p:cxnSp>
        <p:nvCxnSpPr>
          <p:cNvPr id="38" name="Прямая соединительная линия 37"/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2587625" y="2625725"/>
            <a:ext cx="366713" cy="793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0" y="4876006"/>
            <a:ext cx="32352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6782C056-D21C-4181-BBC0-970634807437}" type="slidenum">
              <a:rPr lang="ru-RU" sz="6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0</a:t>
            </a:fld>
            <a:endParaRPr lang="ru-RU" sz="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34924" y="4851400"/>
            <a:ext cx="504628" cy="273050"/>
          </a:xfrm>
        </p:spPr>
        <p:txBody>
          <a:bodyPr/>
          <a:lstStyle/>
          <a:p>
            <a:fld id="{3CEE0CFD-6CE0-4D6A-8C17-4FFB86DA98F7}" type="slidenum">
              <a:rPr lang="ru-RU" sz="600" smtClean="0">
                <a:solidFill>
                  <a:schemeClr val="tx1"/>
                </a:solidFill>
              </a:rPr>
              <a:pPr/>
              <a:t>11</a:t>
            </a:fld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51520" y="771550"/>
            <a:ext cx="8280920" cy="4611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/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Разработать Программу развития пригородных железнодорожных перевозок в агломерациях и их интеграции в городскую среду;</a:t>
            </a:r>
          </a:p>
          <a:p>
            <a:pPr marL="285750" indent="-285750"/>
            <a:endParaRPr lang="ru-RU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</a:pP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Рассмотреть возможность бесплатного провоза детей не старше 7 лет;</a:t>
            </a:r>
          </a:p>
          <a:p>
            <a:pPr marL="285750" indent="-285750">
              <a:spcBef>
                <a:spcPts val="600"/>
              </a:spcBef>
            </a:pPr>
            <a:endParaRPr lang="ru-RU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</a:pP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Установить единый порядок предоставления льгот для студентов и школьников;</a:t>
            </a:r>
          </a:p>
          <a:p>
            <a:pPr marL="285750" indent="-285750">
              <a:spcBef>
                <a:spcPts val="600"/>
              </a:spcBef>
            </a:pPr>
            <a:endParaRPr lang="ru-RU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</a:pP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Предусмотреть возможность оформления льготных электронных билетов;</a:t>
            </a:r>
          </a:p>
          <a:p>
            <a:pPr marL="285750" indent="-285750">
              <a:spcBef>
                <a:spcPts val="600"/>
              </a:spcBef>
            </a:pPr>
            <a:endParaRPr lang="ru-RU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</a:pP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Предусмотреть меры ответственности для обеспечения правопорядка на транспорте и пресечения противоправных действий в отношении персонала (экипажа) транспортного средства;</a:t>
            </a:r>
          </a:p>
          <a:p>
            <a:pPr marL="285750" indent="-285750">
              <a:spcBef>
                <a:spcPts val="600"/>
              </a:spcBef>
            </a:pPr>
            <a:endParaRPr lang="ru-RU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</a:pP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Предусмотреть возможность установления дифференцированных тарифов в пригородном сообщении.</a:t>
            </a:r>
          </a:p>
          <a:p>
            <a:pPr marL="285750" indent="-285750">
              <a:spcBef>
                <a:spcPts val="600"/>
              </a:spcBef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ü"/>
            </a:pP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0" y="60410"/>
            <a:ext cx="9144000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6" tIns="45663" rIns="91336" bIns="45663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45668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91336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137004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18267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r>
              <a:rPr lang="ru-RU" sz="1600" dirty="0" smtClean="0"/>
              <a:t>Рекомендации</a:t>
            </a:r>
            <a:endParaRPr lang="ru-RU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797392"/>
            <a:ext cx="314403" cy="40011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600" b="1" dirty="0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2600" b="1" dirty="0">
              <a:solidFill>
                <a:srgbClr val="00B05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419622"/>
            <a:ext cx="314403" cy="40011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600" b="1" dirty="0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2600" b="1" dirty="0">
              <a:solidFill>
                <a:srgbClr val="00B05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1520" y="1995686"/>
            <a:ext cx="314403" cy="40011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600" b="1" dirty="0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2600" b="1" dirty="0">
              <a:solidFill>
                <a:srgbClr val="00B05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520" y="4227934"/>
            <a:ext cx="314403" cy="40011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600" b="1" dirty="0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2600" b="1" dirty="0">
              <a:solidFill>
                <a:srgbClr val="00B05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1520" y="3291830"/>
            <a:ext cx="314403" cy="40011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600" b="1" dirty="0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2600" b="1" dirty="0">
              <a:solidFill>
                <a:srgbClr val="00B05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1520" y="2571750"/>
            <a:ext cx="314403" cy="40011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600" b="1" dirty="0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2600" b="1" dirty="0">
              <a:solidFill>
                <a:srgbClr val="00B05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4697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3" descr="G:\парк ПС\эп3д 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9233" r="4334"/>
          <a:stretch/>
        </p:blipFill>
        <p:spPr bwMode="auto">
          <a:xfrm>
            <a:off x="-1" y="-6455"/>
            <a:ext cx="9150493" cy="360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7738712" y="4815341"/>
            <a:ext cx="1405289" cy="3281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9" rIns="91398" bIns="4569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738712" y="4815341"/>
            <a:ext cx="1405289" cy="3281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8" tIns="45699" rIns="91398" bIns="45699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7" name="Picture 7" descr="E:\2017\Февраль\ПРЕЗЕНТАЦИИ ШАБЛОНЫ для Ц\ppt\слайд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7186" b="8937"/>
          <a:stretch/>
        </p:blipFill>
        <p:spPr bwMode="auto">
          <a:xfrm>
            <a:off x="0" y="2688435"/>
            <a:ext cx="9144000" cy="2455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02878" y="2878832"/>
            <a:ext cx="6768752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ru-RU" sz="14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игородные перевозки: повышение эффективности, улучшение качества обслуживания пассажиров</a:t>
            </a:r>
            <a:endParaRPr lang="ru-RU" sz="14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ru-RU" sz="10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ru-RU" sz="8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" name="Picture 7" descr="E:\2017\Февраль\ПРЕЗЕНТАЦИИ ШАБЛОНЫ для Ц\ppt\слайд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5938" t="82935" b="467"/>
          <a:stretch/>
        </p:blipFill>
        <p:spPr bwMode="auto">
          <a:xfrm>
            <a:off x="7858180" y="4299942"/>
            <a:ext cx="1285820" cy="843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6"/>
          <p:cNvSpPr txBox="1">
            <a:spLocks/>
          </p:cNvSpPr>
          <p:nvPr/>
        </p:nvSpPr>
        <p:spPr bwMode="auto">
          <a:xfrm>
            <a:off x="671860" y="3795688"/>
            <a:ext cx="6348412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kumimoji="1" lang="ru-RU" alt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Заместитель генерального директора ОАО «РЖД» </a:t>
            </a:r>
            <a:endParaRPr kumimoji="1" lang="ru-RU" altLang="ru-RU" sz="1600" dirty="0">
              <a:latin typeface="Verdana" pitchFamily="34" charset="0"/>
              <a:cs typeface="Arial" pitchFamily="34" charset="0"/>
            </a:endParaRPr>
          </a:p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kumimoji="1" lang="ru-RU" altLang="ru-RU" sz="1600" b="1" dirty="0" err="1">
                <a:latin typeface="Verdana" pitchFamily="34" charset="0"/>
                <a:cs typeface="Arial" pitchFamily="34" charset="0"/>
              </a:rPr>
              <a:t>Пегов</a:t>
            </a:r>
            <a:r>
              <a:rPr kumimoji="1" lang="ru-RU" altLang="ru-RU" sz="1600" b="1" dirty="0">
                <a:latin typeface="Verdana" pitchFamily="34" charset="0"/>
                <a:cs typeface="Arial" pitchFamily="34" charset="0"/>
              </a:rPr>
              <a:t> Дмитрий Владимирович</a:t>
            </a:r>
          </a:p>
        </p:txBody>
      </p:sp>
    </p:spTree>
    <p:extLst>
      <p:ext uri="{BB962C8B-B14F-4D97-AF65-F5344CB8AC3E}">
        <p14:creationId xmlns:p14="http://schemas.microsoft.com/office/powerpoint/2010/main" xmlns="" val="17066978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Прямоугольник 119">
            <a:extLst>
              <a:ext uri="{FF2B5EF4-FFF2-40B4-BE49-F238E27FC236}">
                <a16:creationId xmlns="" xmlns:a16="http://schemas.microsoft.com/office/drawing/2014/main" id="{3BD81BDF-F102-894F-92E7-8A1A319A3EA0}"/>
              </a:ext>
            </a:extLst>
          </p:cNvPr>
          <p:cNvSpPr/>
          <p:nvPr/>
        </p:nvSpPr>
        <p:spPr>
          <a:xfrm>
            <a:off x="2041108" y="1307410"/>
            <a:ext cx="14803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b="1" dirty="0">
                <a:latin typeface="Verdana" pitchFamily="34" charset="0"/>
              </a:rPr>
              <a:t>+3,3%</a:t>
            </a:r>
          </a:p>
        </p:txBody>
      </p:sp>
      <p:grpSp>
        <p:nvGrpSpPr>
          <p:cNvPr id="2" name="Группа 100"/>
          <p:cNvGrpSpPr/>
          <p:nvPr/>
        </p:nvGrpSpPr>
        <p:grpSpPr>
          <a:xfrm>
            <a:off x="2956921" y="857197"/>
            <a:ext cx="6030380" cy="3806551"/>
            <a:chOff x="3002649" y="1521274"/>
            <a:chExt cx="6515071" cy="3381589"/>
          </a:xfrm>
          <a:solidFill>
            <a:schemeClr val="bg1">
              <a:lumMod val="85000"/>
            </a:schemeClr>
          </a:solidFill>
        </p:grpSpPr>
        <p:sp>
          <p:nvSpPr>
            <p:cNvPr id="102" name="Freeform 17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698053">
              <a:off x="3131103" y="3267659"/>
              <a:ext cx="129282" cy="110104"/>
            </a:xfrm>
            <a:custGeom>
              <a:avLst/>
              <a:gdLst>
                <a:gd name="T0" fmla="*/ 85 w 169"/>
                <a:gd name="T1" fmla="*/ 150 h 150"/>
                <a:gd name="T2" fmla="*/ 65 w 169"/>
                <a:gd name="T3" fmla="*/ 142 h 150"/>
                <a:gd name="T4" fmla="*/ 36 w 169"/>
                <a:gd name="T5" fmla="*/ 122 h 150"/>
                <a:gd name="T6" fmla="*/ 26 w 169"/>
                <a:gd name="T7" fmla="*/ 90 h 150"/>
                <a:gd name="T8" fmla="*/ 6 w 169"/>
                <a:gd name="T9" fmla="*/ 58 h 150"/>
                <a:gd name="T10" fmla="*/ 0 w 169"/>
                <a:gd name="T11" fmla="*/ 32 h 150"/>
                <a:gd name="T12" fmla="*/ 16 w 169"/>
                <a:gd name="T13" fmla="*/ 16 h 150"/>
                <a:gd name="T14" fmla="*/ 34 w 169"/>
                <a:gd name="T15" fmla="*/ 12 h 150"/>
                <a:gd name="T16" fmla="*/ 49 w 169"/>
                <a:gd name="T17" fmla="*/ 0 h 150"/>
                <a:gd name="T18" fmla="*/ 63 w 169"/>
                <a:gd name="T19" fmla="*/ 0 h 150"/>
                <a:gd name="T20" fmla="*/ 69 w 169"/>
                <a:gd name="T21" fmla="*/ 16 h 150"/>
                <a:gd name="T22" fmla="*/ 81 w 169"/>
                <a:gd name="T23" fmla="*/ 32 h 150"/>
                <a:gd name="T24" fmla="*/ 107 w 169"/>
                <a:gd name="T25" fmla="*/ 32 h 150"/>
                <a:gd name="T26" fmla="*/ 127 w 169"/>
                <a:gd name="T27" fmla="*/ 8 h 150"/>
                <a:gd name="T28" fmla="*/ 143 w 169"/>
                <a:gd name="T29" fmla="*/ 12 h 150"/>
                <a:gd name="T30" fmla="*/ 143 w 169"/>
                <a:gd name="T31" fmla="*/ 34 h 150"/>
                <a:gd name="T32" fmla="*/ 157 w 169"/>
                <a:gd name="T33" fmla="*/ 44 h 150"/>
                <a:gd name="T34" fmla="*/ 161 w 169"/>
                <a:gd name="T35" fmla="*/ 60 h 150"/>
                <a:gd name="T36" fmla="*/ 169 w 169"/>
                <a:gd name="T37" fmla="*/ 72 h 150"/>
                <a:gd name="T38" fmla="*/ 145 w 169"/>
                <a:gd name="T39" fmla="*/ 72 h 150"/>
                <a:gd name="T40" fmla="*/ 139 w 169"/>
                <a:gd name="T41" fmla="*/ 84 h 150"/>
                <a:gd name="T42" fmla="*/ 149 w 169"/>
                <a:gd name="T43" fmla="*/ 94 h 150"/>
                <a:gd name="T44" fmla="*/ 157 w 169"/>
                <a:gd name="T45" fmla="*/ 106 h 150"/>
                <a:gd name="T46" fmla="*/ 149 w 169"/>
                <a:gd name="T47" fmla="*/ 122 h 150"/>
                <a:gd name="T48" fmla="*/ 131 w 169"/>
                <a:gd name="T49" fmla="*/ 130 h 150"/>
                <a:gd name="T50" fmla="*/ 117 w 169"/>
                <a:gd name="T51" fmla="*/ 128 h 150"/>
                <a:gd name="T52" fmla="*/ 101 w 169"/>
                <a:gd name="T53" fmla="*/ 144 h 150"/>
                <a:gd name="T54" fmla="*/ 85 w 169"/>
                <a:gd name="T5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9" h="150">
                  <a:moveTo>
                    <a:pt x="85" y="150"/>
                  </a:moveTo>
                  <a:lnTo>
                    <a:pt x="65" y="142"/>
                  </a:lnTo>
                  <a:lnTo>
                    <a:pt x="36" y="122"/>
                  </a:lnTo>
                  <a:lnTo>
                    <a:pt x="26" y="90"/>
                  </a:lnTo>
                  <a:lnTo>
                    <a:pt x="6" y="58"/>
                  </a:lnTo>
                  <a:lnTo>
                    <a:pt x="0" y="32"/>
                  </a:lnTo>
                  <a:lnTo>
                    <a:pt x="16" y="16"/>
                  </a:lnTo>
                  <a:lnTo>
                    <a:pt x="34" y="12"/>
                  </a:lnTo>
                  <a:lnTo>
                    <a:pt x="49" y="0"/>
                  </a:lnTo>
                  <a:lnTo>
                    <a:pt x="63" y="0"/>
                  </a:lnTo>
                  <a:lnTo>
                    <a:pt x="69" y="16"/>
                  </a:lnTo>
                  <a:lnTo>
                    <a:pt x="81" y="32"/>
                  </a:lnTo>
                  <a:lnTo>
                    <a:pt x="107" y="32"/>
                  </a:lnTo>
                  <a:lnTo>
                    <a:pt x="127" y="8"/>
                  </a:lnTo>
                  <a:lnTo>
                    <a:pt x="143" y="12"/>
                  </a:lnTo>
                  <a:lnTo>
                    <a:pt x="143" y="34"/>
                  </a:lnTo>
                  <a:lnTo>
                    <a:pt x="157" y="44"/>
                  </a:lnTo>
                  <a:lnTo>
                    <a:pt x="161" y="60"/>
                  </a:lnTo>
                  <a:lnTo>
                    <a:pt x="169" y="72"/>
                  </a:lnTo>
                  <a:lnTo>
                    <a:pt x="145" y="72"/>
                  </a:lnTo>
                  <a:lnTo>
                    <a:pt x="139" y="84"/>
                  </a:lnTo>
                  <a:lnTo>
                    <a:pt x="149" y="94"/>
                  </a:lnTo>
                  <a:lnTo>
                    <a:pt x="157" y="106"/>
                  </a:lnTo>
                  <a:lnTo>
                    <a:pt x="149" y="122"/>
                  </a:lnTo>
                  <a:lnTo>
                    <a:pt x="131" y="130"/>
                  </a:lnTo>
                  <a:lnTo>
                    <a:pt x="117" y="128"/>
                  </a:lnTo>
                  <a:lnTo>
                    <a:pt x="101" y="144"/>
                  </a:lnTo>
                  <a:lnTo>
                    <a:pt x="85" y="150"/>
                  </a:lnTo>
                  <a:close/>
                </a:path>
              </a:pathLst>
            </a:custGeom>
            <a:grpFill/>
            <a:ln w="3175" cmpd="sng">
              <a:solidFill>
                <a:srgbClr val="394A5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3" name="Freeform 214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698053">
              <a:off x="3077802" y="2979769"/>
              <a:ext cx="260937" cy="309670"/>
            </a:xfrm>
            <a:custGeom>
              <a:avLst/>
              <a:gdLst>
                <a:gd name="T0" fmla="*/ 329 w 341"/>
                <a:gd name="T1" fmla="*/ 189 h 419"/>
                <a:gd name="T2" fmla="*/ 301 w 341"/>
                <a:gd name="T3" fmla="*/ 159 h 419"/>
                <a:gd name="T4" fmla="*/ 307 w 341"/>
                <a:gd name="T5" fmla="*/ 134 h 419"/>
                <a:gd name="T6" fmla="*/ 319 w 341"/>
                <a:gd name="T7" fmla="*/ 108 h 419"/>
                <a:gd name="T8" fmla="*/ 271 w 341"/>
                <a:gd name="T9" fmla="*/ 60 h 419"/>
                <a:gd name="T10" fmla="*/ 243 w 341"/>
                <a:gd name="T11" fmla="*/ 54 h 419"/>
                <a:gd name="T12" fmla="*/ 249 w 341"/>
                <a:gd name="T13" fmla="*/ 24 h 419"/>
                <a:gd name="T14" fmla="*/ 217 w 341"/>
                <a:gd name="T15" fmla="*/ 28 h 419"/>
                <a:gd name="T16" fmla="*/ 187 w 341"/>
                <a:gd name="T17" fmla="*/ 2 h 419"/>
                <a:gd name="T18" fmla="*/ 165 w 341"/>
                <a:gd name="T19" fmla="*/ 16 h 419"/>
                <a:gd name="T20" fmla="*/ 173 w 341"/>
                <a:gd name="T21" fmla="*/ 70 h 419"/>
                <a:gd name="T22" fmla="*/ 136 w 341"/>
                <a:gd name="T23" fmla="*/ 64 h 419"/>
                <a:gd name="T24" fmla="*/ 82 w 341"/>
                <a:gd name="T25" fmla="*/ 74 h 419"/>
                <a:gd name="T26" fmla="*/ 52 w 341"/>
                <a:gd name="T27" fmla="*/ 88 h 419"/>
                <a:gd name="T28" fmla="*/ 16 w 341"/>
                <a:gd name="T29" fmla="*/ 64 h 419"/>
                <a:gd name="T30" fmla="*/ 8 w 341"/>
                <a:gd name="T31" fmla="*/ 104 h 419"/>
                <a:gd name="T32" fmla="*/ 10 w 341"/>
                <a:gd name="T33" fmla="*/ 151 h 419"/>
                <a:gd name="T34" fmla="*/ 24 w 341"/>
                <a:gd name="T35" fmla="*/ 205 h 419"/>
                <a:gd name="T36" fmla="*/ 48 w 341"/>
                <a:gd name="T37" fmla="*/ 249 h 419"/>
                <a:gd name="T38" fmla="*/ 48 w 341"/>
                <a:gd name="T39" fmla="*/ 355 h 419"/>
                <a:gd name="T40" fmla="*/ 76 w 341"/>
                <a:gd name="T41" fmla="*/ 385 h 419"/>
                <a:gd name="T42" fmla="*/ 100 w 341"/>
                <a:gd name="T43" fmla="*/ 417 h 419"/>
                <a:gd name="T44" fmla="*/ 132 w 341"/>
                <a:gd name="T45" fmla="*/ 403 h 419"/>
                <a:gd name="T46" fmla="*/ 165 w 341"/>
                <a:gd name="T47" fmla="*/ 387 h 419"/>
                <a:gd name="T48" fmla="*/ 185 w 341"/>
                <a:gd name="T49" fmla="*/ 403 h 419"/>
                <a:gd name="T50" fmla="*/ 223 w 341"/>
                <a:gd name="T51" fmla="*/ 419 h 419"/>
                <a:gd name="T52" fmla="*/ 251 w 341"/>
                <a:gd name="T53" fmla="*/ 381 h 419"/>
                <a:gd name="T54" fmla="*/ 259 w 341"/>
                <a:gd name="T55" fmla="*/ 357 h 419"/>
                <a:gd name="T56" fmla="*/ 269 w 341"/>
                <a:gd name="T57" fmla="*/ 327 h 419"/>
                <a:gd name="T58" fmla="*/ 271 w 341"/>
                <a:gd name="T59" fmla="*/ 293 h 419"/>
                <a:gd name="T60" fmla="*/ 273 w 341"/>
                <a:gd name="T61" fmla="*/ 269 h 419"/>
                <a:gd name="T62" fmla="*/ 283 w 341"/>
                <a:gd name="T63" fmla="*/ 241 h 419"/>
                <a:gd name="T64" fmla="*/ 299 w 341"/>
                <a:gd name="T65" fmla="*/ 257 h 419"/>
                <a:gd name="T66" fmla="*/ 329 w 341"/>
                <a:gd name="T67" fmla="*/ 243 h 419"/>
                <a:gd name="T68" fmla="*/ 341 w 341"/>
                <a:gd name="T69" fmla="*/ 203 h 419"/>
                <a:gd name="T70" fmla="*/ 201 w 341"/>
                <a:gd name="T71" fmla="*/ 305 h 419"/>
                <a:gd name="T72" fmla="*/ 189 w 341"/>
                <a:gd name="T73" fmla="*/ 303 h 419"/>
                <a:gd name="T74" fmla="*/ 165 w 341"/>
                <a:gd name="T75" fmla="*/ 319 h 419"/>
                <a:gd name="T76" fmla="*/ 134 w 341"/>
                <a:gd name="T77" fmla="*/ 355 h 419"/>
                <a:gd name="T78" fmla="*/ 126 w 341"/>
                <a:gd name="T79" fmla="*/ 373 h 419"/>
                <a:gd name="T80" fmla="*/ 106 w 341"/>
                <a:gd name="T81" fmla="*/ 381 h 419"/>
                <a:gd name="T82" fmla="*/ 78 w 341"/>
                <a:gd name="T83" fmla="*/ 343 h 419"/>
                <a:gd name="T84" fmla="*/ 100 w 341"/>
                <a:gd name="T85" fmla="*/ 335 h 419"/>
                <a:gd name="T86" fmla="*/ 132 w 341"/>
                <a:gd name="T87" fmla="*/ 325 h 419"/>
                <a:gd name="T88" fmla="*/ 126 w 341"/>
                <a:gd name="T89" fmla="*/ 289 h 419"/>
                <a:gd name="T90" fmla="*/ 148 w 341"/>
                <a:gd name="T91" fmla="*/ 275 h 419"/>
                <a:gd name="T92" fmla="*/ 171 w 341"/>
                <a:gd name="T93" fmla="*/ 267 h 419"/>
                <a:gd name="T94" fmla="*/ 148 w 341"/>
                <a:gd name="T95" fmla="*/ 239 h 419"/>
                <a:gd name="T96" fmla="*/ 130 w 341"/>
                <a:gd name="T97" fmla="*/ 245 h 419"/>
                <a:gd name="T98" fmla="*/ 110 w 341"/>
                <a:gd name="T99" fmla="*/ 223 h 419"/>
                <a:gd name="T100" fmla="*/ 96 w 341"/>
                <a:gd name="T101" fmla="*/ 203 h 419"/>
                <a:gd name="T102" fmla="*/ 104 w 341"/>
                <a:gd name="T103" fmla="*/ 187 h 419"/>
                <a:gd name="T104" fmla="*/ 120 w 341"/>
                <a:gd name="T105" fmla="*/ 203 h 419"/>
                <a:gd name="T106" fmla="*/ 144 w 341"/>
                <a:gd name="T107" fmla="*/ 219 h 419"/>
                <a:gd name="T108" fmla="*/ 169 w 341"/>
                <a:gd name="T109" fmla="*/ 221 h 419"/>
                <a:gd name="T110" fmla="*/ 185 w 341"/>
                <a:gd name="T111" fmla="*/ 243 h 419"/>
                <a:gd name="T112" fmla="*/ 201 w 341"/>
                <a:gd name="T113" fmla="*/ 257 h 419"/>
                <a:gd name="T114" fmla="*/ 201 w 341"/>
                <a:gd name="T115" fmla="*/ 275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1" h="419">
                  <a:moveTo>
                    <a:pt x="341" y="203"/>
                  </a:moveTo>
                  <a:lnTo>
                    <a:pt x="329" y="189"/>
                  </a:lnTo>
                  <a:lnTo>
                    <a:pt x="315" y="183"/>
                  </a:lnTo>
                  <a:lnTo>
                    <a:pt x="301" y="159"/>
                  </a:lnTo>
                  <a:lnTo>
                    <a:pt x="289" y="149"/>
                  </a:lnTo>
                  <a:lnTo>
                    <a:pt x="307" y="134"/>
                  </a:lnTo>
                  <a:lnTo>
                    <a:pt x="303" y="112"/>
                  </a:lnTo>
                  <a:lnTo>
                    <a:pt x="319" y="108"/>
                  </a:lnTo>
                  <a:lnTo>
                    <a:pt x="307" y="98"/>
                  </a:lnTo>
                  <a:lnTo>
                    <a:pt x="271" y="60"/>
                  </a:lnTo>
                  <a:lnTo>
                    <a:pt x="257" y="68"/>
                  </a:lnTo>
                  <a:lnTo>
                    <a:pt x="243" y="54"/>
                  </a:lnTo>
                  <a:lnTo>
                    <a:pt x="243" y="40"/>
                  </a:lnTo>
                  <a:lnTo>
                    <a:pt x="249" y="24"/>
                  </a:lnTo>
                  <a:lnTo>
                    <a:pt x="229" y="16"/>
                  </a:lnTo>
                  <a:lnTo>
                    <a:pt x="217" y="28"/>
                  </a:lnTo>
                  <a:lnTo>
                    <a:pt x="201" y="12"/>
                  </a:lnTo>
                  <a:lnTo>
                    <a:pt x="187" y="2"/>
                  </a:lnTo>
                  <a:lnTo>
                    <a:pt x="171" y="0"/>
                  </a:lnTo>
                  <a:lnTo>
                    <a:pt x="165" y="16"/>
                  </a:lnTo>
                  <a:lnTo>
                    <a:pt x="177" y="36"/>
                  </a:lnTo>
                  <a:lnTo>
                    <a:pt x="173" y="70"/>
                  </a:lnTo>
                  <a:lnTo>
                    <a:pt x="152" y="64"/>
                  </a:lnTo>
                  <a:lnTo>
                    <a:pt x="136" y="64"/>
                  </a:lnTo>
                  <a:lnTo>
                    <a:pt x="104" y="64"/>
                  </a:lnTo>
                  <a:lnTo>
                    <a:pt x="82" y="74"/>
                  </a:lnTo>
                  <a:lnTo>
                    <a:pt x="72" y="94"/>
                  </a:lnTo>
                  <a:lnTo>
                    <a:pt x="52" y="88"/>
                  </a:lnTo>
                  <a:lnTo>
                    <a:pt x="32" y="60"/>
                  </a:lnTo>
                  <a:lnTo>
                    <a:pt x="16" y="64"/>
                  </a:lnTo>
                  <a:lnTo>
                    <a:pt x="0" y="78"/>
                  </a:lnTo>
                  <a:lnTo>
                    <a:pt x="8" y="104"/>
                  </a:lnTo>
                  <a:lnTo>
                    <a:pt x="0" y="128"/>
                  </a:lnTo>
                  <a:lnTo>
                    <a:pt x="10" y="151"/>
                  </a:lnTo>
                  <a:lnTo>
                    <a:pt x="26" y="165"/>
                  </a:lnTo>
                  <a:lnTo>
                    <a:pt x="24" y="205"/>
                  </a:lnTo>
                  <a:lnTo>
                    <a:pt x="36" y="225"/>
                  </a:lnTo>
                  <a:lnTo>
                    <a:pt x="48" y="249"/>
                  </a:lnTo>
                  <a:lnTo>
                    <a:pt x="52" y="293"/>
                  </a:lnTo>
                  <a:lnTo>
                    <a:pt x="48" y="355"/>
                  </a:lnTo>
                  <a:lnTo>
                    <a:pt x="60" y="387"/>
                  </a:lnTo>
                  <a:lnTo>
                    <a:pt x="76" y="385"/>
                  </a:lnTo>
                  <a:lnTo>
                    <a:pt x="90" y="403"/>
                  </a:lnTo>
                  <a:lnTo>
                    <a:pt x="100" y="417"/>
                  </a:lnTo>
                  <a:lnTo>
                    <a:pt x="116" y="419"/>
                  </a:lnTo>
                  <a:lnTo>
                    <a:pt x="132" y="403"/>
                  </a:lnTo>
                  <a:lnTo>
                    <a:pt x="150" y="399"/>
                  </a:lnTo>
                  <a:lnTo>
                    <a:pt x="165" y="387"/>
                  </a:lnTo>
                  <a:lnTo>
                    <a:pt x="179" y="387"/>
                  </a:lnTo>
                  <a:lnTo>
                    <a:pt x="185" y="403"/>
                  </a:lnTo>
                  <a:lnTo>
                    <a:pt x="197" y="419"/>
                  </a:lnTo>
                  <a:lnTo>
                    <a:pt x="223" y="419"/>
                  </a:lnTo>
                  <a:lnTo>
                    <a:pt x="243" y="395"/>
                  </a:lnTo>
                  <a:lnTo>
                    <a:pt x="251" y="381"/>
                  </a:lnTo>
                  <a:lnTo>
                    <a:pt x="245" y="361"/>
                  </a:lnTo>
                  <a:lnTo>
                    <a:pt x="259" y="357"/>
                  </a:lnTo>
                  <a:lnTo>
                    <a:pt x="281" y="341"/>
                  </a:lnTo>
                  <a:lnTo>
                    <a:pt x="269" y="327"/>
                  </a:lnTo>
                  <a:lnTo>
                    <a:pt x="279" y="309"/>
                  </a:lnTo>
                  <a:lnTo>
                    <a:pt x="271" y="293"/>
                  </a:lnTo>
                  <a:lnTo>
                    <a:pt x="261" y="285"/>
                  </a:lnTo>
                  <a:lnTo>
                    <a:pt x="273" y="269"/>
                  </a:lnTo>
                  <a:lnTo>
                    <a:pt x="273" y="253"/>
                  </a:lnTo>
                  <a:lnTo>
                    <a:pt x="283" y="241"/>
                  </a:lnTo>
                  <a:lnTo>
                    <a:pt x="293" y="245"/>
                  </a:lnTo>
                  <a:lnTo>
                    <a:pt x="299" y="257"/>
                  </a:lnTo>
                  <a:lnTo>
                    <a:pt x="319" y="253"/>
                  </a:lnTo>
                  <a:lnTo>
                    <a:pt x="329" y="243"/>
                  </a:lnTo>
                  <a:lnTo>
                    <a:pt x="327" y="215"/>
                  </a:lnTo>
                  <a:lnTo>
                    <a:pt x="341" y="203"/>
                  </a:lnTo>
                  <a:close/>
                  <a:moveTo>
                    <a:pt x="201" y="275"/>
                  </a:moveTo>
                  <a:lnTo>
                    <a:pt x="201" y="305"/>
                  </a:lnTo>
                  <a:lnTo>
                    <a:pt x="195" y="319"/>
                  </a:lnTo>
                  <a:lnTo>
                    <a:pt x="189" y="303"/>
                  </a:lnTo>
                  <a:lnTo>
                    <a:pt x="177" y="307"/>
                  </a:lnTo>
                  <a:lnTo>
                    <a:pt x="165" y="319"/>
                  </a:lnTo>
                  <a:lnTo>
                    <a:pt x="150" y="339"/>
                  </a:lnTo>
                  <a:lnTo>
                    <a:pt x="134" y="355"/>
                  </a:lnTo>
                  <a:lnTo>
                    <a:pt x="126" y="363"/>
                  </a:lnTo>
                  <a:lnTo>
                    <a:pt x="126" y="373"/>
                  </a:lnTo>
                  <a:lnTo>
                    <a:pt x="112" y="375"/>
                  </a:lnTo>
                  <a:lnTo>
                    <a:pt x="106" y="381"/>
                  </a:lnTo>
                  <a:lnTo>
                    <a:pt x="98" y="367"/>
                  </a:lnTo>
                  <a:lnTo>
                    <a:pt x="78" y="343"/>
                  </a:lnTo>
                  <a:lnTo>
                    <a:pt x="88" y="331"/>
                  </a:lnTo>
                  <a:lnTo>
                    <a:pt x="100" y="335"/>
                  </a:lnTo>
                  <a:lnTo>
                    <a:pt x="128" y="335"/>
                  </a:lnTo>
                  <a:lnTo>
                    <a:pt x="132" y="325"/>
                  </a:lnTo>
                  <a:lnTo>
                    <a:pt x="126" y="311"/>
                  </a:lnTo>
                  <a:lnTo>
                    <a:pt x="126" y="289"/>
                  </a:lnTo>
                  <a:lnTo>
                    <a:pt x="140" y="289"/>
                  </a:lnTo>
                  <a:lnTo>
                    <a:pt x="148" y="275"/>
                  </a:lnTo>
                  <a:lnTo>
                    <a:pt x="163" y="275"/>
                  </a:lnTo>
                  <a:lnTo>
                    <a:pt x="171" y="267"/>
                  </a:lnTo>
                  <a:lnTo>
                    <a:pt x="163" y="249"/>
                  </a:lnTo>
                  <a:lnTo>
                    <a:pt x="148" y="239"/>
                  </a:lnTo>
                  <a:lnTo>
                    <a:pt x="144" y="245"/>
                  </a:lnTo>
                  <a:lnTo>
                    <a:pt x="130" y="245"/>
                  </a:lnTo>
                  <a:lnTo>
                    <a:pt x="120" y="233"/>
                  </a:lnTo>
                  <a:lnTo>
                    <a:pt x="110" y="223"/>
                  </a:lnTo>
                  <a:lnTo>
                    <a:pt x="102" y="215"/>
                  </a:lnTo>
                  <a:lnTo>
                    <a:pt x="96" y="203"/>
                  </a:lnTo>
                  <a:lnTo>
                    <a:pt x="96" y="191"/>
                  </a:lnTo>
                  <a:lnTo>
                    <a:pt x="104" y="187"/>
                  </a:lnTo>
                  <a:lnTo>
                    <a:pt x="114" y="197"/>
                  </a:lnTo>
                  <a:lnTo>
                    <a:pt x="120" y="203"/>
                  </a:lnTo>
                  <a:lnTo>
                    <a:pt x="128" y="215"/>
                  </a:lnTo>
                  <a:lnTo>
                    <a:pt x="144" y="219"/>
                  </a:lnTo>
                  <a:lnTo>
                    <a:pt x="150" y="217"/>
                  </a:lnTo>
                  <a:lnTo>
                    <a:pt x="169" y="221"/>
                  </a:lnTo>
                  <a:lnTo>
                    <a:pt x="173" y="237"/>
                  </a:lnTo>
                  <a:lnTo>
                    <a:pt x="185" y="243"/>
                  </a:lnTo>
                  <a:lnTo>
                    <a:pt x="193" y="251"/>
                  </a:lnTo>
                  <a:lnTo>
                    <a:pt x="201" y="257"/>
                  </a:lnTo>
                  <a:lnTo>
                    <a:pt x="201" y="275"/>
                  </a:lnTo>
                  <a:lnTo>
                    <a:pt x="201" y="275"/>
                  </a:lnTo>
                  <a:close/>
                </a:path>
              </a:pathLst>
            </a:custGeom>
            <a:grpFill/>
            <a:ln w="3175" cmpd="sng">
              <a:solidFill>
                <a:srgbClr val="394A5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4" name="Freeform 217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 rot="698053">
              <a:off x="3179936" y="3370219"/>
              <a:ext cx="135213" cy="90607"/>
            </a:xfrm>
            <a:custGeom>
              <a:avLst/>
              <a:gdLst>
                <a:gd name="T0" fmla="*/ 0 w 178"/>
                <a:gd name="T1" fmla="*/ 28 h 122"/>
                <a:gd name="T2" fmla="*/ 16 w 178"/>
                <a:gd name="T3" fmla="*/ 22 h 122"/>
                <a:gd name="T4" fmla="*/ 32 w 178"/>
                <a:gd name="T5" fmla="*/ 6 h 122"/>
                <a:gd name="T6" fmla="*/ 46 w 178"/>
                <a:gd name="T7" fmla="*/ 8 h 122"/>
                <a:gd name="T8" fmla="*/ 64 w 178"/>
                <a:gd name="T9" fmla="*/ 0 h 122"/>
                <a:gd name="T10" fmla="*/ 84 w 178"/>
                <a:gd name="T11" fmla="*/ 6 h 122"/>
                <a:gd name="T12" fmla="*/ 106 w 178"/>
                <a:gd name="T13" fmla="*/ 12 h 122"/>
                <a:gd name="T14" fmla="*/ 110 w 178"/>
                <a:gd name="T15" fmla="*/ 28 h 122"/>
                <a:gd name="T16" fmla="*/ 134 w 178"/>
                <a:gd name="T17" fmla="*/ 52 h 122"/>
                <a:gd name="T18" fmla="*/ 154 w 178"/>
                <a:gd name="T19" fmla="*/ 48 h 122"/>
                <a:gd name="T20" fmla="*/ 164 w 178"/>
                <a:gd name="T21" fmla="*/ 58 h 122"/>
                <a:gd name="T22" fmla="*/ 178 w 178"/>
                <a:gd name="T23" fmla="*/ 68 h 122"/>
                <a:gd name="T24" fmla="*/ 172 w 178"/>
                <a:gd name="T25" fmla="*/ 78 h 122"/>
                <a:gd name="T26" fmla="*/ 162 w 178"/>
                <a:gd name="T27" fmla="*/ 88 h 122"/>
                <a:gd name="T28" fmla="*/ 162 w 178"/>
                <a:gd name="T29" fmla="*/ 104 h 122"/>
                <a:gd name="T30" fmla="*/ 152 w 178"/>
                <a:gd name="T31" fmla="*/ 112 h 122"/>
                <a:gd name="T32" fmla="*/ 128 w 178"/>
                <a:gd name="T33" fmla="*/ 114 h 122"/>
                <a:gd name="T34" fmla="*/ 120 w 178"/>
                <a:gd name="T35" fmla="*/ 122 h 122"/>
                <a:gd name="T36" fmla="*/ 108 w 178"/>
                <a:gd name="T37" fmla="*/ 112 h 122"/>
                <a:gd name="T38" fmla="*/ 90 w 178"/>
                <a:gd name="T39" fmla="*/ 112 h 122"/>
                <a:gd name="T40" fmla="*/ 78 w 178"/>
                <a:gd name="T41" fmla="*/ 118 h 122"/>
                <a:gd name="T42" fmla="*/ 66 w 178"/>
                <a:gd name="T43" fmla="*/ 116 h 122"/>
                <a:gd name="T44" fmla="*/ 48 w 178"/>
                <a:gd name="T45" fmla="*/ 122 h 122"/>
                <a:gd name="T46" fmla="*/ 30 w 178"/>
                <a:gd name="T47" fmla="*/ 104 h 122"/>
                <a:gd name="T48" fmla="*/ 36 w 178"/>
                <a:gd name="T49" fmla="*/ 78 h 122"/>
                <a:gd name="T50" fmla="*/ 12 w 178"/>
                <a:gd name="T51" fmla="*/ 60 h 122"/>
                <a:gd name="T52" fmla="*/ 0 w 178"/>
                <a:gd name="T53" fmla="*/ 2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8" h="122">
                  <a:moveTo>
                    <a:pt x="0" y="28"/>
                  </a:moveTo>
                  <a:lnTo>
                    <a:pt x="16" y="22"/>
                  </a:lnTo>
                  <a:lnTo>
                    <a:pt x="32" y="6"/>
                  </a:lnTo>
                  <a:lnTo>
                    <a:pt x="46" y="8"/>
                  </a:lnTo>
                  <a:lnTo>
                    <a:pt x="64" y="0"/>
                  </a:lnTo>
                  <a:lnTo>
                    <a:pt x="84" y="6"/>
                  </a:lnTo>
                  <a:lnTo>
                    <a:pt x="106" y="12"/>
                  </a:lnTo>
                  <a:lnTo>
                    <a:pt x="110" y="28"/>
                  </a:lnTo>
                  <a:lnTo>
                    <a:pt x="134" y="52"/>
                  </a:lnTo>
                  <a:lnTo>
                    <a:pt x="154" y="48"/>
                  </a:lnTo>
                  <a:lnTo>
                    <a:pt x="164" y="58"/>
                  </a:lnTo>
                  <a:lnTo>
                    <a:pt x="178" y="68"/>
                  </a:lnTo>
                  <a:lnTo>
                    <a:pt x="172" y="78"/>
                  </a:lnTo>
                  <a:lnTo>
                    <a:pt x="162" y="88"/>
                  </a:lnTo>
                  <a:lnTo>
                    <a:pt x="162" y="104"/>
                  </a:lnTo>
                  <a:lnTo>
                    <a:pt x="152" y="112"/>
                  </a:lnTo>
                  <a:lnTo>
                    <a:pt x="128" y="114"/>
                  </a:lnTo>
                  <a:lnTo>
                    <a:pt x="120" y="122"/>
                  </a:lnTo>
                  <a:lnTo>
                    <a:pt x="108" y="112"/>
                  </a:lnTo>
                  <a:lnTo>
                    <a:pt x="90" y="112"/>
                  </a:lnTo>
                  <a:lnTo>
                    <a:pt x="78" y="118"/>
                  </a:lnTo>
                  <a:lnTo>
                    <a:pt x="66" y="116"/>
                  </a:lnTo>
                  <a:lnTo>
                    <a:pt x="48" y="122"/>
                  </a:lnTo>
                  <a:lnTo>
                    <a:pt x="30" y="104"/>
                  </a:lnTo>
                  <a:lnTo>
                    <a:pt x="36" y="78"/>
                  </a:lnTo>
                  <a:lnTo>
                    <a:pt x="12" y="60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3175" cmpd="sng">
              <a:solidFill>
                <a:srgbClr val="394A5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5" name="Freeform 25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 rot="698053">
              <a:off x="3127126" y="3112277"/>
              <a:ext cx="94886" cy="143366"/>
            </a:xfrm>
            <a:custGeom>
              <a:avLst/>
              <a:gdLst>
                <a:gd name="T0" fmla="*/ 50 w 123"/>
                <a:gd name="T1" fmla="*/ 28 h 194"/>
                <a:gd name="T2" fmla="*/ 42 w 123"/>
                <a:gd name="T3" fmla="*/ 16 h 194"/>
                <a:gd name="T4" fmla="*/ 26 w 123"/>
                <a:gd name="T5" fmla="*/ 0 h 194"/>
                <a:gd name="T6" fmla="*/ 18 w 123"/>
                <a:gd name="T7" fmla="*/ 4 h 194"/>
                <a:gd name="T8" fmla="*/ 18 w 123"/>
                <a:gd name="T9" fmla="*/ 16 h 194"/>
                <a:gd name="T10" fmla="*/ 24 w 123"/>
                <a:gd name="T11" fmla="*/ 28 h 194"/>
                <a:gd name="T12" fmla="*/ 52 w 123"/>
                <a:gd name="T13" fmla="*/ 58 h 194"/>
                <a:gd name="T14" fmla="*/ 66 w 123"/>
                <a:gd name="T15" fmla="*/ 58 h 194"/>
                <a:gd name="T16" fmla="*/ 70 w 123"/>
                <a:gd name="T17" fmla="*/ 52 h 194"/>
                <a:gd name="T18" fmla="*/ 85 w 123"/>
                <a:gd name="T19" fmla="*/ 62 h 194"/>
                <a:gd name="T20" fmla="*/ 93 w 123"/>
                <a:gd name="T21" fmla="*/ 80 h 194"/>
                <a:gd name="T22" fmla="*/ 85 w 123"/>
                <a:gd name="T23" fmla="*/ 88 h 194"/>
                <a:gd name="T24" fmla="*/ 70 w 123"/>
                <a:gd name="T25" fmla="*/ 88 h 194"/>
                <a:gd name="T26" fmla="*/ 62 w 123"/>
                <a:gd name="T27" fmla="*/ 102 h 194"/>
                <a:gd name="T28" fmla="*/ 48 w 123"/>
                <a:gd name="T29" fmla="*/ 102 h 194"/>
                <a:gd name="T30" fmla="*/ 48 w 123"/>
                <a:gd name="T31" fmla="*/ 124 h 194"/>
                <a:gd name="T32" fmla="*/ 54 w 123"/>
                <a:gd name="T33" fmla="*/ 138 h 194"/>
                <a:gd name="T34" fmla="*/ 50 w 123"/>
                <a:gd name="T35" fmla="*/ 148 h 194"/>
                <a:gd name="T36" fmla="*/ 22 w 123"/>
                <a:gd name="T37" fmla="*/ 148 h 194"/>
                <a:gd name="T38" fmla="*/ 10 w 123"/>
                <a:gd name="T39" fmla="*/ 144 h 194"/>
                <a:gd name="T40" fmla="*/ 0 w 123"/>
                <a:gd name="T41" fmla="*/ 156 h 194"/>
                <a:gd name="T42" fmla="*/ 20 w 123"/>
                <a:gd name="T43" fmla="*/ 180 h 194"/>
                <a:gd name="T44" fmla="*/ 28 w 123"/>
                <a:gd name="T45" fmla="*/ 194 h 194"/>
                <a:gd name="T46" fmla="*/ 34 w 123"/>
                <a:gd name="T47" fmla="*/ 188 h 194"/>
                <a:gd name="T48" fmla="*/ 48 w 123"/>
                <a:gd name="T49" fmla="*/ 186 h 194"/>
                <a:gd name="T50" fmla="*/ 48 w 123"/>
                <a:gd name="T51" fmla="*/ 176 h 194"/>
                <a:gd name="T52" fmla="*/ 56 w 123"/>
                <a:gd name="T53" fmla="*/ 168 h 194"/>
                <a:gd name="T54" fmla="*/ 72 w 123"/>
                <a:gd name="T55" fmla="*/ 152 h 194"/>
                <a:gd name="T56" fmla="*/ 87 w 123"/>
                <a:gd name="T57" fmla="*/ 132 h 194"/>
                <a:gd name="T58" fmla="*/ 99 w 123"/>
                <a:gd name="T59" fmla="*/ 120 h 194"/>
                <a:gd name="T60" fmla="*/ 111 w 123"/>
                <a:gd name="T61" fmla="*/ 116 h 194"/>
                <a:gd name="T62" fmla="*/ 117 w 123"/>
                <a:gd name="T63" fmla="*/ 132 h 194"/>
                <a:gd name="T64" fmla="*/ 123 w 123"/>
                <a:gd name="T65" fmla="*/ 118 h 194"/>
                <a:gd name="T66" fmla="*/ 123 w 123"/>
                <a:gd name="T67" fmla="*/ 88 h 194"/>
                <a:gd name="T68" fmla="*/ 123 w 123"/>
                <a:gd name="T69" fmla="*/ 70 h 194"/>
                <a:gd name="T70" fmla="*/ 115 w 123"/>
                <a:gd name="T71" fmla="*/ 64 h 194"/>
                <a:gd name="T72" fmla="*/ 107 w 123"/>
                <a:gd name="T73" fmla="*/ 56 h 194"/>
                <a:gd name="T74" fmla="*/ 95 w 123"/>
                <a:gd name="T75" fmla="*/ 50 h 194"/>
                <a:gd name="T76" fmla="*/ 91 w 123"/>
                <a:gd name="T77" fmla="*/ 34 h 194"/>
                <a:gd name="T78" fmla="*/ 72 w 123"/>
                <a:gd name="T79" fmla="*/ 30 h 194"/>
                <a:gd name="T80" fmla="*/ 66 w 123"/>
                <a:gd name="T81" fmla="*/ 32 h 194"/>
                <a:gd name="T82" fmla="*/ 50 w 123"/>
                <a:gd name="T83" fmla="*/ 2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3" h="194">
                  <a:moveTo>
                    <a:pt x="50" y="28"/>
                  </a:moveTo>
                  <a:lnTo>
                    <a:pt x="42" y="16"/>
                  </a:lnTo>
                  <a:lnTo>
                    <a:pt x="26" y="0"/>
                  </a:lnTo>
                  <a:lnTo>
                    <a:pt x="18" y="4"/>
                  </a:lnTo>
                  <a:lnTo>
                    <a:pt x="18" y="16"/>
                  </a:lnTo>
                  <a:lnTo>
                    <a:pt x="24" y="28"/>
                  </a:lnTo>
                  <a:lnTo>
                    <a:pt x="52" y="58"/>
                  </a:lnTo>
                  <a:lnTo>
                    <a:pt x="66" y="58"/>
                  </a:lnTo>
                  <a:lnTo>
                    <a:pt x="70" y="52"/>
                  </a:lnTo>
                  <a:lnTo>
                    <a:pt x="85" y="62"/>
                  </a:lnTo>
                  <a:lnTo>
                    <a:pt x="93" y="80"/>
                  </a:lnTo>
                  <a:lnTo>
                    <a:pt x="85" y="88"/>
                  </a:lnTo>
                  <a:lnTo>
                    <a:pt x="70" y="88"/>
                  </a:lnTo>
                  <a:lnTo>
                    <a:pt x="62" y="102"/>
                  </a:lnTo>
                  <a:lnTo>
                    <a:pt x="48" y="102"/>
                  </a:lnTo>
                  <a:lnTo>
                    <a:pt x="48" y="124"/>
                  </a:lnTo>
                  <a:lnTo>
                    <a:pt x="54" y="138"/>
                  </a:lnTo>
                  <a:lnTo>
                    <a:pt x="50" y="148"/>
                  </a:lnTo>
                  <a:lnTo>
                    <a:pt x="22" y="148"/>
                  </a:lnTo>
                  <a:lnTo>
                    <a:pt x="10" y="144"/>
                  </a:lnTo>
                  <a:lnTo>
                    <a:pt x="0" y="156"/>
                  </a:lnTo>
                  <a:lnTo>
                    <a:pt x="20" y="180"/>
                  </a:lnTo>
                  <a:lnTo>
                    <a:pt x="28" y="194"/>
                  </a:lnTo>
                  <a:lnTo>
                    <a:pt x="34" y="188"/>
                  </a:lnTo>
                  <a:lnTo>
                    <a:pt x="48" y="186"/>
                  </a:lnTo>
                  <a:lnTo>
                    <a:pt x="48" y="176"/>
                  </a:lnTo>
                  <a:lnTo>
                    <a:pt x="56" y="168"/>
                  </a:lnTo>
                  <a:lnTo>
                    <a:pt x="72" y="152"/>
                  </a:lnTo>
                  <a:lnTo>
                    <a:pt x="87" y="132"/>
                  </a:lnTo>
                  <a:lnTo>
                    <a:pt x="99" y="120"/>
                  </a:lnTo>
                  <a:lnTo>
                    <a:pt x="111" y="116"/>
                  </a:lnTo>
                  <a:lnTo>
                    <a:pt x="117" y="132"/>
                  </a:lnTo>
                  <a:lnTo>
                    <a:pt x="123" y="118"/>
                  </a:lnTo>
                  <a:lnTo>
                    <a:pt x="123" y="88"/>
                  </a:lnTo>
                  <a:lnTo>
                    <a:pt x="123" y="70"/>
                  </a:lnTo>
                  <a:lnTo>
                    <a:pt x="115" y="64"/>
                  </a:lnTo>
                  <a:lnTo>
                    <a:pt x="107" y="56"/>
                  </a:lnTo>
                  <a:lnTo>
                    <a:pt x="95" y="50"/>
                  </a:lnTo>
                  <a:lnTo>
                    <a:pt x="91" y="34"/>
                  </a:lnTo>
                  <a:lnTo>
                    <a:pt x="72" y="30"/>
                  </a:lnTo>
                  <a:lnTo>
                    <a:pt x="66" y="32"/>
                  </a:lnTo>
                  <a:lnTo>
                    <a:pt x="50" y="28"/>
                  </a:lnTo>
                  <a:close/>
                </a:path>
              </a:pathLst>
            </a:custGeom>
            <a:grpFill/>
            <a:ln w="3175" cmpd="sng">
              <a:solidFill>
                <a:srgbClr val="394A5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3" name="Группа 588"/>
            <p:cNvGrpSpPr/>
            <p:nvPr/>
          </p:nvGrpSpPr>
          <p:grpSpPr>
            <a:xfrm>
              <a:off x="3002649" y="1521274"/>
              <a:ext cx="6515071" cy="3381589"/>
              <a:chOff x="3002649" y="1521274"/>
              <a:chExt cx="6515071" cy="3381589"/>
            </a:xfrm>
            <a:grpFill/>
          </p:grpSpPr>
          <p:sp>
            <p:nvSpPr>
              <p:cNvPr id="107" name="Freeform 163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 rot="698053">
                <a:off x="8498791" y="1561634"/>
                <a:ext cx="62862" cy="112399"/>
              </a:xfrm>
              <a:custGeom>
                <a:avLst/>
                <a:gdLst>
                  <a:gd name="T0" fmla="*/ 62 w 82"/>
                  <a:gd name="T1" fmla="*/ 4 h 152"/>
                  <a:gd name="T2" fmla="*/ 52 w 82"/>
                  <a:gd name="T3" fmla="*/ 0 h 152"/>
                  <a:gd name="T4" fmla="*/ 42 w 82"/>
                  <a:gd name="T5" fmla="*/ 10 h 152"/>
                  <a:gd name="T6" fmla="*/ 22 w 82"/>
                  <a:gd name="T7" fmla="*/ 20 h 152"/>
                  <a:gd name="T8" fmla="*/ 6 w 82"/>
                  <a:gd name="T9" fmla="*/ 38 h 152"/>
                  <a:gd name="T10" fmla="*/ 6 w 82"/>
                  <a:gd name="T11" fmla="*/ 66 h 152"/>
                  <a:gd name="T12" fmla="*/ 0 w 82"/>
                  <a:gd name="T13" fmla="*/ 74 h 152"/>
                  <a:gd name="T14" fmla="*/ 4 w 82"/>
                  <a:gd name="T15" fmla="*/ 96 h 152"/>
                  <a:gd name="T16" fmla="*/ 16 w 82"/>
                  <a:gd name="T17" fmla="*/ 116 h 152"/>
                  <a:gd name="T18" fmla="*/ 30 w 82"/>
                  <a:gd name="T19" fmla="*/ 148 h 152"/>
                  <a:gd name="T20" fmla="*/ 52 w 82"/>
                  <a:gd name="T21" fmla="*/ 152 h 152"/>
                  <a:gd name="T22" fmla="*/ 66 w 82"/>
                  <a:gd name="T23" fmla="*/ 138 h 152"/>
                  <a:gd name="T24" fmla="*/ 76 w 82"/>
                  <a:gd name="T25" fmla="*/ 118 h 152"/>
                  <a:gd name="T26" fmla="*/ 64 w 82"/>
                  <a:gd name="T27" fmla="*/ 104 h 152"/>
                  <a:gd name="T28" fmla="*/ 82 w 82"/>
                  <a:gd name="T29" fmla="*/ 80 h 152"/>
                  <a:gd name="T30" fmla="*/ 80 w 82"/>
                  <a:gd name="T31" fmla="*/ 52 h 152"/>
                  <a:gd name="T32" fmla="*/ 80 w 82"/>
                  <a:gd name="T33" fmla="*/ 18 h 152"/>
                  <a:gd name="T34" fmla="*/ 62 w 82"/>
                  <a:gd name="T35" fmla="*/ 4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2" h="152">
                    <a:moveTo>
                      <a:pt x="62" y="4"/>
                    </a:moveTo>
                    <a:lnTo>
                      <a:pt x="52" y="0"/>
                    </a:lnTo>
                    <a:lnTo>
                      <a:pt x="42" y="10"/>
                    </a:lnTo>
                    <a:lnTo>
                      <a:pt x="22" y="20"/>
                    </a:lnTo>
                    <a:lnTo>
                      <a:pt x="6" y="38"/>
                    </a:lnTo>
                    <a:lnTo>
                      <a:pt x="6" y="66"/>
                    </a:lnTo>
                    <a:lnTo>
                      <a:pt x="0" y="74"/>
                    </a:lnTo>
                    <a:lnTo>
                      <a:pt x="4" y="96"/>
                    </a:lnTo>
                    <a:lnTo>
                      <a:pt x="16" y="116"/>
                    </a:lnTo>
                    <a:lnTo>
                      <a:pt x="30" y="148"/>
                    </a:lnTo>
                    <a:lnTo>
                      <a:pt x="52" y="152"/>
                    </a:lnTo>
                    <a:lnTo>
                      <a:pt x="66" y="138"/>
                    </a:lnTo>
                    <a:lnTo>
                      <a:pt x="76" y="118"/>
                    </a:lnTo>
                    <a:lnTo>
                      <a:pt x="64" y="104"/>
                    </a:lnTo>
                    <a:lnTo>
                      <a:pt x="82" y="80"/>
                    </a:lnTo>
                    <a:lnTo>
                      <a:pt x="80" y="52"/>
                    </a:lnTo>
                    <a:lnTo>
                      <a:pt x="80" y="18"/>
                    </a:lnTo>
                    <a:lnTo>
                      <a:pt x="62" y="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0" name="Freeform 164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 rot="698053">
                <a:off x="3334644" y="1906302"/>
                <a:ext cx="123351" cy="135337"/>
              </a:xfrm>
              <a:custGeom>
                <a:avLst/>
                <a:gdLst>
                  <a:gd name="T0" fmla="*/ 0 w 161"/>
                  <a:gd name="T1" fmla="*/ 14 h 183"/>
                  <a:gd name="T2" fmla="*/ 22 w 161"/>
                  <a:gd name="T3" fmla="*/ 18 h 183"/>
                  <a:gd name="T4" fmla="*/ 38 w 161"/>
                  <a:gd name="T5" fmla="*/ 14 h 183"/>
                  <a:gd name="T6" fmla="*/ 46 w 161"/>
                  <a:gd name="T7" fmla="*/ 0 h 183"/>
                  <a:gd name="T8" fmla="*/ 62 w 161"/>
                  <a:gd name="T9" fmla="*/ 2 h 183"/>
                  <a:gd name="T10" fmla="*/ 76 w 161"/>
                  <a:gd name="T11" fmla="*/ 18 h 183"/>
                  <a:gd name="T12" fmla="*/ 78 w 161"/>
                  <a:gd name="T13" fmla="*/ 38 h 183"/>
                  <a:gd name="T14" fmla="*/ 90 w 161"/>
                  <a:gd name="T15" fmla="*/ 42 h 183"/>
                  <a:gd name="T16" fmla="*/ 92 w 161"/>
                  <a:gd name="T17" fmla="*/ 58 h 183"/>
                  <a:gd name="T18" fmla="*/ 112 w 161"/>
                  <a:gd name="T19" fmla="*/ 62 h 183"/>
                  <a:gd name="T20" fmla="*/ 116 w 161"/>
                  <a:gd name="T21" fmla="*/ 46 h 183"/>
                  <a:gd name="T22" fmla="*/ 106 w 161"/>
                  <a:gd name="T23" fmla="*/ 36 h 183"/>
                  <a:gd name="T24" fmla="*/ 114 w 161"/>
                  <a:gd name="T25" fmla="*/ 26 h 183"/>
                  <a:gd name="T26" fmla="*/ 120 w 161"/>
                  <a:gd name="T27" fmla="*/ 32 h 183"/>
                  <a:gd name="T28" fmla="*/ 138 w 161"/>
                  <a:gd name="T29" fmla="*/ 48 h 183"/>
                  <a:gd name="T30" fmla="*/ 138 w 161"/>
                  <a:gd name="T31" fmla="*/ 70 h 183"/>
                  <a:gd name="T32" fmla="*/ 136 w 161"/>
                  <a:gd name="T33" fmla="*/ 91 h 183"/>
                  <a:gd name="T34" fmla="*/ 147 w 161"/>
                  <a:gd name="T35" fmla="*/ 109 h 183"/>
                  <a:gd name="T36" fmla="*/ 157 w 161"/>
                  <a:gd name="T37" fmla="*/ 117 h 183"/>
                  <a:gd name="T38" fmla="*/ 161 w 161"/>
                  <a:gd name="T39" fmla="*/ 141 h 183"/>
                  <a:gd name="T40" fmla="*/ 153 w 161"/>
                  <a:gd name="T41" fmla="*/ 161 h 183"/>
                  <a:gd name="T42" fmla="*/ 106 w 161"/>
                  <a:gd name="T43" fmla="*/ 183 h 183"/>
                  <a:gd name="T44" fmla="*/ 40 w 161"/>
                  <a:gd name="T45" fmla="*/ 103 h 183"/>
                  <a:gd name="T46" fmla="*/ 0 w 161"/>
                  <a:gd name="T47" fmla="*/ 14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1" h="183">
                    <a:moveTo>
                      <a:pt x="0" y="14"/>
                    </a:moveTo>
                    <a:lnTo>
                      <a:pt x="22" y="18"/>
                    </a:lnTo>
                    <a:lnTo>
                      <a:pt x="38" y="14"/>
                    </a:lnTo>
                    <a:lnTo>
                      <a:pt x="46" y="0"/>
                    </a:lnTo>
                    <a:lnTo>
                      <a:pt x="62" y="2"/>
                    </a:lnTo>
                    <a:lnTo>
                      <a:pt x="76" y="18"/>
                    </a:lnTo>
                    <a:lnTo>
                      <a:pt x="78" y="38"/>
                    </a:lnTo>
                    <a:lnTo>
                      <a:pt x="90" y="42"/>
                    </a:lnTo>
                    <a:lnTo>
                      <a:pt x="92" y="58"/>
                    </a:lnTo>
                    <a:lnTo>
                      <a:pt x="112" y="62"/>
                    </a:lnTo>
                    <a:lnTo>
                      <a:pt x="116" y="46"/>
                    </a:lnTo>
                    <a:lnTo>
                      <a:pt x="106" y="36"/>
                    </a:lnTo>
                    <a:lnTo>
                      <a:pt x="114" y="26"/>
                    </a:lnTo>
                    <a:lnTo>
                      <a:pt x="120" y="32"/>
                    </a:lnTo>
                    <a:lnTo>
                      <a:pt x="138" y="48"/>
                    </a:lnTo>
                    <a:lnTo>
                      <a:pt x="138" y="70"/>
                    </a:lnTo>
                    <a:lnTo>
                      <a:pt x="136" y="91"/>
                    </a:lnTo>
                    <a:lnTo>
                      <a:pt x="147" y="109"/>
                    </a:lnTo>
                    <a:lnTo>
                      <a:pt x="157" y="117"/>
                    </a:lnTo>
                    <a:lnTo>
                      <a:pt x="161" y="141"/>
                    </a:lnTo>
                    <a:lnTo>
                      <a:pt x="153" y="161"/>
                    </a:lnTo>
                    <a:lnTo>
                      <a:pt x="106" y="183"/>
                    </a:lnTo>
                    <a:lnTo>
                      <a:pt x="40" y="103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2" name="Freeform 165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 rot="698053">
                <a:off x="4473314" y="1633525"/>
                <a:ext cx="359381" cy="445007"/>
              </a:xfrm>
              <a:custGeom>
                <a:avLst/>
                <a:gdLst>
                  <a:gd name="T0" fmla="*/ 120 w 471"/>
                  <a:gd name="T1" fmla="*/ 342 h 602"/>
                  <a:gd name="T2" fmla="*/ 116 w 471"/>
                  <a:gd name="T3" fmla="*/ 312 h 602"/>
                  <a:gd name="T4" fmla="*/ 128 w 471"/>
                  <a:gd name="T5" fmla="*/ 300 h 602"/>
                  <a:gd name="T6" fmla="*/ 136 w 471"/>
                  <a:gd name="T7" fmla="*/ 276 h 602"/>
                  <a:gd name="T8" fmla="*/ 156 w 471"/>
                  <a:gd name="T9" fmla="*/ 294 h 602"/>
                  <a:gd name="T10" fmla="*/ 140 w 471"/>
                  <a:gd name="T11" fmla="*/ 310 h 602"/>
                  <a:gd name="T12" fmla="*/ 134 w 471"/>
                  <a:gd name="T13" fmla="*/ 340 h 602"/>
                  <a:gd name="T14" fmla="*/ 152 w 471"/>
                  <a:gd name="T15" fmla="*/ 348 h 602"/>
                  <a:gd name="T16" fmla="*/ 162 w 471"/>
                  <a:gd name="T17" fmla="*/ 398 h 602"/>
                  <a:gd name="T18" fmla="*/ 181 w 471"/>
                  <a:gd name="T19" fmla="*/ 426 h 602"/>
                  <a:gd name="T20" fmla="*/ 189 w 471"/>
                  <a:gd name="T21" fmla="*/ 454 h 602"/>
                  <a:gd name="T22" fmla="*/ 201 w 471"/>
                  <a:gd name="T23" fmla="*/ 482 h 602"/>
                  <a:gd name="T24" fmla="*/ 227 w 471"/>
                  <a:gd name="T25" fmla="*/ 506 h 602"/>
                  <a:gd name="T26" fmla="*/ 227 w 471"/>
                  <a:gd name="T27" fmla="*/ 542 h 602"/>
                  <a:gd name="T28" fmla="*/ 251 w 471"/>
                  <a:gd name="T29" fmla="*/ 568 h 602"/>
                  <a:gd name="T30" fmla="*/ 291 w 471"/>
                  <a:gd name="T31" fmla="*/ 590 h 602"/>
                  <a:gd name="T32" fmla="*/ 327 w 471"/>
                  <a:gd name="T33" fmla="*/ 602 h 602"/>
                  <a:gd name="T34" fmla="*/ 369 w 471"/>
                  <a:gd name="T35" fmla="*/ 594 h 602"/>
                  <a:gd name="T36" fmla="*/ 405 w 471"/>
                  <a:gd name="T37" fmla="*/ 594 h 602"/>
                  <a:gd name="T38" fmla="*/ 441 w 471"/>
                  <a:gd name="T39" fmla="*/ 560 h 602"/>
                  <a:gd name="T40" fmla="*/ 465 w 471"/>
                  <a:gd name="T41" fmla="*/ 518 h 602"/>
                  <a:gd name="T42" fmla="*/ 469 w 471"/>
                  <a:gd name="T43" fmla="*/ 470 h 602"/>
                  <a:gd name="T44" fmla="*/ 471 w 471"/>
                  <a:gd name="T45" fmla="*/ 442 h 602"/>
                  <a:gd name="T46" fmla="*/ 447 w 471"/>
                  <a:gd name="T47" fmla="*/ 418 h 602"/>
                  <a:gd name="T48" fmla="*/ 447 w 471"/>
                  <a:gd name="T49" fmla="*/ 378 h 602"/>
                  <a:gd name="T50" fmla="*/ 439 w 471"/>
                  <a:gd name="T51" fmla="*/ 358 h 602"/>
                  <a:gd name="T52" fmla="*/ 445 w 471"/>
                  <a:gd name="T53" fmla="*/ 326 h 602"/>
                  <a:gd name="T54" fmla="*/ 445 w 471"/>
                  <a:gd name="T55" fmla="*/ 286 h 602"/>
                  <a:gd name="T56" fmla="*/ 435 w 471"/>
                  <a:gd name="T57" fmla="*/ 250 h 602"/>
                  <a:gd name="T58" fmla="*/ 413 w 471"/>
                  <a:gd name="T59" fmla="*/ 228 h 602"/>
                  <a:gd name="T60" fmla="*/ 413 w 471"/>
                  <a:gd name="T61" fmla="*/ 196 h 602"/>
                  <a:gd name="T62" fmla="*/ 393 w 471"/>
                  <a:gd name="T63" fmla="*/ 186 h 602"/>
                  <a:gd name="T64" fmla="*/ 393 w 471"/>
                  <a:gd name="T65" fmla="*/ 158 h 602"/>
                  <a:gd name="T66" fmla="*/ 377 w 471"/>
                  <a:gd name="T67" fmla="*/ 142 h 602"/>
                  <a:gd name="T68" fmla="*/ 353 w 471"/>
                  <a:gd name="T69" fmla="*/ 130 h 602"/>
                  <a:gd name="T70" fmla="*/ 353 w 471"/>
                  <a:gd name="T71" fmla="*/ 104 h 602"/>
                  <a:gd name="T72" fmla="*/ 347 w 471"/>
                  <a:gd name="T73" fmla="*/ 78 h 602"/>
                  <a:gd name="T74" fmla="*/ 361 w 471"/>
                  <a:gd name="T75" fmla="*/ 64 h 602"/>
                  <a:gd name="T76" fmla="*/ 377 w 471"/>
                  <a:gd name="T77" fmla="*/ 80 h 602"/>
                  <a:gd name="T78" fmla="*/ 391 w 471"/>
                  <a:gd name="T79" fmla="*/ 90 h 602"/>
                  <a:gd name="T80" fmla="*/ 385 w 471"/>
                  <a:gd name="T81" fmla="*/ 66 h 602"/>
                  <a:gd name="T82" fmla="*/ 385 w 471"/>
                  <a:gd name="T83" fmla="*/ 44 h 602"/>
                  <a:gd name="T84" fmla="*/ 353 w 471"/>
                  <a:gd name="T85" fmla="*/ 42 h 602"/>
                  <a:gd name="T86" fmla="*/ 329 w 471"/>
                  <a:gd name="T87" fmla="*/ 46 h 602"/>
                  <a:gd name="T88" fmla="*/ 335 w 471"/>
                  <a:gd name="T89" fmla="*/ 18 h 602"/>
                  <a:gd name="T90" fmla="*/ 313 w 471"/>
                  <a:gd name="T91" fmla="*/ 34 h 602"/>
                  <a:gd name="T92" fmla="*/ 293 w 471"/>
                  <a:gd name="T93" fmla="*/ 14 h 602"/>
                  <a:gd name="T94" fmla="*/ 271 w 471"/>
                  <a:gd name="T95" fmla="*/ 14 h 602"/>
                  <a:gd name="T96" fmla="*/ 233 w 471"/>
                  <a:gd name="T97" fmla="*/ 0 h 602"/>
                  <a:gd name="T98" fmla="*/ 177 w 471"/>
                  <a:gd name="T99" fmla="*/ 28 h 602"/>
                  <a:gd name="T100" fmla="*/ 132 w 471"/>
                  <a:gd name="T101" fmla="*/ 50 h 602"/>
                  <a:gd name="T102" fmla="*/ 132 w 471"/>
                  <a:gd name="T103" fmla="*/ 122 h 602"/>
                  <a:gd name="T104" fmla="*/ 112 w 471"/>
                  <a:gd name="T105" fmla="*/ 158 h 602"/>
                  <a:gd name="T106" fmla="*/ 44 w 471"/>
                  <a:gd name="T107" fmla="*/ 158 h 602"/>
                  <a:gd name="T108" fmla="*/ 2 w 471"/>
                  <a:gd name="T109" fmla="*/ 200 h 602"/>
                  <a:gd name="T110" fmla="*/ 0 w 471"/>
                  <a:gd name="T111" fmla="*/ 224 h 602"/>
                  <a:gd name="T112" fmla="*/ 64 w 471"/>
                  <a:gd name="T113" fmla="*/ 282 h 602"/>
                  <a:gd name="T114" fmla="*/ 60 w 471"/>
                  <a:gd name="T115" fmla="*/ 306 h 602"/>
                  <a:gd name="T116" fmla="*/ 54 w 471"/>
                  <a:gd name="T117" fmla="*/ 326 h 602"/>
                  <a:gd name="T118" fmla="*/ 68 w 471"/>
                  <a:gd name="T119" fmla="*/ 340 h 602"/>
                  <a:gd name="T120" fmla="*/ 90 w 471"/>
                  <a:gd name="T121" fmla="*/ 334 h 602"/>
                  <a:gd name="T122" fmla="*/ 104 w 471"/>
                  <a:gd name="T123" fmla="*/ 342 h 602"/>
                  <a:gd name="T124" fmla="*/ 120 w 471"/>
                  <a:gd name="T125" fmla="*/ 342 h 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71" h="602">
                    <a:moveTo>
                      <a:pt x="120" y="342"/>
                    </a:moveTo>
                    <a:lnTo>
                      <a:pt x="116" y="312"/>
                    </a:lnTo>
                    <a:lnTo>
                      <a:pt x="128" y="300"/>
                    </a:lnTo>
                    <a:lnTo>
                      <a:pt x="136" y="276"/>
                    </a:lnTo>
                    <a:lnTo>
                      <a:pt x="156" y="294"/>
                    </a:lnTo>
                    <a:lnTo>
                      <a:pt x="140" y="310"/>
                    </a:lnTo>
                    <a:lnTo>
                      <a:pt x="134" y="340"/>
                    </a:lnTo>
                    <a:lnTo>
                      <a:pt x="152" y="348"/>
                    </a:lnTo>
                    <a:lnTo>
                      <a:pt x="162" y="398"/>
                    </a:lnTo>
                    <a:lnTo>
                      <a:pt x="181" y="426"/>
                    </a:lnTo>
                    <a:lnTo>
                      <a:pt x="189" y="454"/>
                    </a:lnTo>
                    <a:lnTo>
                      <a:pt x="201" y="482"/>
                    </a:lnTo>
                    <a:lnTo>
                      <a:pt x="227" y="506"/>
                    </a:lnTo>
                    <a:lnTo>
                      <a:pt x="227" y="542"/>
                    </a:lnTo>
                    <a:lnTo>
                      <a:pt x="251" y="568"/>
                    </a:lnTo>
                    <a:lnTo>
                      <a:pt x="291" y="590"/>
                    </a:lnTo>
                    <a:lnTo>
                      <a:pt x="327" y="602"/>
                    </a:lnTo>
                    <a:lnTo>
                      <a:pt x="369" y="594"/>
                    </a:lnTo>
                    <a:lnTo>
                      <a:pt x="405" y="594"/>
                    </a:lnTo>
                    <a:lnTo>
                      <a:pt x="441" y="560"/>
                    </a:lnTo>
                    <a:lnTo>
                      <a:pt x="465" y="518"/>
                    </a:lnTo>
                    <a:lnTo>
                      <a:pt x="469" y="470"/>
                    </a:lnTo>
                    <a:lnTo>
                      <a:pt x="471" y="442"/>
                    </a:lnTo>
                    <a:lnTo>
                      <a:pt x="447" y="418"/>
                    </a:lnTo>
                    <a:lnTo>
                      <a:pt x="447" y="378"/>
                    </a:lnTo>
                    <a:lnTo>
                      <a:pt x="439" y="358"/>
                    </a:lnTo>
                    <a:lnTo>
                      <a:pt x="445" y="326"/>
                    </a:lnTo>
                    <a:lnTo>
                      <a:pt x="445" y="286"/>
                    </a:lnTo>
                    <a:lnTo>
                      <a:pt x="435" y="250"/>
                    </a:lnTo>
                    <a:lnTo>
                      <a:pt x="413" y="228"/>
                    </a:lnTo>
                    <a:lnTo>
                      <a:pt x="413" y="196"/>
                    </a:lnTo>
                    <a:lnTo>
                      <a:pt x="393" y="186"/>
                    </a:lnTo>
                    <a:lnTo>
                      <a:pt x="393" y="158"/>
                    </a:lnTo>
                    <a:lnTo>
                      <a:pt x="377" y="142"/>
                    </a:lnTo>
                    <a:lnTo>
                      <a:pt x="353" y="130"/>
                    </a:lnTo>
                    <a:lnTo>
                      <a:pt x="353" y="104"/>
                    </a:lnTo>
                    <a:lnTo>
                      <a:pt x="347" y="78"/>
                    </a:lnTo>
                    <a:lnTo>
                      <a:pt x="361" y="64"/>
                    </a:lnTo>
                    <a:lnTo>
                      <a:pt x="377" y="80"/>
                    </a:lnTo>
                    <a:lnTo>
                      <a:pt x="391" y="90"/>
                    </a:lnTo>
                    <a:lnTo>
                      <a:pt x="385" y="66"/>
                    </a:lnTo>
                    <a:lnTo>
                      <a:pt x="385" y="44"/>
                    </a:lnTo>
                    <a:lnTo>
                      <a:pt x="353" y="42"/>
                    </a:lnTo>
                    <a:lnTo>
                      <a:pt x="329" y="46"/>
                    </a:lnTo>
                    <a:lnTo>
                      <a:pt x="335" y="18"/>
                    </a:lnTo>
                    <a:lnTo>
                      <a:pt x="313" y="34"/>
                    </a:lnTo>
                    <a:lnTo>
                      <a:pt x="293" y="14"/>
                    </a:lnTo>
                    <a:lnTo>
                      <a:pt x="271" y="14"/>
                    </a:lnTo>
                    <a:lnTo>
                      <a:pt x="233" y="0"/>
                    </a:lnTo>
                    <a:lnTo>
                      <a:pt x="177" y="28"/>
                    </a:lnTo>
                    <a:lnTo>
                      <a:pt x="132" y="50"/>
                    </a:lnTo>
                    <a:lnTo>
                      <a:pt x="132" y="122"/>
                    </a:lnTo>
                    <a:lnTo>
                      <a:pt x="112" y="158"/>
                    </a:lnTo>
                    <a:lnTo>
                      <a:pt x="44" y="158"/>
                    </a:lnTo>
                    <a:lnTo>
                      <a:pt x="2" y="200"/>
                    </a:lnTo>
                    <a:lnTo>
                      <a:pt x="0" y="224"/>
                    </a:lnTo>
                    <a:lnTo>
                      <a:pt x="64" y="282"/>
                    </a:lnTo>
                    <a:lnTo>
                      <a:pt x="60" y="306"/>
                    </a:lnTo>
                    <a:lnTo>
                      <a:pt x="54" y="326"/>
                    </a:lnTo>
                    <a:lnTo>
                      <a:pt x="68" y="340"/>
                    </a:lnTo>
                    <a:lnTo>
                      <a:pt x="90" y="334"/>
                    </a:lnTo>
                    <a:lnTo>
                      <a:pt x="104" y="342"/>
                    </a:lnTo>
                    <a:lnTo>
                      <a:pt x="120" y="34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3" name="Freeform 166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 rot="698053">
                <a:off x="3655495" y="1976976"/>
                <a:ext cx="206376" cy="313110"/>
              </a:xfrm>
              <a:custGeom>
                <a:avLst/>
                <a:gdLst>
                  <a:gd name="T0" fmla="*/ 88 w 270"/>
                  <a:gd name="T1" fmla="*/ 402 h 424"/>
                  <a:gd name="T2" fmla="*/ 106 w 270"/>
                  <a:gd name="T3" fmla="*/ 424 h 424"/>
                  <a:gd name="T4" fmla="*/ 114 w 270"/>
                  <a:gd name="T5" fmla="*/ 402 h 424"/>
                  <a:gd name="T6" fmla="*/ 132 w 270"/>
                  <a:gd name="T7" fmla="*/ 402 h 424"/>
                  <a:gd name="T8" fmla="*/ 140 w 270"/>
                  <a:gd name="T9" fmla="*/ 388 h 424"/>
                  <a:gd name="T10" fmla="*/ 148 w 270"/>
                  <a:gd name="T11" fmla="*/ 372 h 424"/>
                  <a:gd name="T12" fmla="*/ 150 w 270"/>
                  <a:gd name="T13" fmla="*/ 344 h 424"/>
                  <a:gd name="T14" fmla="*/ 162 w 270"/>
                  <a:gd name="T15" fmla="*/ 332 h 424"/>
                  <a:gd name="T16" fmla="*/ 164 w 270"/>
                  <a:gd name="T17" fmla="*/ 314 h 424"/>
                  <a:gd name="T18" fmla="*/ 184 w 270"/>
                  <a:gd name="T19" fmla="*/ 298 h 424"/>
                  <a:gd name="T20" fmla="*/ 174 w 270"/>
                  <a:gd name="T21" fmla="*/ 286 h 424"/>
                  <a:gd name="T22" fmla="*/ 184 w 270"/>
                  <a:gd name="T23" fmla="*/ 276 h 424"/>
                  <a:gd name="T24" fmla="*/ 196 w 270"/>
                  <a:gd name="T25" fmla="*/ 270 h 424"/>
                  <a:gd name="T26" fmla="*/ 196 w 270"/>
                  <a:gd name="T27" fmla="*/ 250 h 424"/>
                  <a:gd name="T28" fmla="*/ 208 w 270"/>
                  <a:gd name="T29" fmla="*/ 244 h 424"/>
                  <a:gd name="T30" fmla="*/ 220 w 270"/>
                  <a:gd name="T31" fmla="*/ 232 h 424"/>
                  <a:gd name="T32" fmla="*/ 238 w 270"/>
                  <a:gd name="T33" fmla="*/ 224 h 424"/>
                  <a:gd name="T34" fmla="*/ 244 w 270"/>
                  <a:gd name="T35" fmla="*/ 204 h 424"/>
                  <a:gd name="T36" fmla="*/ 230 w 270"/>
                  <a:gd name="T37" fmla="*/ 194 h 424"/>
                  <a:gd name="T38" fmla="*/ 226 w 270"/>
                  <a:gd name="T39" fmla="*/ 184 h 424"/>
                  <a:gd name="T40" fmla="*/ 236 w 270"/>
                  <a:gd name="T41" fmla="*/ 174 h 424"/>
                  <a:gd name="T42" fmla="*/ 236 w 270"/>
                  <a:gd name="T43" fmla="*/ 156 h 424"/>
                  <a:gd name="T44" fmla="*/ 246 w 270"/>
                  <a:gd name="T45" fmla="*/ 146 h 424"/>
                  <a:gd name="T46" fmla="*/ 268 w 270"/>
                  <a:gd name="T47" fmla="*/ 144 h 424"/>
                  <a:gd name="T48" fmla="*/ 262 w 270"/>
                  <a:gd name="T49" fmla="*/ 118 h 424"/>
                  <a:gd name="T50" fmla="*/ 270 w 270"/>
                  <a:gd name="T51" fmla="*/ 94 h 424"/>
                  <a:gd name="T52" fmla="*/ 262 w 270"/>
                  <a:gd name="T53" fmla="*/ 74 h 424"/>
                  <a:gd name="T54" fmla="*/ 260 w 270"/>
                  <a:gd name="T55" fmla="*/ 56 h 424"/>
                  <a:gd name="T56" fmla="*/ 244 w 270"/>
                  <a:gd name="T57" fmla="*/ 38 h 424"/>
                  <a:gd name="T58" fmla="*/ 252 w 270"/>
                  <a:gd name="T59" fmla="*/ 20 h 424"/>
                  <a:gd name="T60" fmla="*/ 236 w 270"/>
                  <a:gd name="T61" fmla="*/ 2 h 424"/>
                  <a:gd name="T62" fmla="*/ 204 w 270"/>
                  <a:gd name="T63" fmla="*/ 0 h 424"/>
                  <a:gd name="T64" fmla="*/ 182 w 270"/>
                  <a:gd name="T65" fmla="*/ 30 h 424"/>
                  <a:gd name="T66" fmla="*/ 154 w 270"/>
                  <a:gd name="T67" fmla="*/ 42 h 424"/>
                  <a:gd name="T68" fmla="*/ 152 w 270"/>
                  <a:gd name="T69" fmla="*/ 62 h 424"/>
                  <a:gd name="T70" fmla="*/ 138 w 270"/>
                  <a:gd name="T71" fmla="*/ 78 h 424"/>
                  <a:gd name="T72" fmla="*/ 104 w 270"/>
                  <a:gd name="T73" fmla="*/ 80 h 424"/>
                  <a:gd name="T74" fmla="*/ 92 w 270"/>
                  <a:gd name="T75" fmla="*/ 96 h 424"/>
                  <a:gd name="T76" fmla="*/ 92 w 270"/>
                  <a:gd name="T77" fmla="*/ 124 h 424"/>
                  <a:gd name="T78" fmla="*/ 60 w 270"/>
                  <a:gd name="T79" fmla="*/ 144 h 424"/>
                  <a:gd name="T80" fmla="*/ 38 w 270"/>
                  <a:gd name="T81" fmla="*/ 150 h 424"/>
                  <a:gd name="T82" fmla="*/ 44 w 270"/>
                  <a:gd name="T83" fmla="*/ 174 h 424"/>
                  <a:gd name="T84" fmla="*/ 30 w 270"/>
                  <a:gd name="T85" fmla="*/ 200 h 424"/>
                  <a:gd name="T86" fmla="*/ 4 w 270"/>
                  <a:gd name="T87" fmla="*/ 226 h 424"/>
                  <a:gd name="T88" fmla="*/ 0 w 270"/>
                  <a:gd name="T89" fmla="*/ 244 h 424"/>
                  <a:gd name="T90" fmla="*/ 12 w 270"/>
                  <a:gd name="T91" fmla="*/ 270 h 424"/>
                  <a:gd name="T92" fmla="*/ 32 w 270"/>
                  <a:gd name="T93" fmla="*/ 290 h 424"/>
                  <a:gd name="T94" fmla="*/ 24 w 270"/>
                  <a:gd name="T95" fmla="*/ 310 h 424"/>
                  <a:gd name="T96" fmla="*/ 16 w 270"/>
                  <a:gd name="T97" fmla="*/ 330 h 424"/>
                  <a:gd name="T98" fmla="*/ 42 w 270"/>
                  <a:gd name="T99" fmla="*/ 338 h 424"/>
                  <a:gd name="T100" fmla="*/ 64 w 270"/>
                  <a:gd name="T101" fmla="*/ 358 h 424"/>
                  <a:gd name="T102" fmla="*/ 64 w 270"/>
                  <a:gd name="T103" fmla="*/ 404 h 424"/>
                  <a:gd name="T104" fmla="*/ 88 w 270"/>
                  <a:gd name="T105" fmla="*/ 402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70" h="424">
                    <a:moveTo>
                      <a:pt x="88" y="402"/>
                    </a:moveTo>
                    <a:lnTo>
                      <a:pt x="106" y="424"/>
                    </a:lnTo>
                    <a:lnTo>
                      <a:pt x="114" y="402"/>
                    </a:lnTo>
                    <a:lnTo>
                      <a:pt x="132" y="402"/>
                    </a:lnTo>
                    <a:lnTo>
                      <a:pt x="140" y="388"/>
                    </a:lnTo>
                    <a:lnTo>
                      <a:pt x="148" y="372"/>
                    </a:lnTo>
                    <a:lnTo>
                      <a:pt x="150" y="344"/>
                    </a:lnTo>
                    <a:lnTo>
                      <a:pt x="162" y="332"/>
                    </a:lnTo>
                    <a:lnTo>
                      <a:pt x="164" y="314"/>
                    </a:lnTo>
                    <a:lnTo>
                      <a:pt x="184" y="298"/>
                    </a:lnTo>
                    <a:lnTo>
                      <a:pt x="174" y="286"/>
                    </a:lnTo>
                    <a:lnTo>
                      <a:pt x="184" y="276"/>
                    </a:lnTo>
                    <a:lnTo>
                      <a:pt x="196" y="270"/>
                    </a:lnTo>
                    <a:lnTo>
                      <a:pt x="196" y="250"/>
                    </a:lnTo>
                    <a:lnTo>
                      <a:pt x="208" y="244"/>
                    </a:lnTo>
                    <a:lnTo>
                      <a:pt x="220" y="232"/>
                    </a:lnTo>
                    <a:lnTo>
                      <a:pt x="238" y="224"/>
                    </a:lnTo>
                    <a:lnTo>
                      <a:pt x="244" y="204"/>
                    </a:lnTo>
                    <a:lnTo>
                      <a:pt x="230" y="194"/>
                    </a:lnTo>
                    <a:lnTo>
                      <a:pt x="226" y="184"/>
                    </a:lnTo>
                    <a:lnTo>
                      <a:pt x="236" y="174"/>
                    </a:lnTo>
                    <a:lnTo>
                      <a:pt x="236" y="156"/>
                    </a:lnTo>
                    <a:lnTo>
                      <a:pt x="246" y="146"/>
                    </a:lnTo>
                    <a:lnTo>
                      <a:pt x="268" y="144"/>
                    </a:lnTo>
                    <a:lnTo>
                      <a:pt x="262" y="118"/>
                    </a:lnTo>
                    <a:lnTo>
                      <a:pt x="270" y="94"/>
                    </a:lnTo>
                    <a:lnTo>
                      <a:pt x="262" y="74"/>
                    </a:lnTo>
                    <a:lnTo>
                      <a:pt x="260" y="56"/>
                    </a:lnTo>
                    <a:lnTo>
                      <a:pt x="244" y="38"/>
                    </a:lnTo>
                    <a:lnTo>
                      <a:pt x="252" y="20"/>
                    </a:lnTo>
                    <a:lnTo>
                      <a:pt x="236" y="2"/>
                    </a:lnTo>
                    <a:lnTo>
                      <a:pt x="204" y="0"/>
                    </a:lnTo>
                    <a:lnTo>
                      <a:pt x="182" y="30"/>
                    </a:lnTo>
                    <a:lnTo>
                      <a:pt x="154" y="42"/>
                    </a:lnTo>
                    <a:lnTo>
                      <a:pt x="152" y="62"/>
                    </a:lnTo>
                    <a:lnTo>
                      <a:pt x="138" y="78"/>
                    </a:lnTo>
                    <a:lnTo>
                      <a:pt x="104" y="80"/>
                    </a:lnTo>
                    <a:lnTo>
                      <a:pt x="92" y="96"/>
                    </a:lnTo>
                    <a:lnTo>
                      <a:pt x="92" y="124"/>
                    </a:lnTo>
                    <a:lnTo>
                      <a:pt x="60" y="144"/>
                    </a:lnTo>
                    <a:lnTo>
                      <a:pt x="38" y="150"/>
                    </a:lnTo>
                    <a:lnTo>
                      <a:pt x="44" y="174"/>
                    </a:lnTo>
                    <a:lnTo>
                      <a:pt x="30" y="200"/>
                    </a:lnTo>
                    <a:lnTo>
                      <a:pt x="4" y="226"/>
                    </a:lnTo>
                    <a:lnTo>
                      <a:pt x="0" y="244"/>
                    </a:lnTo>
                    <a:lnTo>
                      <a:pt x="12" y="270"/>
                    </a:lnTo>
                    <a:lnTo>
                      <a:pt x="32" y="290"/>
                    </a:lnTo>
                    <a:lnTo>
                      <a:pt x="24" y="310"/>
                    </a:lnTo>
                    <a:lnTo>
                      <a:pt x="16" y="330"/>
                    </a:lnTo>
                    <a:lnTo>
                      <a:pt x="42" y="338"/>
                    </a:lnTo>
                    <a:lnTo>
                      <a:pt x="64" y="358"/>
                    </a:lnTo>
                    <a:lnTo>
                      <a:pt x="64" y="404"/>
                    </a:lnTo>
                    <a:lnTo>
                      <a:pt x="88" y="40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5" name="Freeform 167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 rot="698053">
                <a:off x="3577010" y="2267274"/>
                <a:ext cx="255006" cy="214475"/>
              </a:xfrm>
              <a:custGeom>
                <a:avLst/>
                <a:gdLst>
                  <a:gd name="T0" fmla="*/ 82 w 334"/>
                  <a:gd name="T1" fmla="*/ 24 h 290"/>
                  <a:gd name="T2" fmla="*/ 72 w 334"/>
                  <a:gd name="T3" fmla="*/ 44 h 290"/>
                  <a:gd name="T4" fmla="*/ 46 w 334"/>
                  <a:gd name="T5" fmla="*/ 52 h 290"/>
                  <a:gd name="T6" fmla="*/ 34 w 334"/>
                  <a:gd name="T7" fmla="*/ 80 h 290"/>
                  <a:gd name="T8" fmla="*/ 20 w 334"/>
                  <a:gd name="T9" fmla="*/ 116 h 290"/>
                  <a:gd name="T10" fmla="*/ 12 w 334"/>
                  <a:gd name="T11" fmla="*/ 148 h 290"/>
                  <a:gd name="T12" fmla="*/ 14 w 334"/>
                  <a:gd name="T13" fmla="*/ 170 h 290"/>
                  <a:gd name="T14" fmla="*/ 0 w 334"/>
                  <a:gd name="T15" fmla="*/ 180 h 290"/>
                  <a:gd name="T16" fmla="*/ 20 w 334"/>
                  <a:gd name="T17" fmla="*/ 200 h 290"/>
                  <a:gd name="T18" fmla="*/ 12 w 334"/>
                  <a:gd name="T19" fmla="*/ 228 h 290"/>
                  <a:gd name="T20" fmla="*/ 6 w 334"/>
                  <a:gd name="T21" fmla="*/ 256 h 290"/>
                  <a:gd name="T22" fmla="*/ 26 w 334"/>
                  <a:gd name="T23" fmla="*/ 266 h 290"/>
                  <a:gd name="T24" fmla="*/ 26 w 334"/>
                  <a:gd name="T25" fmla="*/ 290 h 290"/>
                  <a:gd name="T26" fmla="*/ 38 w 334"/>
                  <a:gd name="T27" fmla="*/ 278 h 290"/>
                  <a:gd name="T28" fmla="*/ 52 w 334"/>
                  <a:gd name="T29" fmla="*/ 256 h 290"/>
                  <a:gd name="T30" fmla="*/ 68 w 334"/>
                  <a:gd name="T31" fmla="*/ 256 h 290"/>
                  <a:gd name="T32" fmla="*/ 88 w 334"/>
                  <a:gd name="T33" fmla="*/ 246 h 290"/>
                  <a:gd name="T34" fmla="*/ 106 w 334"/>
                  <a:gd name="T35" fmla="*/ 242 h 290"/>
                  <a:gd name="T36" fmla="*/ 126 w 334"/>
                  <a:gd name="T37" fmla="*/ 224 h 290"/>
                  <a:gd name="T38" fmla="*/ 144 w 334"/>
                  <a:gd name="T39" fmla="*/ 224 h 290"/>
                  <a:gd name="T40" fmla="*/ 158 w 334"/>
                  <a:gd name="T41" fmla="*/ 236 h 290"/>
                  <a:gd name="T42" fmla="*/ 162 w 334"/>
                  <a:gd name="T43" fmla="*/ 252 h 290"/>
                  <a:gd name="T44" fmla="*/ 180 w 334"/>
                  <a:gd name="T45" fmla="*/ 254 h 290"/>
                  <a:gd name="T46" fmla="*/ 188 w 334"/>
                  <a:gd name="T47" fmla="*/ 248 h 290"/>
                  <a:gd name="T48" fmla="*/ 198 w 334"/>
                  <a:gd name="T49" fmla="*/ 252 h 290"/>
                  <a:gd name="T50" fmla="*/ 218 w 334"/>
                  <a:gd name="T51" fmla="*/ 266 h 290"/>
                  <a:gd name="T52" fmla="*/ 232 w 334"/>
                  <a:gd name="T53" fmla="*/ 254 h 290"/>
                  <a:gd name="T54" fmla="*/ 250 w 334"/>
                  <a:gd name="T55" fmla="*/ 254 h 290"/>
                  <a:gd name="T56" fmla="*/ 276 w 334"/>
                  <a:gd name="T57" fmla="*/ 250 h 290"/>
                  <a:gd name="T58" fmla="*/ 284 w 334"/>
                  <a:gd name="T59" fmla="*/ 234 h 290"/>
                  <a:gd name="T60" fmla="*/ 302 w 334"/>
                  <a:gd name="T61" fmla="*/ 216 h 290"/>
                  <a:gd name="T62" fmla="*/ 326 w 334"/>
                  <a:gd name="T63" fmla="*/ 206 h 290"/>
                  <a:gd name="T64" fmla="*/ 334 w 334"/>
                  <a:gd name="T65" fmla="*/ 184 h 290"/>
                  <a:gd name="T66" fmla="*/ 326 w 334"/>
                  <a:gd name="T67" fmla="*/ 170 h 290"/>
                  <a:gd name="T68" fmla="*/ 310 w 334"/>
                  <a:gd name="T69" fmla="*/ 158 h 290"/>
                  <a:gd name="T70" fmla="*/ 300 w 334"/>
                  <a:gd name="T71" fmla="*/ 138 h 290"/>
                  <a:gd name="T72" fmla="*/ 290 w 334"/>
                  <a:gd name="T73" fmla="*/ 128 h 290"/>
                  <a:gd name="T74" fmla="*/ 290 w 334"/>
                  <a:gd name="T75" fmla="*/ 114 h 290"/>
                  <a:gd name="T76" fmla="*/ 268 w 334"/>
                  <a:gd name="T77" fmla="*/ 108 h 290"/>
                  <a:gd name="T78" fmla="*/ 246 w 334"/>
                  <a:gd name="T79" fmla="*/ 114 h 290"/>
                  <a:gd name="T80" fmla="*/ 220 w 334"/>
                  <a:gd name="T81" fmla="*/ 106 h 290"/>
                  <a:gd name="T82" fmla="*/ 208 w 334"/>
                  <a:gd name="T83" fmla="*/ 94 h 290"/>
                  <a:gd name="T84" fmla="*/ 188 w 334"/>
                  <a:gd name="T85" fmla="*/ 82 h 290"/>
                  <a:gd name="T86" fmla="*/ 172 w 334"/>
                  <a:gd name="T87" fmla="*/ 68 h 290"/>
                  <a:gd name="T88" fmla="*/ 168 w 334"/>
                  <a:gd name="T89" fmla="*/ 40 h 290"/>
                  <a:gd name="T90" fmla="*/ 150 w 334"/>
                  <a:gd name="T91" fmla="*/ 30 h 290"/>
                  <a:gd name="T92" fmla="*/ 148 w 334"/>
                  <a:gd name="T93" fmla="*/ 22 h 290"/>
                  <a:gd name="T94" fmla="*/ 130 w 334"/>
                  <a:gd name="T95" fmla="*/ 0 h 290"/>
                  <a:gd name="T96" fmla="*/ 106 w 334"/>
                  <a:gd name="T97" fmla="*/ 2 h 290"/>
                  <a:gd name="T98" fmla="*/ 82 w 334"/>
                  <a:gd name="T99" fmla="*/ 24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34" h="290">
                    <a:moveTo>
                      <a:pt x="82" y="24"/>
                    </a:moveTo>
                    <a:lnTo>
                      <a:pt x="72" y="44"/>
                    </a:lnTo>
                    <a:lnTo>
                      <a:pt x="46" y="52"/>
                    </a:lnTo>
                    <a:lnTo>
                      <a:pt x="34" y="80"/>
                    </a:lnTo>
                    <a:lnTo>
                      <a:pt x="20" y="116"/>
                    </a:lnTo>
                    <a:lnTo>
                      <a:pt x="12" y="148"/>
                    </a:lnTo>
                    <a:lnTo>
                      <a:pt x="14" y="170"/>
                    </a:lnTo>
                    <a:lnTo>
                      <a:pt x="0" y="180"/>
                    </a:lnTo>
                    <a:lnTo>
                      <a:pt x="20" y="200"/>
                    </a:lnTo>
                    <a:lnTo>
                      <a:pt x="12" y="228"/>
                    </a:lnTo>
                    <a:lnTo>
                      <a:pt x="6" y="256"/>
                    </a:lnTo>
                    <a:lnTo>
                      <a:pt x="26" y="266"/>
                    </a:lnTo>
                    <a:lnTo>
                      <a:pt x="26" y="290"/>
                    </a:lnTo>
                    <a:lnTo>
                      <a:pt x="38" y="278"/>
                    </a:lnTo>
                    <a:lnTo>
                      <a:pt x="52" y="256"/>
                    </a:lnTo>
                    <a:lnTo>
                      <a:pt x="68" y="256"/>
                    </a:lnTo>
                    <a:lnTo>
                      <a:pt x="88" y="246"/>
                    </a:lnTo>
                    <a:lnTo>
                      <a:pt x="106" y="242"/>
                    </a:lnTo>
                    <a:lnTo>
                      <a:pt x="126" y="224"/>
                    </a:lnTo>
                    <a:lnTo>
                      <a:pt x="144" y="224"/>
                    </a:lnTo>
                    <a:lnTo>
                      <a:pt x="158" y="236"/>
                    </a:lnTo>
                    <a:lnTo>
                      <a:pt x="162" y="252"/>
                    </a:lnTo>
                    <a:lnTo>
                      <a:pt x="180" y="254"/>
                    </a:lnTo>
                    <a:lnTo>
                      <a:pt x="188" y="248"/>
                    </a:lnTo>
                    <a:lnTo>
                      <a:pt x="198" y="252"/>
                    </a:lnTo>
                    <a:lnTo>
                      <a:pt x="218" y="266"/>
                    </a:lnTo>
                    <a:lnTo>
                      <a:pt x="232" y="254"/>
                    </a:lnTo>
                    <a:lnTo>
                      <a:pt x="250" y="254"/>
                    </a:lnTo>
                    <a:lnTo>
                      <a:pt x="276" y="250"/>
                    </a:lnTo>
                    <a:lnTo>
                      <a:pt x="284" y="234"/>
                    </a:lnTo>
                    <a:lnTo>
                      <a:pt x="302" y="216"/>
                    </a:lnTo>
                    <a:lnTo>
                      <a:pt x="326" y="206"/>
                    </a:lnTo>
                    <a:lnTo>
                      <a:pt x="334" y="184"/>
                    </a:lnTo>
                    <a:lnTo>
                      <a:pt x="326" y="170"/>
                    </a:lnTo>
                    <a:lnTo>
                      <a:pt x="310" y="158"/>
                    </a:lnTo>
                    <a:lnTo>
                      <a:pt x="300" y="138"/>
                    </a:lnTo>
                    <a:lnTo>
                      <a:pt x="290" y="128"/>
                    </a:lnTo>
                    <a:lnTo>
                      <a:pt x="290" y="114"/>
                    </a:lnTo>
                    <a:lnTo>
                      <a:pt x="268" y="108"/>
                    </a:lnTo>
                    <a:lnTo>
                      <a:pt x="246" y="114"/>
                    </a:lnTo>
                    <a:lnTo>
                      <a:pt x="220" y="106"/>
                    </a:lnTo>
                    <a:lnTo>
                      <a:pt x="208" y="94"/>
                    </a:lnTo>
                    <a:lnTo>
                      <a:pt x="188" y="82"/>
                    </a:lnTo>
                    <a:lnTo>
                      <a:pt x="172" y="68"/>
                    </a:lnTo>
                    <a:lnTo>
                      <a:pt x="168" y="40"/>
                    </a:lnTo>
                    <a:lnTo>
                      <a:pt x="150" y="30"/>
                    </a:lnTo>
                    <a:lnTo>
                      <a:pt x="148" y="22"/>
                    </a:lnTo>
                    <a:lnTo>
                      <a:pt x="130" y="0"/>
                    </a:lnTo>
                    <a:lnTo>
                      <a:pt x="106" y="2"/>
                    </a:lnTo>
                    <a:lnTo>
                      <a:pt x="82" y="2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6" name="Freeform 168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 rot="698053">
                <a:off x="3002649" y="2830007"/>
                <a:ext cx="186397" cy="178873"/>
              </a:xfrm>
              <a:custGeom>
                <a:avLst/>
                <a:gdLst>
                  <a:gd name="T0" fmla="*/ 130 w 260"/>
                  <a:gd name="T1" fmla="*/ 46 h 247"/>
                  <a:gd name="T2" fmla="*/ 104 w 260"/>
                  <a:gd name="T3" fmla="*/ 36 h 247"/>
                  <a:gd name="T4" fmla="*/ 96 w 260"/>
                  <a:gd name="T5" fmla="*/ 16 h 247"/>
                  <a:gd name="T6" fmla="*/ 80 w 260"/>
                  <a:gd name="T7" fmla="*/ 0 h 247"/>
                  <a:gd name="T8" fmla="*/ 60 w 260"/>
                  <a:gd name="T9" fmla="*/ 2 h 247"/>
                  <a:gd name="T10" fmla="*/ 54 w 260"/>
                  <a:gd name="T11" fmla="*/ 26 h 247"/>
                  <a:gd name="T12" fmla="*/ 36 w 260"/>
                  <a:gd name="T13" fmla="*/ 46 h 247"/>
                  <a:gd name="T14" fmla="*/ 12 w 260"/>
                  <a:gd name="T15" fmla="*/ 70 h 247"/>
                  <a:gd name="T16" fmla="*/ 0 w 260"/>
                  <a:gd name="T17" fmla="*/ 92 h 247"/>
                  <a:gd name="T18" fmla="*/ 12 w 260"/>
                  <a:gd name="T19" fmla="*/ 112 h 247"/>
                  <a:gd name="T20" fmla="*/ 26 w 260"/>
                  <a:gd name="T21" fmla="*/ 126 h 247"/>
                  <a:gd name="T22" fmla="*/ 44 w 260"/>
                  <a:gd name="T23" fmla="*/ 110 h 247"/>
                  <a:gd name="T24" fmla="*/ 56 w 260"/>
                  <a:gd name="T25" fmla="*/ 128 h 247"/>
                  <a:gd name="T26" fmla="*/ 70 w 260"/>
                  <a:gd name="T27" fmla="*/ 144 h 247"/>
                  <a:gd name="T28" fmla="*/ 90 w 260"/>
                  <a:gd name="T29" fmla="*/ 146 h 247"/>
                  <a:gd name="T30" fmla="*/ 104 w 260"/>
                  <a:gd name="T31" fmla="*/ 162 h 247"/>
                  <a:gd name="T32" fmla="*/ 116 w 260"/>
                  <a:gd name="T33" fmla="*/ 189 h 247"/>
                  <a:gd name="T34" fmla="*/ 112 w 260"/>
                  <a:gd name="T35" fmla="*/ 211 h 247"/>
                  <a:gd name="T36" fmla="*/ 104 w 260"/>
                  <a:gd name="T37" fmla="*/ 247 h 247"/>
                  <a:gd name="T38" fmla="*/ 118 w 260"/>
                  <a:gd name="T39" fmla="*/ 247 h 247"/>
                  <a:gd name="T40" fmla="*/ 128 w 260"/>
                  <a:gd name="T41" fmla="*/ 233 h 247"/>
                  <a:gd name="T42" fmla="*/ 146 w 260"/>
                  <a:gd name="T43" fmla="*/ 227 h 247"/>
                  <a:gd name="T44" fmla="*/ 158 w 260"/>
                  <a:gd name="T45" fmla="*/ 235 h 247"/>
                  <a:gd name="T46" fmla="*/ 174 w 260"/>
                  <a:gd name="T47" fmla="*/ 235 h 247"/>
                  <a:gd name="T48" fmla="*/ 190 w 260"/>
                  <a:gd name="T49" fmla="*/ 221 h 247"/>
                  <a:gd name="T50" fmla="*/ 204 w 260"/>
                  <a:gd name="T51" fmla="*/ 221 h 247"/>
                  <a:gd name="T52" fmla="*/ 206 w 260"/>
                  <a:gd name="T53" fmla="*/ 209 h 247"/>
                  <a:gd name="T54" fmla="*/ 202 w 260"/>
                  <a:gd name="T55" fmla="*/ 197 h 247"/>
                  <a:gd name="T56" fmla="*/ 216 w 260"/>
                  <a:gd name="T57" fmla="*/ 193 h 247"/>
                  <a:gd name="T58" fmla="*/ 230 w 260"/>
                  <a:gd name="T59" fmla="*/ 193 h 247"/>
                  <a:gd name="T60" fmla="*/ 242 w 260"/>
                  <a:gd name="T61" fmla="*/ 203 h 247"/>
                  <a:gd name="T62" fmla="*/ 248 w 260"/>
                  <a:gd name="T63" fmla="*/ 197 h 247"/>
                  <a:gd name="T64" fmla="*/ 252 w 260"/>
                  <a:gd name="T65" fmla="*/ 179 h 247"/>
                  <a:gd name="T66" fmla="*/ 260 w 260"/>
                  <a:gd name="T67" fmla="*/ 170 h 247"/>
                  <a:gd name="T68" fmla="*/ 258 w 260"/>
                  <a:gd name="T69" fmla="*/ 150 h 247"/>
                  <a:gd name="T70" fmla="*/ 246 w 260"/>
                  <a:gd name="T71" fmla="*/ 138 h 247"/>
                  <a:gd name="T72" fmla="*/ 246 w 260"/>
                  <a:gd name="T73" fmla="*/ 122 h 247"/>
                  <a:gd name="T74" fmla="*/ 256 w 260"/>
                  <a:gd name="T75" fmla="*/ 112 h 247"/>
                  <a:gd name="T76" fmla="*/ 256 w 260"/>
                  <a:gd name="T77" fmla="*/ 92 h 247"/>
                  <a:gd name="T78" fmla="*/ 260 w 260"/>
                  <a:gd name="T79" fmla="*/ 72 h 247"/>
                  <a:gd name="T80" fmla="*/ 250 w 260"/>
                  <a:gd name="T81" fmla="*/ 62 h 247"/>
                  <a:gd name="T82" fmla="*/ 252 w 260"/>
                  <a:gd name="T83" fmla="*/ 48 h 247"/>
                  <a:gd name="T84" fmla="*/ 238 w 260"/>
                  <a:gd name="T85" fmla="*/ 28 h 247"/>
                  <a:gd name="T86" fmla="*/ 218 w 260"/>
                  <a:gd name="T87" fmla="*/ 38 h 247"/>
                  <a:gd name="T88" fmla="*/ 202 w 260"/>
                  <a:gd name="T89" fmla="*/ 38 h 247"/>
                  <a:gd name="T90" fmla="*/ 188 w 260"/>
                  <a:gd name="T91" fmla="*/ 60 h 247"/>
                  <a:gd name="T92" fmla="*/ 176 w 260"/>
                  <a:gd name="T93" fmla="*/ 72 h 247"/>
                  <a:gd name="T94" fmla="*/ 176 w 260"/>
                  <a:gd name="T95" fmla="*/ 48 h 247"/>
                  <a:gd name="T96" fmla="*/ 156 w 260"/>
                  <a:gd name="T97" fmla="*/ 38 h 247"/>
                  <a:gd name="T98" fmla="*/ 130 w 260"/>
                  <a:gd name="T99" fmla="*/ 46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60" h="247">
                    <a:moveTo>
                      <a:pt x="130" y="46"/>
                    </a:moveTo>
                    <a:lnTo>
                      <a:pt x="104" y="36"/>
                    </a:lnTo>
                    <a:lnTo>
                      <a:pt x="96" y="16"/>
                    </a:lnTo>
                    <a:lnTo>
                      <a:pt x="80" y="0"/>
                    </a:lnTo>
                    <a:lnTo>
                      <a:pt x="60" y="2"/>
                    </a:lnTo>
                    <a:lnTo>
                      <a:pt x="54" y="26"/>
                    </a:lnTo>
                    <a:lnTo>
                      <a:pt x="36" y="46"/>
                    </a:lnTo>
                    <a:lnTo>
                      <a:pt x="12" y="70"/>
                    </a:lnTo>
                    <a:lnTo>
                      <a:pt x="0" y="92"/>
                    </a:lnTo>
                    <a:lnTo>
                      <a:pt x="12" y="112"/>
                    </a:lnTo>
                    <a:lnTo>
                      <a:pt x="26" y="126"/>
                    </a:lnTo>
                    <a:lnTo>
                      <a:pt x="44" y="110"/>
                    </a:lnTo>
                    <a:lnTo>
                      <a:pt x="56" y="128"/>
                    </a:lnTo>
                    <a:lnTo>
                      <a:pt x="70" y="144"/>
                    </a:lnTo>
                    <a:lnTo>
                      <a:pt x="90" y="146"/>
                    </a:lnTo>
                    <a:lnTo>
                      <a:pt x="104" y="162"/>
                    </a:lnTo>
                    <a:lnTo>
                      <a:pt x="116" y="189"/>
                    </a:lnTo>
                    <a:lnTo>
                      <a:pt x="112" y="211"/>
                    </a:lnTo>
                    <a:lnTo>
                      <a:pt x="104" y="247"/>
                    </a:lnTo>
                    <a:lnTo>
                      <a:pt x="118" y="247"/>
                    </a:lnTo>
                    <a:lnTo>
                      <a:pt x="128" y="233"/>
                    </a:lnTo>
                    <a:lnTo>
                      <a:pt x="146" y="227"/>
                    </a:lnTo>
                    <a:lnTo>
                      <a:pt x="158" y="235"/>
                    </a:lnTo>
                    <a:lnTo>
                      <a:pt x="174" y="235"/>
                    </a:lnTo>
                    <a:lnTo>
                      <a:pt x="190" y="221"/>
                    </a:lnTo>
                    <a:lnTo>
                      <a:pt x="204" y="221"/>
                    </a:lnTo>
                    <a:lnTo>
                      <a:pt x="206" y="209"/>
                    </a:lnTo>
                    <a:lnTo>
                      <a:pt x="202" y="197"/>
                    </a:lnTo>
                    <a:lnTo>
                      <a:pt x="216" y="193"/>
                    </a:lnTo>
                    <a:lnTo>
                      <a:pt x="230" y="193"/>
                    </a:lnTo>
                    <a:lnTo>
                      <a:pt x="242" y="203"/>
                    </a:lnTo>
                    <a:lnTo>
                      <a:pt x="248" y="197"/>
                    </a:lnTo>
                    <a:lnTo>
                      <a:pt x="252" y="179"/>
                    </a:lnTo>
                    <a:lnTo>
                      <a:pt x="260" y="170"/>
                    </a:lnTo>
                    <a:lnTo>
                      <a:pt x="258" y="150"/>
                    </a:lnTo>
                    <a:lnTo>
                      <a:pt x="246" y="138"/>
                    </a:lnTo>
                    <a:lnTo>
                      <a:pt x="246" y="122"/>
                    </a:lnTo>
                    <a:lnTo>
                      <a:pt x="256" y="112"/>
                    </a:lnTo>
                    <a:lnTo>
                      <a:pt x="256" y="92"/>
                    </a:lnTo>
                    <a:lnTo>
                      <a:pt x="260" y="72"/>
                    </a:lnTo>
                    <a:lnTo>
                      <a:pt x="250" y="62"/>
                    </a:lnTo>
                    <a:lnTo>
                      <a:pt x="252" y="48"/>
                    </a:lnTo>
                    <a:lnTo>
                      <a:pt x="238" y="28"/>
                    </a:lnTo>
                    <a:lnTo>
                      <a:pt x="218" y="38"/>
                    </a:lnTo>
                    <a:lnTo>
                      <a:pt x="202" y="38"/>
                    </a:lnTo>
                    <a:lnTo>
                      <a:pt x="188" y="60"/>
                    </a:lnTo>
                    <a:lnTo>
                      <a:pt x="176" y="72"/>
                    </a:lnTo>
                    <a:lnTo>
                      <a:pt x="176" y="48"/>
                    </a:lnTo>
                    <a:lnTo>
                      <a:pt x="156" y="38"/>
                    </a:lnTo>
                    <a:lnTo>
                      <a:pt x="130" y="4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17" name="Freeform 169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 rot="698053">
                <a:off x="3445485" y="2568744"/>
                <a:ext cx="206376" cy="193831"/>
              </a:xfrm>
              <a:custGeom>
                <a:avLst/>
                <a:gdLst>
                  <a:gd name="T0" fmla="*/ 30 w 270"/>
                  <a:gd name="T1" fmla="*/ 138 h 262"/>
                  <a:gd name="T2" fmla="*/ 30 w 270"/>
                  <a:gd name="T3" fmla="*/ 110 h 262"/>
                  <a:gd name="T4" fmla="*/ 14 w 270"/>
                  <a:gd name="T5" fmla="*/ 84 h 262"/>
                  <a:gd name="T6" fmla="*/ 0 w 270"/>
                  <a:gd name="T7" fmla="*/ 60 h 262"/>
                  <a:gd name="T8" fmla="*/ 14 w 270"/>
                  <a:gd name="T9" fmla="*/ 50 h 262"/>
                  <a:gd name="T10" fmla="*/ 22 w 270"/>
                  <a:gd name="T11" fmla="*/ 30 h 262"/>
                  <a:gd name="T12" fmla="*/ 38 w 270"/>
                  <a:gd name="T13" fmla="*/ 30 h 262"/>
                  <a:gd name="T14" fmla="*/ 50 w 270"/>
                  <a:gd name="T15" fmla="*/ 20 h 262"/>
                  <a:gd name="T16" fmla="*/ 64 w 270"/>
                  <a:gd name="T17" fmla="*/ 20 h 262"/>
                  <a:gd name="T18" fmla="*/ 74 w 270"/>
                  <a:gd name="T19" fmla="*/ 6 h 262"/>
                  <a:gd name="T20" fmla="*/ 92 w 270"/>
                  <a:gd name="T21" fmla="*/ 0 h 262"/>
                  <a:gd name="T22" fmla="*/ 104 w 270"/>
                  <a:gd name="T23" fmla="*/ 8 h 262"/>
                  <a:gd name="T24" fmla="*/ 120 w 270"/>
                  <a:gd name="T25" fmla="*/ 8 h 262"/>
                  <a:gd name="T26" fmla="*/ 128 w 270"/>
                  <a:gd name="T27" fmla="*/ 20 h 262"/>
                  <a:gd name="T28" fmla="*/ 142 w 270"/>
                  <a:gd name="T29" fmla="*/ 26 h 262"/>
                  <a:gd name="T30" fmla="*/ 152 w 270"/>
                  <a:gd name="T31" fmla="*/ 34 h 262"/>
                  <a:gd name="T32" fmla="*/ 152 w 270"/>
                  <a:gd name="T33" fmla="*/ 56 h 262"/>
                  <a:gd name="T34" fmla="*/ 168 w 270"/>
                  <a:gd name="T35" fmla="*/ 60 h 262"/>
                  <a:gd name="T36" fmla="*/ 172 w 270"/>
                  <a:gd name="T37" fmla="*/ 72 h 262"/>
                  <a:gd name="T38" fmla="*/ 186 w 270"/>
                  <a:gd name="T39" fmla="*/ 78 h 262"/>
                  <a:gd name="T40" fmla="*/ 190 w 270"/>
                  <a:gd name="T41" fmla="*/ 108 h 262"/>
                  <a:gd name="T42" fmla="*/ 204 w 270"/>
                  <a:gd name="T43" fmla="*/ 132 h 262"/>
                  <a:gd name="T44" fmla="*/ 208 w 270"/>
                  <a:gd name="T45" fmla="*/ 164 h 262"/>
                  <a:gd name="T46" fmla="*/ 224 w 270"/>
                  <a:gd name="T47" fmla="*/ 166 h 262"/>
                  <a:gd name="T48" fmla="*/ 234 w 270"/>
                  <a:gd name="T49" fmla="*/ 176 h 262"/>
                  <a:gd name="T50" fmla="*/ 234 w 270"/>
                  <a:gd name="T51" fmla="*/ 200 h 262"/>
                  <a:gd name="T52" fmla="*/ 252 w 270"/>
                  <a:gd name="T53" fmla="*/ 202 h 262"/>
                  <a:gd name="T54" fmla="*/ 270 w 270"/>
                  <a:gd name="T55" fmla="*/ 214 h 262"/>
                  <a:gd name="T56" fmla="*/ 254 w 270"/>
                  <a:gd name="T57" fmla="*/ 230 h 262"/>
                  <a:gd name="T58" fmla="*/ 234 w 270"/>
                  <a:gd name="T59" fmla="*/ 224 h 262"/>
                  <a:gd name="T60" fmla="*/ 220 w 270"/>
                  <a:gd name="T61" fmla="*/ 236 h 262"/>
                  <a:gd name="T62" fmla="*/ 220 w 270"/>
                  <a:gd name="T63" fmla="*/ 256 h 262"/>
                  <a:gd name="T64" fmla="*/ 206 w 270"/>
                  <a:gd name="T65" fmla="*/ 262 h 262"/>
                  <a:gd name="T66" fmla="*/ 200 w 270"/>
                  <a:gd name="T67" fmla="*/ 242 h 262"/>
                  <a:gd name="T68" fmla="*/ 180 w 270"/>
                  <a:gd name="T69" fmla="*/ 222 h 262"/>
                  <a:gd name="T70" fmla="*/ 150 w 270"/>
                  <a:gd name="T71" fmla="*/ 202 h 262"/>
                  <a:gd name="T72" fmla="*/ 132 w 270"/>
                  <a:gd name="T73" fmla="*/ 206 h 262"/>
                  <a:gd name="T74" fmla="*/ 94 w 270"/>
                  <a:gd name="T75" fmla="*/ 200 h 262"/>
                  <a:gd name="T76" fmla="*/ 94 w 270"/>
                  <a:gd name="T77" fmla="*/ 184 h 262"/>
                  <a:gd name="T78" fmla="*/ 76 w 270"/>
                  <a:gd name="T79" fmla="*/ 164 h 262"/>
                  <a:gd name="T80" fmla="*/ 66 w 270"/>
                  <a:gd name="T81" fmla="*/ 174 h 262"/>
                  <a:gd name="T82" fmla="*/ 44 w 270"/>
                  <a:gd name="T83" fmla="*/ 174 h 262"/>
                  <a:gd name="T84" fmla="*/ 16 w 270"/>
                  <a:gd name="T85" fmla="*/ 168 h 262"/>
                  <a:gd name="T86" fmla="*/ 30 w 270"/>
                  <a:gd name="T87" fmla="*/ 138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0" h="262">
                    <a:moveTo>
                      <a:pt x="30" y="138"/>
                    </a:moveTo>
                    <a:lnTo>
                      <a:pt x="30" y="110"/>
                    </a:lnTo>
                    <a:lnTo>
                      <a:pt x="14" y="84"/>
                    </a:lnTo>
                    <a:lnTo>
                      <a:pt x="0" y="60"/>
                    </a:lnTo>
                    <a:lnTo>
                      <a:pt x="14" y="50"/>
                    </a:lnTo>
                    <a:lnTo>
                      <a:pt x="22" y="30"/>
                    </a:lnTo>
                    <a:lnTo>
                      <a:pt x="38" y="30"/>
                    </a:lnTo>
                    <a:lnTo>
                      <a:pt x="50" y="20"/>
                    </a:lnTo>
                    <a:lnTo>
                      <a:pt x="64" y="20"/>
                    </a:lnTo>
                    <a:lnTo>
                      <a:pt x="74" y="6"/>
                    </a:lnTo>
                    <a:lnTo>
                      <a:pt x="92" y="0"/>
                    </a:lnTo>
                    <a:lnTo>
                      <a:pt x="104" y="8"/>
                    </a:lnTo>
                    <a:lnTo>
                      <a:pt x="120" y="8"/>
                    </a:lnTo>
                    <a:lnTo>
                      <a:pt x="128" y="20"/>
                    </a:lnTo>
                    <a:lnTo>
                      <a:pt x="142" y="26"/>
                    </a:lnTo>
                    <a:lnTo>
                      <a:pt x="152" y="34"/>
                    </a:lnTo>
                    <a:lnTo>
                      <a:pt x="152" y="56"/>
                    </a:lnTo>
                    <a:lnTo>
                      <a:pt x="168" y="60"/>
                    </a:lnTo>
                    <a:lnTo>
                      <a:pt x="172" y="72"/>
                    </a:lnTo>
                    <a:lnTo>
                      <a:pt x="186" y="78"/>
                    </a:lnTo>
                    <a:lnTo>
                      <a:pt x="190" y="108"/>
                    </a:lnTo>
                    <a:lnTo>
                      <a:pt x="204" y="132"/>
                    </a:lnTo>
                    <a:lnTo>
                      <a:pt x="208" y="164"/>
                    </a:lnTo>
                    <a:lnTo>
                      <a:pt x="224" y="166"/>
                    </a:lnTo>
                    <a:lnTo>
                      <a:pt x="234" y="176"/>
                    </a:lnTo>
                    <a:lnTo>
                      <a:pt x="234" y="200"/>
                    </a:lnTo>
                    <a:lnTo>
                      <a:pt x="252" y="202"/>
                    </a:lnTo>
                    <a:lnTo>
                      <a:pt x="270" y="214"/>
                    </a:lnTo>
                    <a:lnTo>
                      <a:pt x="254" y="230"/>
                    </a:lnTo>
                    <a:lnTo>
                      <a:pt x="234" y="224"/>
                    </a:lnTo>
                    <a:lnTo>
                      <a:pt x="220" y="236"/>
                    </a:lnTo>
                    <a:lnTo>
                      <a:pt x="220" y="256"/>
                    </a:lnTo>
                    <a:lnTo>
                      <a:pt x="206" y="262"/>
                    </a:lnTo>
                    <a:lnTo>
                      <a:pt x="200" y="242"/>
                    </a:lnTo>
                    <a:lnTo>
                      <a:pt x="180" y="222"/>
                    </a:lnTo>
                    <a:lnTo>
                      <a:pt x="150" y="202"/>
                    </a:lnTo>
                    <a:lnTo>
                      <a:pt x="132" y="206"/>
                    </a:lnTo>
                    <a:lnTo>
                      <a:pt x="94" y="200"/>
                    </a:lnTo>
                    <a:lnTo>
                      <a:pt x="94" y="184"/>
                    </a:lnTo>
                    <a:lnTo>
                      <a:pt x="76" y="164"/>
                    </a:lnTo>
                    <a:lnTo>
                      <a:pt x="66" y="174"/>
                    </a:lnTo>
                    <a:lnTo>
                      <a:pt x="44" y="174"/>
                    </a:lnTo>
                    <a:lnTo>
                      <a:pt x="16" y="168"/>
                    </a:lnTo>
                    <a:lnTo>
                      <a:pt x="30" y="13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4" name="Freeform 170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 rot="698053">
                <a:off x="3421321" y="2683148"/>
                <a:ext cx="166051" cy="199565"/>
              </a:xfrm>
              <a:custGeom>
                <a:avLst/>
                <a:gdLst>
                  <a:gd name="T0" fmla="*/ 140 w 218"/>
                  <a:gd name="T1" fmla="*/ 266 h 270"/>
                  <a:gd name="T2" fmla="*/ 132 w 218"/>
                  <a:gd name="T3" fmla="*/ 236 h 270"/>
                  <a:gd name="T4" fmla="*/ 112 w 218"/>
                  <a:gd name="T5" fmla="*/ 224 h 270"/>
                  <a:gd name="T6" fmla="*/ 92 w 218"/>
                  <a:gd name="T7" fmla="*/ 200 h 270"/>
                  <a:gd name="T8" fmla="*/ 100 w 218"/>
                  <a:gd name="T9" fmla="*/ 172 h 270"/>
                  <a:gd name="T10" fmla="*/ 92 w 218"/>
                  <a:gd name="T11" fmla="*/ 130 h 270"/>
                  <a:gd name="T12" fmla="*/ 66 w 218"/>
                  <a:gd name="T13" fmla="*/ 112 h 270"/>
                  <a:gd name="T14" fmla="*/ 36 w 218"/>
                  <a:gd name="T15" fmla="*/ 88 h 270"/>
                  <a:gd name="T16" fmla="*/ 28 w 218"/>
                  <a:gd name="T17" fmla="*/ 58 h 270"/>
                  <a:gd name="T18" fmla="*/ 8 w 218"/>
                  <a:gd name="T19" fmla="*/ 42 h 270"/>
                  <a:gd name="T20" fmla="*/ 0 w 218"/>
                  <a:gd name="T21" fmla="*/ 24 h 270"/>
                  <a:gd name="T22" fmla="*/ 18 w 218"/>
                  <a:gd name="T23" fmla="*/ 4 h 270"/>
                  <a:gd name="T24" fmla="*/ 46 w 218"/>
                  <a:gd name="T25" fmla="*/ 10 h 270"/>
                  <a:gd name="T26" fmla="*/ 68 w 218"/>
                  <a:gd name="T27" fmla="*/ 10 h 270"/>
                  <a:gd name="T28" fmla="*/ 78 w 218"/>
                  <a:gd name="T29" fmla="*/ 0 h 270"/>
                  <a:gd name="T30" fmla="*/ 96 w 218"/>
                  <a:gd name="T31" fmla="*/ 20 h 270"/>
                  <a:gd name="T32" fmla="*/ 96 w 218"/>
                  <a:gd name="T33" fmla="*/ 36 h 270"/>
                  <a:gd name="T34" fmla="*/ 134 w 218"/>
                  <a:gd name="T35" fmla="*/ 42 h 270"/>
                  <a:gd name="T36" fmla="*/ 152 w 218"/>
                  <a:gd name="T37" fmla="*/ 38 h 270"/>
                  <a:gd name="T38" fmla="*/ 182 w 218"/>
                  <a:gd name="T39" fmla="*/ 58 h 270"/>
                  <a:gd name="T40" fmla="*/ 202 w 218"/>
                  <a:gd name="T41" fmla="*/ 78 h 270"/>
                  <a:gd name="T42" fmla="*/ 208 w 218"/>
                  <a:gd name="T43" fmla="*/ 98 h 270"/>
                  <a:gd name="T44" fmla="*/ 214 w 218"/>
                  <a:gd name="T45" fmla="*/ 116 h 270"/>
                  <a:gd name="T46" fmla="*/ 202 w 218"/>
                  <a:gd name="T47" fmla="*/ 126 h 270"/>
                  <a:gd name="T48" fmla="*/ 218 w 218"/>
                  <a:gd name="T49" fmla="*/ 142 h 270"/>
                  <a:gd name="T50" fmla="*/ 208 w 218"/>
                  <a:gd name="T51" fmla="*/ 162 h 270"/>
                  <a:gd name="T52" fmla="*/ 194 w 218"/>
                  <a:gd name="T53" fmla="*/ 162 h 270"/>
                  <a:gd name="T54" fmla="*/ 194 w 218"/>
                  <a:gd name="T55" fmla="*/ 188 h 270"/>
                  <a:gd name="T56" fmla="*/ 200 w 218"/>
                  <a:gd name="T57" fmla="*/ 208 h 270"/>
                  <a:gd name="T58" fmla="*/ 180 w 218"/>
                  <a:gd name="T59" fmla="*/ 218 h 270"/>
                  <a:gd name="T60" fmla="*/ 180 w 218"/>
                  <a:gd name="T61" fmla="*/ 240 h 270"/>
                  <a:gd name="T62" fmla="*/ 164 w 218"/>
                  <a:gd name="T63" fmla="*/ 242 h 270"/>
                  <a:gd name="T64" fmla="*/ 168 w 218"/>
                  <a:gd name="T65" fmla="*/ 258 h 270"/>
                  <a:gd name="T66" fmla="*/ 144 w 218"/>
                  <a:gd name="T67" fmla="*/ 270 h 270"/>
                  <a:gd name="T68" fmla="*/ 140 w 218"/>
                  <a:gd name="T69" fmla="*/ 26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8" h="270">
                    <a:moveTo>
                      <a:pt x="140" y="266"/>
                    </a:moveTo>
                    <a:lnTo>
                      <a:pt x="132" y="236"/>
                    </a:lnTo>
                    <a:lnTo>
                      <a:pt x="112" y="224"/>
                    </a:lnTo>
                    <a:lnTo>
                      <a:pt x="92" y="200"/>
                    </a:lnTo>
                    <a:lnTo>
                      <a:pt x="100" y="172"/>
                    </a:lnTo>
                    <a:lnTo>
                      <a:pt x="92" y="130"/>
                    </a:lnTo>
                    <a:lnTo>
                      <a:pt x="66" y="112"/>
                    </a:lnTo>
                    <a:lnTo>
                      <a:pt x="36" y="88"/>
                    </a:lnTo>
                    <a:lnTo>
                      <a:pt x="28" y="58"/>
                    </a:lnTo>
                    <a:lnTo>
                      <a:pt x="8" y="42"/>
                    </a:lnTo>
                    <a:lnTo>
                      <a:pt x="0" y="24"/>
                    </a:lnTo>
                    <a:lnTo>
                      <a:pt x="18" y="4"/>
                    </a:lnTo>
                    <a:lnTo>
                      <a:pt x="46" y="10"/>
                    </a:lnTo>
                    <a:lnTo>
                      <a:pt x="68" y="10"/>
                    </a:lnTo>
                    <a:lnTo>
                      <a:pt x="78" y="0"/>
                    </a:lnTo>
                    <a:lnTo>
                      <a:pt x="96" y="20"/>
                    </a:lnTo>
                    <a:lnTo>
                      <a:pt x="96" y="36"/>
                    </a:lnTo>
                    <a:lnTo>
                      <a:pt x="134" y="42"/>
                    </a:lnTo>
                    <a:lnTo>
                      <a:pt x="152" y="38"/>
                    </a:lnTo>
                    <a:lnTo>
                      <a:pt x="182" y="58"/>
                    </a:lnTo>
                    <a:lnTo>
                      <a:pt x="202" y="78"/>
                    </a:lnTo>
                    <a:lnTo>
                      <a:pt x="208" y="98"/>
                    </a:lnTo>
                    <a:lnTo>
                      <a:pt x="214" y="116"/>
                    </a:lnTo>
                    <a:lnTo>
                      <a:pt x="202" y="126"/>
                    </a:lnTo>
                    <a:lnTo>
                      <a:pt x="218" y="142"/>
                    </a:lnTo>
                    <a:lnTo>
                      <a:pt x="208" y="162"/>
                    </a:lnTo>
                    <a:lnTo>
                      <a:pt x="194" y="162"/>
                    </a:lnTo>
                    <a:lnTo>
                      <a:pt x="194" y="188"/>
                    </a:lnTo>
                    <a:lnTo>
                      <a:pt x="200" y="208"/>
                    </a:lnTo>
                    <a:lnTo>
                      <a:pt x="180" y="218"/>
                    </a:lnTo>
                    <a:lnTo>
                      <a:pt x="180" y="240"/>
                    </a:lnTo>
                    <a:lnTo>
                      <a:pt x="164" y="242"/>
                    </a:lnTo>
                    <a:lnTo>
                      <a:pt x="168" y="258"/>
                    </a:lnTo>
                    <a:lnTo>
                      <a:pt x="144" y="270"/>
                    </a:lnTo>
                    <a:lnTo>
                      <a:pt x="140" y="26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5" name="Freeform 171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 rot="698053">
                <a:off x="3517069" y="2751540"/>
                <a:ext cx="251448" cy="235120"/>
              </a:xfrm>
              <a:custGeom>
                <a:avLst/>
                <a:gdLst>
                  <a:gd name="T0" fmla="*/ 0 w 328"/>
                  <a:gd name="T1" fmla="*/ 220 h 318"/>
                  <a:gd name="T2" fmla="*/ 24 w 328"/>
                  <a:gd name="T3" fmla="*/ 208 h 318"/>
                  <a:gd name="T4" fmla="*/ 20 w 328"/>
                  <a:gd name="T5" fmla="*/ 192 h 318"/>
                  <a:gd name="T6" fmla="*/ 36 w 328"/>
                  <a:gd name="T7" fmla="*/ 190 h 318"/>
                  <a:gd name="T8" fmla="*/ 36 w 328"/>
                  <a:gd name="T9" fmla="*/ 168 h 318"/>
                  <a:gd name="T10" fmla="*/ 56 w 328"/>
                  <a:gd name="T11" fmla="*/ 158 h 318"/>
                  <a:gd name="T12" fmla="*/ 50 w 328"/>
                  <a:gd name="T13" fmla="*/ 138 h 318"/>
                  <a:gd name="T14" fmla="*/ 50 w 328"/>
                  <a:gd name="T15" fmla="*/ 112 h 318"/>
                  <a:gd name="T16" fmla="*/ 64 w 328"/>
                  <a:gd name="T17" fmla="*/ 112 h 318"/>
                  <a:gd name="T18" fmla="*/ 74 w 328"/>
                  <a:gd name="T19" fmla="*/ 92 h 318"/>
                  <a:gd name="T20" fmla="*/ 66 w 328"/>
                  <a:gd name="T21" fmla="*/ 82 h 318"/>
                  <a:gd name="T22" fmla="*/ 58 w 328"/>
                  <a:gd name="T23" fmla="*/ 76 h 318"/>
                  <a:gd name="T24" fmla="*/ 70 w 328"/>
                  <a:gd name="T25" fmla="*/ 66 h 318"/>
                  <a:gd name="T26" fmla="*/ 64 w 328"/>
                  <a:gd name="T27" fmla="*/ 48 h 318"/>
                  <a:gd name="T28" fmla="*/ 78 w 328"/>
                  <a:gd name="T29" fmla="*/ 42 h 318"/>
                  <a:gd name="T30" fmla="*/ 78 w 328"/>
                  <a:gd name="T31" fmla="*/ 22 h 318"/>
                  <a:gd name="T32" fmla="*/ 92 w 328"/>
                  <a:gd name="T33" fmla="*/ 10 h 318"/>
                  <a:gd name="T34" fmla="*/ 112 w 328"/>
                  <a:gd name="T35" fmla="*/ 16 h 318"/>
                  <a:gd name="T36" fmla="*/ 128 w 328"/>
                  <a:gd name="T37" fmla="*/ 0 h 318"/>
                  <a:gd name="T38" fmla="*/ 152 w 328"/>
                  <a:gd name="T39" fmla="*/ 4 h 318"/>
                  <a:gd name="T40" fmla="*/ 162 w 328"/>
                  <a:gd name="T41" fmla="*/ 24 h 318"/>
                  <a:gd name="T42" fmla="*/ 186 w 328"/>
                  <a:gd name="T43" fmla="*/ 32 h 318"/>
                  <a:gd name="T44" fmla="*/ 180 w 328"/>
                  <a:gd name="T45" fmla="*/ 56 h 318"/>
                  <a:gd name="T46" fmla="*/ 196 w 328"/>
                  <a:gd name="T47" fmla="*/ 72 h 318"/>
                  <a:gd name="T48" fmla="*/ 218 w 328"/>
                  <a:gd name="T49" fmla="*/ 74 h 318"/>
                  <a:gd name="T50" fmla="*/ 236 w 328"/>
                  <a:gd name="T51" fmla="*/ 100 h 318"/>
                  <a:gd name="T52" fmla="*/ 250 w 328"/>
                  <a:gd name="T53" fmla="*/ 114 h 318"/>
                  <a:gd name="T54" fmla="*/ 244 w 328"/>
                  <a:gd name="T55" fmla="*/ 134 h 318"/>
                  <a:gd name="T56" fmla="*/ 258 w 328"/>
                  <a:gd name="T57" fmla="*/ 150 h 318"/>
                  <a:gd name="T58" fmla="*/ 284 w 328"/>
                  <a:gd name="T59" fmla="*/ 160 h 318"/>
                  <a:gd name="T60" fmla="*/ 292 w 328"/>
                  <a:gd name="T61" fmla="*/ 178 h 318"/>
                  <a:gd name="T62" fmla="*/ 308 w 328"/>
                  <a:gd name="T63" fmla="*/ 194 h 318"/>
                  <a:gd name="T64" fmla="*/ 316 w 328"/>
                  <a:gd name="T65" fmla="*/ 220 h 318"/>
                  <a:gd name="T66" fmla="*/ 328 w 328"/>
                  <a:gd name="T67" fmla="*/ 246 h 318"/>
                  <a:gd name="T68" fmla="*/ 318 w 328"/>
                  <a:gd name="T69" fmla="*/ 256 h 318"/>
                  <a:gd name="T70" fmla="*/ 290 w 328"/>
                  <a:gd name="T71" fmla="*/ 256 h 318"/>
                  <a:gd name="T72" fmla="*/ 270 w 328"/>
                  <a:gd name="T73" fmla="*/ 246 h 318"/>
                  <a:gd name="T74" fmla="*/ 266 w 328"/>
                  <a:gd name="T75" fmla="*/ 230 h 318"/>
                  <a:gd name="T76" fmla="*/ 246 w 328"/>
                  <a:gd name="T77" fmla="*/ 226 h 318"/>
                  <a:gd name="T78" fmla="*/ 228 w 328"/>
                  <a:gd name="T79" fmla="*/ 244 h 318"/>
                  <a:gd name="T80" fmla="*/ 190 w 328"/>
                  <a:gd name="T81" fmla="*/ 244 h 318"/>
                  <a:gd name="T82" fmla="*/ 180 w 328"/>
                  <a:gd name="T83" fmla="*/ 276 h 318"/>
                  <a:gd name="T84" fmla="*/ 148 w 328"/>
                  <a:gd name="T85" fmla="*/ 306 h 318"/>
                  <a:gd name="T86" fmla="*/ 114 w 328"/>
                  <a:gd name="T87" fmla="*/ 306 h 318"/>
                  <a:gd name="T88" fmla="*/ 102 w 328"/>
                  <a:gd name="T89" fmla="*/ 318 h 318"/>
                  <a:gd name="T90" fmla="*/ 84 w 328"/>
                  <a:gd name="T91" fmla="*/ 318 h 318"/>
                  <a:gd name="T92" fmla="*/ 74 w 328"/>
                  <a:gd name="T93" fmla="*/ 306 h 318"/>
                  <a:gd name="T94" fmla="*/ 50 w 328"/>
                  <a:gd name="T95" fmla="*/ 306 h 318"/>
                  <a:gd name="T96" fmla="*/ 50 w 328"/>
                  <a:gd name="T97" fmla="*/ 288 h 318"/>
                  <a:gd name="T98" fmla="*/ 40 w 328"/>
                  <a:gd name="T99" fmla="*/ 278 h 318"/>
                  <a:gd name="T100" fmla="*/ 18 w 328"/>
                  <a:gd name="T101" fmla="*/ 268 h 318"/>
                  <a:gd name="T102" fmla="*/ 18 w 328"/>
                  <a:gd name="T103" fmla="*/ 240 h 318"/>
                  <a:gd name="T104" fmla="*/ 0 w 328"/>
                  <a:gd name="T105" fmla="*/ 22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28" h="318">
                    <a:moveTo>
                      <a:pt x="0" y="220"/>
                    </a:moveTo>
                    <a:lnTo>
                      <a:pt x="24" y="208"/>
                    </a:lnTo>
                    <a:lnTo>
                      <a:pt x="20" y="192"/>
                    </a:lnTo>
                    <a:lnTo>
                      <a:pt x="36" y="190"/>
                    </a:lnTo>
                    <a:lnTo>
                      <a:pt x="36" y="168"/>
                    </a:lnTo>
                    <a:lnTo>
                      <a:pt x="56" y="158"/>
                    </a:lnTo>
                    <a:lnTo>
                      <a:pt x="50" y="138"/>
                    </a:lnTo>
                    <a:lnTo>
                      <a:pt x="50" y="112"/>
                    </a:lnTo>
                    <a:lnTo>
                      <a:pt x="64" y="112"/>
                    </a:lnTo>
                    <a:lnTo>
                      <a:pt x="74" y="92"/>
                    </a:lnTo>
                    <a:lnTo>
                      <a:pt x="66" y="82"/>
                    </a:lnTo>
                    <a:lnTo>
                      <a:pt x="58" y="76"/>
                    </a:lnTo>
                    <a:lnTo>
                      <a:pt x="70" y="66"/>
                    </a:lnTo>
                    <a:lnTo>
                      <a:pt x="64" y="48"/>
                    </a:lnTo>
                    <a:lnTo>
                      <a:pt x="78" y="42"/>
                    </a:lnTo>
                    <a:lnTo>
                      <a:pt x="78" y="22"/>
                    </a:lnTo>
                    <a:lnTo>
                      <a:pt x="92" y="10"/>
                    </a:lnTo>
                    <a:lnTo>
                      <a:pt x="112" y="16"/>
                    </a:lnTo>
                    <a:lnTo>
                      <a:pt x="128" y="0"/>
                    </a:lnTo>
                    <a:lnTo>
                      <a:pt x="152" y="4"/>
                    </a:lnTo>
                    <a:lnTo>
                      <a:pt x="162" y="24"/>
                    </a:lnTo>
                    <a:lnTo>
                      <a:pt x="186" y="32"/>
                    </a:lnTo>
                    <a:lnTo>
                      <a:pt x="180" y="56"/>
                    </a:lnTo>
                    <a:lnTo>
                      <a:pt x="196" y="72"/>
                    </a:lnTo>
                    <a:lnTo>
                      <a:pt x="218" y="74"/>
                    </a:lnTo>
                    <a:lnTo>
                      <a:pt x="236" y="100"/>
                    </a:lnTo>
                    <a:lnTo>
                      <a:pt x="250" y="114"/>
                    </a:lnTo>
                    <a:lnTo>
                      <a:pt x="244" y="134"/>
                    </a:lnTo>
                    <a:lnTo>
                      <a:pt x="258" y="150"/>
                    </a:lnTo>
                    <a:lnTo>
                      <a:pt x="284" y="160"/>
                    </a:lnTo>
                    <a:lnTo>
                      <a:pt x="292" y="178"/>
                    </a:lnTo>
                    <a:lnTo>
                      <a:pt x="308" y="194"/>
                    </a:lnTo>
                    <a:lnTo>
                      <a:pt x="316" y="220"/>
                    </a:lnTo>
                    <a:lnTo>
                      <a:pt x="328" y="246"/>
                    </a:lnTo>
                    <a:lnTo>
                      <a:pt x="318" y="256"/>
                    </a:lnTo>
                    <a:lnTo>
                      <a:pt x="290" y="256"/>
                    </a:lnTo>
                    <a:lnTo>
                      <a:pt x="270" y="246"/>
                    </a:lnTo>
                    <a:lnTo>
                      <a:pt x="266" y="230"/>
                    </a:lnTo>
                    <a:lnTo>
                      <a:pt x="246" y="226"/>
                    </a:lnTo>
                    <a:lnTo>
                      <a:pt x="228" y="244"/>
                    </a:lnTo>
                    <a:lnTo>
                      <a:pt x="190" y="244"/>
                    </a:lnTo>
                    <a:lnTo>
                      <a:pt x="180" y="276"/>
                    </a:lnTo>
                    <a:lnTo>
                      <a:pt x="148" y="306"/>
                    </a:lnTo>
                    <a:lnTo>
                      <a:pt x="114" y="306"/>
                    </a:lnTo>
                    <a:lnTo>
                      <a:pt x="102" y="318"/>
                    </a:lnTo>
                    <a:lnTo>
                      <a:pt x="84" y="318"/>
                    </a:lnTo>
                    <a:lnTo>
                      <a:pt x="74" y="306"/>
                    </a:lnTo>
                    <a:lnTo>
                      <a:pt x="50" y="306"/>
                    </a:lnTo>
                    <a:lnTo>
                      <a:pt x="50" y="288"/>
                    </a:lnTo>
                    <a:lnTo>
                      <a:pt x="40" y="278"/>
                    </a:lnTo>
                    <a:lnTo>
                      <a:pt x="18" y="268"/>
                    </a:lnTo>
                    <a:lnTo>
                      <a:pt x="18" y="240"/>
                    </a:lnTo>
                    <a:lnTo>
                      <a:pt x="0" y="22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9" name="Freeform 173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 rot="698053">
                <a:off x="3204551" y="3434709"/>
                <a:ext cx="118608" cy="103223"/>
              </a:xfrm>
              <a:custGeom>
                <a:avLst/>
                <a:gdLst>
                  <a:gd name="T0" fmla="*/ 0 w 156"/>
                  <a:gd name="T1" fmla="*/ 44 h 140"/>
                  <a:gd name="T2" fmla="*/ 6 w 156"/>
                  <a:gd name="T3" fmla="*/ 86 h 140"/>
                  <a:gd name="T4" fmla="*/ 24 w 156"/>
                  <a:gd name="T5" fmla="*/ 106 h 140"/>
                  <a:gd name="T6" fmla="*/ 54 w 156"/>
                  <a:gd name="T7" fmla="*/ 110 h 140"/>
                  <a:gd name="T8" fmla="*/ 70 w 156"/>
                  <a:gd name="T9" fmla="*/ 126 h 140"/>
                  <a:gd name="T10" fmla="*/ 76 w 156"/>
                  <a:gd name="T11" fmla="*/ 140 h 140"/>
                  <a:gd name="T12" fmla="*/ 88 w 156"/>
                  <a:gd name="T13" fmla="*/ 118 h 140"/>
                  <a:gd name="T14" fmla="*/ 108 w 156"/>
                  <a:gd name="T15" fmla="*/ 118 h 140"/>
                  <a:gd name="T16" fmla="*/ 110 w 156"/>
                  <a:gd name="T17" fmla="*/ 104 h 140"/>
                  <a:gd name="T18" fmla="*/ 104 w 156"/>
                  <a:gd name="T19" fmla="*/ 84 h 140"/>
                  <a:gd name="T20" fmla="*/ 110 w 156"/>
                  <a:gd name="T21" fmla="*/ 52 h 140"/>
                  <a:gd name="T22" fmla="*/ 128 w 156"/>
                  <a:gd name="T23" fmla="*/ 46 h 140"/>
                  <a:gd name="T24" fmla="*/ 156 w 156"/>
                  <a:gd name="T25" fmla="*/ 46 h 140"/>
                  <a:gd name="T26" fmla="*/ 150 w 156"/>
                  <a:gd name="T27" fmla="*/ 24 h 140"/>
                  <a:gd name="T28" fmla="*/ 124 w 156"/>
                  <a:gd name="T29" fmla="*/ 0 h 140"/>
                  <a:gd name="T30" fmla="*/ 114 w 156"/>
                  <a:gd name="T31" fmla="*/ 10 h 140"/>
                  <a:gd name="T32" fmla="*/ 114 w 156"/>
                  <a:gd name="T33" fmla="*/ 26 h 140"/>
                  <a:gd name="T34" fmla="*/ 104 w 156"/>
                  <a:gd name="T35" fmla="*/ 34 h 140"/>
                  <a:gd name="T36" fmla="*/ 80 w 156"/>
                  <a:gd name="T37" fmla="*/ 36 h 140"/>
                  <a:gd name="T38" fmla="*/ 72 w 156"/>
                  <a:gd name="T39" fmla="*/ 44 h 140"/>
                  <a:gd name="T40" fmla="*/ 60 w 156"/>
                  <a:gd name="T41" fmla="*/ 34 h 140"/>
                  <a:gd name="T42" fmla="*/ 42 w 156"/>
                  <a:gd name="T43" fmla="*/ 34 h 140"/>
                  <a:gd name="T44" fmla="*/ 30 w 156"/>
                  <a:gd name="T45" fmla="*/ 40 h 140"/>
                  <a:gd name="T46" fmla="*/ 18 w 156"/>
                  <a:gd name="T47" fmla="*/ 38 h 140"/>
                  <a:gd name="T48" fmla="*/ 0 w 156"/>
                  <a:gd name="T49" fmla="*/ 44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6" h="140">
                    <a:moveTo>
                      <a:pt x="0" y="44"/>
                    </a:moveTo>
                    <a:lnTo>
                      <a:pt x="6" y="86"/>
                    </a:lnTo>
                    <a:lnTo>
                      <a:pt x="24" y="106"/>
                    </a:lnTo>
                    <a:lnTo>
                      <a:pt x="54" y="110"/>
                    </a:lnTo>
                    <a:lnTo>
                      <a:pt x="70" y="126"/>
                    </a:lnTo>
                    <a:lnTo>
                      <a:pt x="76" y="140"/>
                    </a:lnTo>
                    <a:lnTo>
                      <a:pt x="88" y="118"/>
                    </a:lnTo>
                    <a:lnTo>
                      <a:pt x="108" y="118"/>
                    </a:lnTo>
                    <a:lnTo>
                      <a:pt x="110" y="104"/>
                    </a:lnTo>
                    <a:lnTo>
                      <a:pt x="104" y="84"/>
                    </a:lnTo>
                    <a:lnTo>
                      <a:pt x="110" y="52"/>
                    </a:lnTo>
                    <a:lnTo>
                      <a:pt x="128" y="46"/>
                    </a:lnTo>
                    <a:lnTo>
                      <a:pt x="156" y="46"/>
                    </a:lnTo>
                    <a:lnTo>
                      <a:pt x="150" y="24"/>
                    </a:lnTo>
                    <a:lnTo>
                      <a:pt x="124" y="0"/>
                    </a:lnTo>
                    <a:lnTo>
                      <a:pt x="114" y="10"/>
                    </a:lnTo>
                    <a:lnTo>
                      <a:pt x="114" y="26"/>
                    </a:lnTo>
                    <a:lnTo>
                      <a:pt x="104" y="34"/>
                    </a:lnTo>
                    <a:lnTo>
                      <a:pt x="80" y="36"/>
                    </a:lnTo>
                    <a:lnTo>
                      <a:pt x="72" y="44"/>
                    </a:lnTo>
                    <a:lnTo>
                      <a:pt x="60" y="34"/>
                    </a:lnTo>
                    <a:lnTo>
                      <a:pt x="42" y="34"/>
                    </a:lnTo>
                    <a:lnTo>
                      <a:pt x="30" y="40"/>
                    </a:lnTo>
                    <a:lnTo>
                      <a:pt x="18" y="38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0" name="Freeform 174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 rot="698053">
                <a:off x="3257095" y="3473836"/>
                <a:ext cx="61676" cy="89460"/>
              </a:xfrm>
              <a:custGeom>
                <a:avLst/>
                <a:gdLst>
                  <a:gd name="T0" fmla="*/ 78 w 82"/>
                  <a:gd name="T1" fmla="*/ 54 h 120"/>
                  <a:gd name="T2" fmla="*/ 64 w 82"/>
                  <a:gd name="T3" fmla="*/ 82 h 120"/>
                  <a:gd name="T4" fmla="*/ 48 w 82"/>
                  <a:gd name="T5" fmla="*/ 106 h 120"/>
                  <a:gd name="T6" fmla="*/ 28 w 82"/>
                  <a:gd name="T7" fmla="*/ 120 h 120"/>
                  <a:gd name="T8" fmla="*/ 22 w 82"/>
                  <a:gd name="T9" fmla="*/ 96 h 120"/>
                  <a:gd name="T10" fmla="*/ 0 w 82"/>
                  <a:gd name="T11" fmla="*/ 94 h 120"/>
                  <a:gd name="T12" fmla="*/ 12 w 82"/>
                  <a:gd name="T13" fmla="*/ 72 h 120"/>
                  <a:gd name="T14" fmla="*/ 32 w 82"/>
                  <a:gd name="T15" fmla="*/ 72 h 120"/>
                  <a:gd name="T16" fmla="*/ 34 w 82"/>
                  <a:gd name="T17" fmla="*/ 58 h 120"/>
                  <a:gd name="T18" fmla="*/ 28 w 82"/>
                  <a:gd name="T19" fmla="*/ 38 h 120"/>
                  <a:gd name="T20" fmla="*/ 34 w 82"/>
                  <a:gd name="T21" fmla="*/ 6 h 120"/>
                  <a:gd name="T22" fmla="*/ 52 w 82"/>
                  <a:gd name="T23" fmla="*/ 0 h 120"/>
                  <a:gd name="T24" fmla="*/ 62 w 82"/>
                  <a:gd name="T25" fmla="*/ 16 h 120"/>
                  <a:gd name="T26" fmla="*/ 82 w 82"/>
                  <a:gd name="T27" fmla="*/ 34 h 120"/>
                  <a:gd name="T28" fmla="*/ 78 w 82"/>
                  <a:gd name="T29" fmla="*/ 54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2" h="120">
                    <a:moveTo>
                      <a:pt x="78" y="54"/>
                    </a:moveTo>
                    <a:lnTo>
                      <a:pt x="64" y="82"/>
                    </a:lnTo>
                    <a:lnTo>
                      <a:pt x="48" y="106"/>
                    </a:lnTo>
                    <a:lnTo>
                      <a:pt x="28" y="120"/>
                    </a:lnTo>
                    <a:lnTo>
                      <a:pt x="22" y="96"/>
                    </a:lnTo>
                    <a:lnTo>
                      <a:pt x="0" y="94"/>
                    </a:lnTo>
                    <a:lnTo>
                      <a:pt x="12" y="72"/>
                    </a:lnTo>
                    <a:lnTo>
                      <a:pt x="32" y="72"/>
                    </a:lnTo>
                    <a:lnTo>
                      <a:pt x="34" y="58"/>
                    </a:lnTo>
                    <a:lnTo>
                      <a:pt x="28" y="38"/>
                    </a:lnTo>
                    <a:lnTo>
                      <a:pt x="34" y="6"/>
                    </a:lnTo>
                    <a:lnTo>
                      <a:pt x="52" y="0"/>
                    </a:lnTo>
                    <a:lnTo>
                      <a:pt x="62" y="16"/>
                    </a:lnTo>
                    <a:lnTo>
                      <a:pt x="82" y="34"/>
                    </a:lnTo>
                    <a:lnTo>
                      <a:pt x="78" y="5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1" name="Freeform 175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 rot="698053">
                <a:off x="3264364" y="3432712"/>
                <a:ext cx="192144" cy="337195"/>
              </a:xfrm>
              <a:custGeom>
                <a:avLst/>
                <a:gdLst>
                  <a:gd name="T0" fmla="*/ 244 w 252"/>
                  <a:gd name="T1" fmla="*/ 72 h 457"/>
                  <a:gd name="T2" fmla="*/ 230 w 252"/>
                  <a:gd name="T3" fmla="*/ 86 h 457"/>
                  <a:gd name="T4" fmla="*/ 230 w 252"/>
                  <a:gd name="T5" fmla="*/ 108 h 457"/>
                  <a:gd name="T6" fmla="*/ 244 w 252"/>
                  <a:gd name="T7" fmla="*/ 122 h 457"/>
                  <a:gd name="T8" fmla="*/ 252 w 252"/>
                  <a:gd name="T9" fmla="*/ 148 h 457"/>
                  <a:gd name="T10" fmla="*/ 244 w 252"/>
                  <a:gd name="T11" fmla="*/ 172 h 457"/>
                  <a:gd name="T12" fmla="*/ 238 w 252"/>
                  <a:gd name="T13" fmla="*/ 196 h 457"/>
                  <a:gd name="T14" fmla="*/ 224 w 252"/>
                  <a:gd name="T15" fmla="*/ 212 h 457"/>
                  <a:gd name="T16" fmla="*/ 224 w 252"/>
                  <a:gd name="T17" fmla="*/ 220 h 457"/>
                  <a:gd name="T18" fmla="*/ 210 w 252"/>
                  <a:gd name="T19" fmla="*/ 232 h 457"/>
                  <a:gd name="T20" fmla="*/ 180 w 252"/>
                  <a:gd name="T21" fmla="*/ 280 h 457"/>
                  <a:gd name="T22" fmla="*/ 180 w 252"/>
                  <a:gd name="T23" fmla="*/ 318 h 457"/>
                  <a:gd name="T24" fmla="*/ 188 w 252"/>
                  <a:gd name="T25" fmla="*/ 364 h 457"/>
                  <a:gd name="T26" fmla="*/ 184 w 252"/>
                  <a:gd name="T27" fmla="*/ 398 h 457"/>
                  <a:gd name="T28" fmla="*/ 186 w 252"/>
                  <a:gd name="T29" fmla="*/ 441 h 457"/>
                  <a:gd name="T30" fmla="*/ 154 w 252"/>
                  <a:gd name="T31" fmla="*/ 457 h 457"/>
                  <a:gd name="T32" fmla="*/ 132 w 252"/>
                  <a:gd name="T33" fmla="*/ 447 h 457"/>
                  <a:gd name="T34" fmla="*/ 102 w 252"/>
                  <a:gd name="T35" fmla="*/ 457 h 457"/>
                  <a:gd name="T36" fmla="*/ 72 w 252"/>
                  <a:gd name="T37" fmla="*/ 451 h 457"/>
                  <a:gd name="T38" fmla="*/ 68 w 252"/>
                  <a:gd name="T39" fmla="*/ 425 h 457"/>
                  <a:gd name="T40" fmla="*/ 54 w 252"/>
                  <a:gd name="T41" fmla="*/ 380 h 457"/>
                  <a:gd name="T42" fmla="*/ 52 w 252"/>
                  <a:gd name="T43" fmla="*/ 348 h 457"/>
                  <a:gd name="T44" fmla="*/ 30 w 252"/>
                  <a:gd name="T45" fmla="*/ 334 h 457"/>
                  <a:gd name="T46" fmla="*/ 30 w 252"/>
                  <a:gd name="T47" fmla="*/ 316 h 457"/>
                  <a:gd name="T48" fmla="*/ 20 w 252"/>
                  <a:gd name="T49" fmla="*/ 288 h 457"/>
                  <a:gd name="T50" fmla="*/ 0 w 252"/>
                  <a:gd name="T51" fmla="*/ 264 h 457"/>
                  <a:gd name="T52" fmla="*/ 12 w 252"/>
                  <a:gd name="T53" fmla="*/ 244 h 457"/>
                  <a:gd name="T54" fmla="*/ 36 w 252"/>
                  <a:gd name="T55" fmla="*/ 242 h 457"/>
                  <a:gd name="T56" fmla="*/ 50 w 252"/>
                  <a:gd name="T57" fmla="*/ 230 h 457"/>
                  <a:gd name="T58" fmla="*/ 72 w 252"/>
                  <a:gd name="T59" fmla="*/ 232 h 457"/>
                  <a:gd name="T60" fmla="*/ 86 w 252"/>
                  <a:gd name="T61" fmla="*/ 222 h 457"/>
                  <a:gd name="T62" fmla="*/ 108 w 252"/>
                  <a:gd name="T63" fmla="*/ 234 h 457"/>
                  <a:gd name="T64" fmla="*/ 116 w 252"/>
                  <a:gd name="T65" fmla="*/ 204 h 457"/>
                  <a:gd name="T66" fmla="*/ 140 w 252"/>
                  <a:gd name="T67" fmla="*/ 176 h 457"/>
                  <a:gd name="T68" fmla="*/ 164 w 252"/>
                  <a:gd name="T69" fmla="*/ 162 h 457"/>
                  <a:gd name="T70" fmla="*/ 178 w 252"/>
                  <a:gd name="T71" fmla="*/ 158 h 457"/>
                  <a:gd name="T72" fmla="*/ 176 w 252"/>
                  <a:gd name="T73" fmla="*/ 126 h 457"/>
                  <a:gd name="T74" fmla="*/ 148 w 252"/>
                  <a:gd name="T75" fmla="*/ 124 h 457"/>
                  <a:gd name="T76" fmla="*/ 134 w 252"/>
                  <a:gd name="T77" fmla="*/ 104 h 457"/>
                  <a:gd name="T78" fmla="*/ 114 w 252"/>
                  <a:gd name="T79" fmla="*/ 84 h 457"/>
                  <a:gd name="T80" fmla="*/ 122 w 252"/>
                  <a:gd name="T81" fmla="*/ 62 h 457"/>
                  <a:gd name="T82" fmla="*/ 108 w 252"/>
                  <a:gd name="T83" fmla="*/ 56 h 457"/>
                  <a:gd name="T84" fmla="*/ 108 w 252"/>
                  <a:gd name="T85" fmla="*/ 44 h 457"/>
                  <a:gd name="T86" fmla="*/ 124 w 252"/>
                  <a:gd name="T87" fmla="*/ 44 h 457"/>
                  <a:gd name="T88" fmla="*/ 134 w 252"/>
                  <a:gd name="T89" fmla="*/ 36 h 457"/>
                  <a:gd name="T90" fmla="*/ 128 w 252"/>
                  <a:gd name="T91" fmla="*/ 24 h 457"/>
                  <a:gd name="T92" fmla="*/ 138 w 252"/>
                  <a:gd name="T93" fmla="*/ 14 h 457"/>
                  <a:gd name="T94" fmla="*/ 156 w 252"/>
                  <a:gd name="T95" fmla="*/ 20 h 457"/>
                  <a:gd name="T96" fmla="*/ 176 w 252"/>
                  <a:gd name="T97" fmla="*/ 14 h 457"/>
                  <a:gd name="T98" fmla="*/ 196 w 252"/>
                  <a:gd name="T99" fmla="*/ 0 h 457"/>
                  <a:gd name="T100" fmla="*/ 214 w 252"/>
                  <a:gd name="T101" fmla="*/ 14 h 457"/>
                  <a:gd name="T102" fmla="*/ 224 w 252"/>
                  <a:gd name="T103" fmla="*/ 26 h 457"/>
                  <a:gd name="T104" fmla="*/ 238 w 252"/>
                  <a:gd name="T105" fmla="*/ 32 h 457"/>
                  <a:gd name="T106" fmla="*/ 244 w 252"/>
                  <a:gd name="T107" fmla="*/ 48 h 457"/>
                  <a:gd name="T108" fmla="*/ 244 w 252"/>
                  <a:gd name="T109" fmla="*/ 72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2" h="457">
                    <a:moveTo>
                      <a:pt x="244" y="72"/>
                    </a:moveTo>
                    <a:lnTo>
                      <a:pt x="230" y="86"/>
                    </a:lnTo>
                    <a:lnTo>
                      <a:pt x="230" y="108"/>
                    </a:lnTo>
                    <a:lnTo>
                      <a:pt x="244" y="122"/>
                    </a:lnTo>
                    <a:lnTo>
                      <a:pt x="252" y="148"/>
                    </a:lnTo>
                    <a:lnTo>
                      <a:pt x="244" y="172"/>
                    </a:lnTo>
                    <a:lnTo>
                      <a:pt x="238" y="196"/>
                    </a:lnTo>
                    <a:lnTo>
                      <a:pt x="224" y="212"/>
                    </a:lnTo>
                    <a:lnTo>
                      <a:pt x="224" y="220"/>
                    </a:lnTo>
                    <a:lnTo>
                      <a:pt x="210" y="232"/>
                    </a:lnTo>
                    <a:lnTo>
                      <a:pt x="180" y="280"/>
                    </a:lnTo>
                    <a:lnTo>
                      <a:pt x="180" y="318"/>
                    </a:lnTo>
                    <a:lnTo>
                      <a:pt x="188" y="364"/>
                    </a:lnTo>
                    <a:lnTo>
                      <a:pt x="184" y="398"/>
                    </a:lnTo>
                    <a:lnTo>
                      <a:pt x="186" y="441"/>
                    </a:lnTo>
                    <a:lnTo>
                      <a:pt x="154" y="457"/>
                    </a:lnTo>
                    <a:lnTo>
                      <a:pt x="132" y="447"/>
                    </a:lnTo>
                    <a:lnTo>
                      <a:pt x="102" y="457"/>
                    </a:lnTo>
                    <a:lnTo>
                      <a:pt x="72" y="451"/>
                    </a:lnTo>
                    <a:lnTo>
                      <a:pt x="68" y="425"/>
                    </a:lnTo>
                    <a:lnTo>
                      <a:pt x="54" y="380"/>
                    </a:lnTo>
                    <a:lnTo>
                      <a:pt x="52" y="348"/>
                    </a:lnTo>
                    <a:lnTo>
                      <a:pt x="30" y="334"/>
                    </a:lnTo>
                    <a:lnTo>
                      <a:pt x="30" y="316"/>
                    </a:lnTo>
                    <a:lnTo>
                      <a:pt x="20" y="288"/>
                    </a:lnTo>
                    <a:lnTo>
                      <a:pt x="0" y="264"/>
                    </a:lnTo>
                    <a:lnTo>
                      <a:pt x="12" y="244"/>
                    </a:lnTo>
                    <a:lnTo>
                      <a:pt x="36" y="242"/>
                    </a:lnTo>
                    <a:lnTo>
                      <a:pt x="50" y="230"/>
                    </a:lnTo>
                    <a:lnTo>
                      <a:pt x="72" y="232"/>
                    </a:lnTo>
                    <a:lnTo>
                      <a:pt x="86" y="222"/>
                    </a:lnTo>
                    <a:lnTo>
                      <a:pt x="108" y="234"/>
                    </a:lnTo>
                    <a:lnTo>
                      <a:pt x="116" y="204"/>
                    </a:lnTo>
                    <a:lnTo>
                      <a:pt x="140" y="176"/>
                    </a:lnTo>
                    <a:lnTo>
                      <a:pt x="164" y="162"/>
                    </a:lnTo>
                    <a:lnTo>
                      <a:pt x="178" y="158"/>
                    </a:lnTo>
                    <a:lnTo>
                      <a:pt x="176" y="126"/>
                    </a:lnTo>
                    <a:lnTo>
                      <a:pt x="148" y="124"/>
                    </a:lnTo>
                    <a:lnTo>
                      <a:pt x="134" y="104"/>
                    </a:lnTo>
                    <a:lnTo>
                      <a:pt x="114" y="84"/>
                    </a:lnTo>
                    <a:lnTo>
                      <a:pt x="122" y="62"/>
                    </a:lnTo>
                    <a:lnTo>
                      <a:pt x="108" y="56"/>
                    </a:lnTo>
                    <a:lnTo>
                      <a:pt x="108" y="44"/>
                    </a:lnTo>
                    <a:lnTo>
                      <a:pt x="124" y="44"/>
                    </a:lnTo>
                    <a:lnTo>
                      <a:pt x="134" y="36"/>
                    </a:lnTo>
                    <a:lnTo>
                      <a:pt x="128" y="24"/>
                    </a:lnTo>
                    <a:lnTo>
                      <a:pt x="138" y="14"/>
                    </a:lnTo>
                    <a:lnTo>
                      <a:pt x="156" y="20"/>
                    </a:lnTo>
                    <a:lnTo>
                      <a:pt x="176" y="14"/>
                    </a:lnTo>
                    <a:lnTo>
                      <a:pt x="196" y="0"/>
                    </a:lnTo>
                    <a:lnTo>
                      <a:pt x="214" y="14"/>
                    </a:lnTo>
                    <a:lnTo>
                      <a:pt x="224" y="26"/>
                    </a:lnTo>
                    <a:lnTo>
                      <a:pt x="238" y="32"/>
                    </a:lnTo>
                    <a:lnTo>
                      <a:pt x="244" y="48"/>
                    </a:lnTo>
                    <a:lnTo>
                      <a:pt x="244" y="7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2" name="Freeform 176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 rot="698053">
                <a:off x="3316198" y="3180942"/>
                <a:ext cx="333287" cy="329167"/>
              </a:xfrm>
              <a:custGeom>
                <a:avLst/>
                <a:gdLst>
                  <a:gd name="T0" fmla="*/ 286 w 436"/>
                  <a:gd name="T1" fmla="*/ 436 h 444"/>
                  <a:gd name="T2" fmla="*/ 334 w 436"/>
                  <a:gd name="T3" fmla="*/ 410 h 444"/>
                  <a:gd name="T4" fmla="*/ 352 w 436"/>
                  <a:gd name="T5" fmla="*/ 384 h 444"/>
                  <a:gd name="T6" fmla="*/ 320 w 436"/>
                  <a:gd name="T7" fmla="*/ 372 h 444"/>
                  <a:gd name="T8" fmla="*/ 360 w 436"/>
                  <a:gd name="T9" fmla="*/ 332 h 444"/>
                  <a:gd name="T10" fmla="*/ 350 w 436"/>
                  <a:gd name="T11" fmla="*/ 310 h 444"/>
                  <a:gd name="T12" fmla="*/ 342 w 436"/>
                  <a:gd name="T13" fmla="*/ 282 h 444"/>
                  <a:gd name="T14" fmla="*/ 366 w 436"/>
                  <a:gd name="T15" fmla="*/ 278 h 444"/>
                  <a:gd name="T16" fmla="*/ 378 w 436"/>
                  <a:gd name="T17" fmla="*/ 288 h 444"/>
                  <a:gd name="T18" fmla="*/ 410 w 436"/>
                  <a:gd name="T19" fmla="*/ 274 h 444"/>
                  <a:gd name="T20" fmla="*/ 404 w 436"/>
                  <a:gd name="T21" fmla="*/ 238 h 444"/>
                  <a:gd name="T22" fmla="*/ 430 w 436"/>
                  <a:gd name="T23" fmla="*/ 196 h 444"/>
                  <a:gd name="T24" fmla="*/ 436 w 436"/>
                  <a:gd name="T25" fmla="*/ 164 h 444"/>
                  <a:gd name="T26" fmla="*/ 394 w 436"/>
                  <a:gd name="T27" fmla="*/ 146 h 444"/>
                  <a:gd name="T28" fmla="*/ 396 w 436"/>
                  <a:gd name="T29" fmla="*/ 100 h 444"/>
                  <a:gd name="T30" fmla="*/ 384 w 436"/>
                  <a:gd name="T31" fmla="*/ 68 h 444"/>
                  <a:gd name="T32" fmla="*/ 352 w 436"/>
                  <a:gd name="T33" fmla="*/ 36 h 444"/>
                  <a:gd name="T34" fmla="*/ 338 w 436"/>
                  <a:gd name="T35" fmla="*/ 4 h 444"/>
                  <a:gd name="T36" fmla="*/ 316 w 436"/>
                  <a:gd name="T37" fmla="*/ 26 h 444"/>
                  <a:gd name="T38" fmla="*/ 288 w 436"/>
                  <a:gd name="T39" fmla="*/ 18 h 444"/>
                  <a:gd name="T40" fmla="*/ 258 w 436"/>
                  <a:gd name="T41" fmla="*/ 10 h 444"/>
                  <a:gd name="T42" fmla="*/ 234 w 436"/>
                  <a:gd name="T43" fmla="*/ 60 h 444"/>
                  <a:gd name="T44" fmla="*/ 270 w 436"/>
                  <a:gd name="T45" fmla="*/ 52 h 444"/>
                  <a:gd name="T46" fmla="*/ 258 w 436"/>
                  <a:gd name="T47" fmla="*/ 98 h 444"/>
                  <a:gd name="T48" fmla="*/ 200 w 436"/>
                  <a:gd name="T49" fmla="*/ 118 h 444"/>
                  <a:gd name="T50" fmla="*/ 156 w 436"/>
                  <a:gd name="T51" fmla="*/ 142 h 444"/>
                  <a:gd name="T52" fmla="*/ 134 w 436"/>
                  <a:gd name="T53" fmla="*/ 144 h 444"/>
                  <a:gd name="T54" fmla="*/ 114 w 436"/>
                  <a:gd name="T55" fmla="*/ 94 h 444"/>
                  <a:gd name="T56" fmla="*/ 86 w 436"/>
                  <a:gd name="T57" fmla="*/ 76 h 444"/>
                  <a:gd name="T58" fmla="*/ 78 w 436"/>
                  <a:gd name="T59" fmla="*/ 40 h 444"/>
                  <a:gd name="T60" fmla="*/ 64 w 436"/>
                  <a:gd name="T61" fmla="*/ 54 h 444"/>
                  <a:gd name="T62" fmla="*/ 30 w 436"/>
                  <a:gd name="T63" fmla="*/ 62 h 444"/>
                  <a:gd name="T64" fmla="*/ 0 w 436"/>
                  <a:gd name="T65" fmla="*/ 68 h 444"/>
                  <a:gd name="T66" fmla="*/ 20 w 436"/>
                  <a:gd name="T67" fmla="*/ 92 h 444"/>
                  <a:gd name="T68" fmla="*/ 44 w 436"/>
                  <a:gd name="T69" fmla="*/ 88 h 444"/>
                  <a:gd name="T70" fmla="*/ 62 w 436"/>
                  <a:gd name="T71" fmla="*/ 116 h 444"/>
                  <a:gd name="T72" fmla="*/ 100 w 436"/>
                  <a:gd name="T73" fmla="*/ 118 h 444"/>
                  <a:gd name="T74" fmla="*/ 116 w 436"/>
                  <a:gd name="T75" fmla="*/ 152 h 444"/>
                  <a:gd name="T76" fmla="*/ 132 w 436"/>
                  <a:gd name="T77" fmla="*/ 182 h 444"/>
                  <a:gd name="T78" fmla="*/ 132 w 436"/>
                  <a:gd name="T79" fmla="*/ 224 h 444"/>
                  <a:gd name="T80" fmla="*/ 156 w 436"/>
                  <a:gd name="T81" fmla="*/ 256 h 444"/>
                  <a:gd name="T82" fmla="*/ 166 w 436"/>
                  <a:gd name="T83" fmla="*/ 286 h 444"/>
                  <a:gd name="T84" fmla="*/ 184 w 436"/>
                  <a:gd name="T85" fmla="*/ 320 h 444"/>
                  <a:gd name="T86" fmla="*/ 194 w 436"/>
                  <a:gd name="T87" fmla="*/ 368 h 444"/>
                  <a:gd name="T88" fmla="*/ 222 w 436"/>
                  <a:gd name="T89" fmla="*/ 394 h 444"/>
                  <a:gd name="T90" fmla="*/ 242 w 436"/>
                  <a:gd name="T91" fmla="*/ 416 h 444"/>
                  <a:gd name="T92" fmla="*/ 258 w 436"/>
                  <a:gd name="T93" fmla="*/ 44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36" h="444">
                    <a:moveTo>
                      <a:pt x="258" y="444"/>
                    </a:moveTo>
                    <a:lnTo>
                      <a:pt x="286" y="436"/>
                    </a:lnTo>
                    <a:lnTo>
                      <a:pt x="310" y="436"/>
                    </a:lnTo>
                    <a:lnTo>
                      <a:pt x="334" y="410"/>
                    </a:lnTo>
                    <a:lnTo>
                      <a:pt x="352" y="402"/>
                    </a:lnTo>
                    <a:lnTo>
                      <a:pt x="352" y="384"/>
                    </a:lnTo>
                    <a:lnTo>
                      <a:pt x="338" y="374"/>
                    </a:lnTo>
                    <a:lnTo>
                      <a:pt x="320" y="372"/>
                    </a:lnTo>
                    <a:lnTo>
                      <a:pt x="316" y="362"/>
                    </a:lnTo>
                    <a:lnTo>
                      <a:pt x="360" y="332"/>
                    </a:lnTo>
                    <a:lnTo>
                      <a:pt x="360" y="320"/>
                    </a:lnTo>
                    <a:lnTo>
                      <a:pt x="350" y="310"/>
                    </a:lnTo>
                    <a:lnTo>
                      <a:pt x="350" y="294"/>
                    </a:lnTo>
                    <a:lnTo>
                      <a:pt x="342" y="282"/>
                    </a:lnTo>
                    <a:lnTo>
                      <a:pt x="352" y="272"/>
                    </a:lnTo>
                    <a:lnTo>
                      <a:pt x="366" y="278"/>
                    </a:lnTo>
                    <a:lnTo>
                      <a:pt x="370" y="288"/>
                    </a:lnTo>
                    <a:lnTo>
                      <a:pt x="378" y="288"/>
                    </a:lnTo>
                    <a:lnTo>
                      <a:pt x="382" y="270"/>
                    </a:lnTo>
                    <a:lnTo>
                      <a:pt x="410" y="274"/>
                    </a:lnTo>
                    <a:lnTo>
                      <a:pt x="418" y="252"/>
                    </a:lnTo>
                    <a:lnTo>
                      <a:pt x="404" y="238"/>
                    </a:lnTo>
                    <a:lnTo>
                      <a:pt x="414" y="204"/>
                    </a:lnTo>
                    <a:lnTo>
                      <a:pt x="430" y="196"/>
                    </a:lnTo>
                    <a:lnTo>
                      <a:pt x="432" y="180"/>
                    </a:lnTo>
                    <a:lnTo>
                      <a:pt x="436" y="164"/>
                    </a:lnTo>
                    <a:lnTo>
                      <a:pt x="406" y="162"/>
                    </a:lnTo>
                    <a:lnTo>
                      <a:pt x="394" y="146"/>
                    </a:lnTo>
                    <a:lnTo>
                      <a:pt x="392" y="120"/>
                    </a:lnTo>
                    <a:lnTo>
                      <a:pt x="396" y="100"/>
                    </a:lnTo>
                    <a:lnTo>
                      <a:pt x="400" y="78"/>
                    </a:lnTo>
                    <a:lnTo>
                      <a:pt x="384" y="68"/>
                    </a:lnTo>
                    <a:lnTo>
                      <a:pt x="376" y="42"/>
                    </a:lnTo>
                    <a:lnTo>
                      <a:pt x="352" y="36"/>
                    </a:lnTo>
                    <a:lnTo>
                      <a:pt x="338" y="22"/>
                    </a:lnTo>
                    <a:lnTo>
                      <a:pt x="338" y="4"/>
                    </a:lnTo>
                    <a:lnTo>
                      <a:pt x="324" y="0"/>
                    </a:lnTo>
                    <a:lnTo>
                      <a:pt x="316" y="26"/>
                    </a:lnTo>
                    <a:lnTo>
                      <a:pt x="302" y="32"/>
                    </a:lnTo>
                    <a:lnTo>
                      <a:pt x="288" y="18"/>
                    </a:lnTo>
                    <a:lnTo>
                      <a:pt x="272" y="24"/>
                    </a:lnTo>
                    <a:lnTo>
                      <a:pt x="258" y="10"/>
                    </a:lnTo>
                    <a:lnTo>
                      <a:pt x="234" y="32"/>
                    </a:lnTo>
                    <a:lnTo>
                      <a:pt x="234" y="60"/>
                    </a:lnTo>
                    <a:lnTo>
                      <a:pt x="250" y="62"/>
                    </a:lnTo>
                    <a:lnTo>
                      <a:pt x="270" y="52"/>
                    </a:lnTo>
                    <a:lnTo>
                      <a:pt x="270" y="70"/>
                    </a:lnTo>
                    <a:lnTo>
                      <a:pt x="258" y="98"/>
                    </a:lnTo>
                    <a:lnTo>
                      <a:pt x="230" y="118"/>
                    </a:lnTo>
                    <a:lnTo>
                      <a:pt x="200" y="118"/>
                    </a:lnTo>
                    <a:lnTo>
                      <a:pt x="172" y="146"/>
                    </a:lnTo>
                    <a:lnTo>
                      <a:pt x="156" y="142"/>
                    </a:lnTo>
                    <a:lnTo>
                      <a:pt x="148" y="150"/>
                    </a:lnTo>
                    <a:lnTo>
                      <a:pt x="134" y="144"/>
                    </a:lnTo>
                    <a:lnTo>
                      <a:pt x="124" y="134"/>
                    </a:lnTo>
                    <a:lnTo>
                      <a:pt x="114" y="94"/>
                    </a:lnTo>
                    <a:lnTo>
                      <a:pt x="98" y="90"/>
                    </a:lnTo>
                    <a:lnTo>
                      <a:pt x="86" y="76"/>
                    </a:lnTo>
                    <a:lnTo>
                      <a:pt x="86" y="60"/>
                    </a:lnTo>
                    <a:lnTo>
                      <a:pt x="78" y="40"/>
                    </a:lnTo>
                    <a:lnTo>
                      <a:pt x="64" y="40"/>
                    </a:lnTo>
                    <a:lnTo>
                      <a:pt x="64" y="54"/>
                    </a:lnTo>
                    <a:lnTo>
                      <a:pt x="54" y="62"/>
                    </a:lnTo>
                    <a:lnTo>
                      <a:pt x="30" y="62"/>
                    </a:lnTo>
                    <a:lnTo>
                      <a:pt x="16" y="54"/>
                    </a:lnTo>
                    <a:lnTo>
                      <a:pt x="0" y="68"/>
                    </a:lnTo>
                    <a:lnTo>
                      <a:pt x="14" y="74"/>
                    </a:lnTo>
                    <a:lnTo>
                      <a:pt x="20" y="92"/>
                    </a:lnTo>
                    <a:lnTo>
                      <a:pt x="34" y="92"/>
                    </a:lnTo>
                    <a:lnTo>
                      <a:pt x="44" y="88"/>
                    </a:lnTo>
                    <a:lnTo>
                      <a:pt x="50" y="106"/>
                    </a:lnTo>
                    <a:lnTo>
                      <a:pt x="62" y="116"/>
                    </a:lnTo>
                    <a:lnTo>
                      <a:pt x="86" y="112"/>
                    </a:lnTo>
                    <a:lnTo>
                      <a:pt x="100" y="118"/>
                    </a:lnTo>
                    <a:lnTo>
                      <a:pt x="102" y="138"/>
                    </a:lnTo>
                    <a:lnTo>
                      <a:pt x="116" y="152"/>
                    </a:lnTo>
                    <a:lnTo>
                      <a:pt x="120" y="170"/>
                    </a:lnTo>
                    <a:lnTo>
                      <a:pt x="132" y="182"/>
                    </a:lnTo>
                    <a:lnTo>
                      <a:pt x="140" y="206"/>
                    </a:lnTo>
                    <a:lnTo>
                      <a:pt x="132" y="224"/>
                    </a:lnTo>
                    <a:lnTo>
                      <a:pt x="142" y="242"/>
                    </a:lnTo>
                    <a:lnTo>
                      <a:pt x="156" y="256"/>
                    </a:lnTo>
                    <a:lnTo>
                      <a:pt x="166" y="270"/>
                    </a:lnTo>
                    <a:lnTo>
                      <a:pt x="166" y="286"/>
                    </a:lnTo>
                    <a:lnTo>
                      <a:pt x="180" y="300"/>
                    </a:lnTo>
                    <a:lnTo>
                      <a:pt x="184" y="320"/>
                    </a:lnTo>
                    <a:lnTo>
                      <a:pt x="194" y="338"/>
                    </a:lnTo>
                    <a:lnTo>
                      <a:pt x="194" y="368"/>
                    </a:lnTo>
                    <a:lnTo>
                      <a:pt x="212" y="382"/>
                    </a:lnTo>
                    <a:lnTo>
                      <a:pt x="222" y="394"/>
                    </a:lnTo>
                    <a:lnTo>
                      <a:pt x="236" y="400"/>
                    </a:lnTo>
                    <a:lnTo>
                      <a:pt x="242" y="416"/>
                    </a:lnTo>
                    <a:lnTo>
                      <a:pt x="242" y="440"/>
                    </a:lnTo>
                    <a:lnTo>
                      <a:pt x="258" y="44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3" name="Freeform 177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 rot="698053">
                <a:off x="4064116" y="3169627"/>
                <a:ext cx="504082" cy="475974"/>
              </a:xfrm>
              <a:custGeom>
                <a:avLst/>
                <a:gdLst>
                  <a:gd name="T0" fmla="*/ 603 w 659"/>
                  <a:gd name="T1" fmla="*/ 527 h 643"/>
                  <a:gd name="T2" fmla="*/ 635 w 659"/>
                  <a:gd name="T3" fmla="*/ 557 h 643"/>
                  <a:gd name="T4" fmla="*/ 659 w 659"/>
                  <a:gd name="T5" fmla="*/ 599 h 643"/>
                  <a:gd name="T6" fmla="*/ 623 w 659"/>
                  <a:gd name="T7" fmla="*/ 641 h 643"/>
                  <a:gd name="T8" fmla="*/ 563 w 659"/>
                  <a:gd name="T9" fmla="*/ 643 h 643"/>
                  <a:gd name="T10" fmla="*/ 537 w 659"/>
                  <a:gd name="T11" fmla="*/ 607 h 643"/>
                  <a:gd name="T12" fmla="*/ 509 w 659"/>
                  <a:gd name="T13" fmla="*/ 621 h 643"/>
                  <a:gd name="T14" fmla="*/ 461 w 659"/>
                  <a:gd name="T15" fmla="*/ 595 h 643"/>
                  <a:gd name="T16" fmla="*/ 435 w 659"/>
                  <a:gd name="T17" fmla="*/ 561 h 643"/>
                  <a:gd name="T18" fmla="*/ 419 w 659"/>
                  <a:gd name="T19" fmla="*/ 509 h 643"/>
                  <a:gd name="T20" fmla="*/ 363 w 659"/>
                  <a:gd name="T21" fmla="*/ 519 h 643"/>
                  <a:gd name="T22" fmla="*/ 329 w 659"/>
                  <a:gd name="T23" fmla="*/ 479 h 643"/>
                  <a:gd name="T24" fmla="*/ 274 w 659"/>
                  <a:gd name="T25" fmla="*/ 481 h 643"/>
                  <a:gd name="T26" fmla="*/ 224 w 659"/>
                  <a:gd name="T27" fmla="*/ 479 h 643"/>
                  <a:gd name="T28" fmla="*/ 184 w 659"/>
                  <a:gd name="T29" fmla="*/ 429 h 643"/>
                  <a:gd name="T30" fmla="*/ 152 w 659"/>
                  <a:gd name="T31" fmla="*/ 455 h 643"/>
                  <a:gd name="T32" fmla="*/ 168 w 659"/>
                  <a:gd name="T33" fmla="*/ 417 h 643"/>
                  <a:gd name="T34" fmla="*/ 144 w 659"/>
                  <a:gd name="T35" fmla="*/ 361 h 643"/>
                  <a:gd name="T36" fmla="*/ 118 w 659"/>
                  <a:gd name="T37" fmla="*/ 301 h 643"/>
                  <a:gd name="T38" fmla="*/ 76 w 659"/>
                  <a:gd name="T39" fmla="*/ 265 h 643"/>
                  <a:gd name="T40" fmla="*/ 28 w 659"/>
                  <a:gd name="T41" fmla="*/ 253 h 643"/>
                  <a:gd name="T42" fmla="*/ 8 w 659"/>
                  <a:gd name="T43" fmla="*/ 229 h 643"/>
                  <a:gd name="T44" fmla="*/ 0 w 659"/>
                  <a:gd name="T45" fmla="*/ 186 h 643"/>
                  <a:gd name="T46" fmla="*/ 62 w 659"/>
                  <a:gd name="T47" fmla="*/ 158 h 643"/>
                  <a:gd name="T48" fmla="*/ 102 w 659"/>
                  <a:gd name="T49" fmla="*/ 144 h 643"/>
                  <a:gd name="T50" fmla="*/ 146 w 659"/>
                  <a:gd name="T51" fmla="*/ 120 h 643"/>
                  <a:gd name="T52" fmla="*/ 196 w 659"/>
                  <a:gd name="T53" fmla="*/ 60 h 643"/>
                  <a:gd name="T54" fmla="*/ 226 w 659"/>
                  <a:gd name="T55" fmla="*/ 0 h 643"/>
                  <a:gd name="T56" fmla="*/ 270 w 659"/>
                  <a:gd name="T57" fmla="*/ 22 h 643"/>
                  <a:gd name="T58" fmla="*/ 270 w 659"/>
                  <a:gd name="T59" fmla="*/ 50 h 643"/>
                  <a:gd name="T60" fmla="*/ 276 w 659"/>
                  <a:gd name="T61" fmla="*/ 100 h 643"/>
                  <a:gd name="T62" fmla="*/ 278 w 659"/>
                  <a:gd name="T63" fmla="*/ 146 h 643"/>
                  <a:gd name="T64" fmla="*/ 313 w 659"/>
                  <a:gd name="T65" fmla="*/ 174 h 643"/>
                  <a:gd name="T66" fmla="*/ 323 w 659"/>
                  <a:gd name="T67" fmla="*/ 233 h 643"/>
                  <a:gd name="T68" fmla="*/ 325 w 659"/>
                  <a:gd name="T69" fmla="*/ 269 h 643"/>
                  <a:gd name="T70" fmla="*/ 319 w 659"/>
                  <a:gd name="T71" fmla="*/ 309 h 643"/>
                  <a:gd name="T72" fmla="*/ 349 w 659"/>
                  <a:gd name="T73" fmla="*/ 303 h 643"/>
                  <a:gd name="T74" fmla="*/ 381 w 659"/>
                  <a:gd name="T75" fmla="*/ 317 h 643"/>
                  <a:gd name="T76" fmla="*/ 351 w 659"/>
                  <a:gd name="T77" fmla="*/ 347 h 643"/>
                  <a:gd name="T78" fmla="*/ 369 w 659"/>
                  <a:gd name="T79" fmla="*/ 361 h 643"/>
                  <a:gd name="T80" fmla="*/ 357 w 659"/>
                  <a:gd name="T81" fmla="*/ 395 h 643"/>
                  <a:gd name="T82" fmla="*/ 373 w 659"/>
                  <a:gd name="T83" fmla="*/ 415 h 643"/>
                  <a:gd name="T84" fmla="*/ 393 w 659"/>
                  <a:gd name="T85" fmla="*/ 443 h 643"/>
                  <a:gd name="T86" fmla="*/ 421 w 659"/>
                  <a:gd name="T87" fmla="*/ 423 h 643"/>
                  <a:gd name="T88" fmla="*/ 439 w 659"/>
                  <a:gd name="T89" fmla="*/ 445 h 643"/>
                  <a:gd name="T90" fmla="*/ 471 w 659"/>
                  <a:gd name="T91" fmla="*/ 459 h 643"/>
                  <a:gd name="T92" fmla="*/ 499 w 659"/>
                  <a:gd name="T93" fmla="*/ 419 h 643"/>
                  <a:gd name="T94" fmla="*/ 547 w 659"/>
                  <a:gd name="T95" fmla="*/ 419 h 643"/>
                  <a:gd name="T96" fmla="*/ 583 w 659"/>
                  <a:gd name="T97" fmla="*/ 423 h 643"/>
                  <a:gd name="T98" fmla="*/ 607 w 659"/>
                  <a:gd name="T99" fmla="*/ 441 h 643"/>
                  <a:gd name="T100" fmla="*/ 575 w 659"/>
                  <a:gd name="T101" fmla="*/ 469 h 643"/>
                  <a:gd name="T102" fmla="*/ 591 w 659"/>
                  <a:gd name="T103" fmla="*/ 487 h 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59" h="643">
                    <a:moveTo>
                      <a:pt x="595" y="507"/>
                    </a:moveTo>
                    <a:lnTo>
                      <a:pt x="603" y="527"/>
                    </a:lnTo>
                    <a:lnTo>
                      <a:pt x="623" y="545"/>
                    </a:lnTo>
                    <a:lnTo>
                      <a:pt x="635" y="557"/>
                    </a:lnTo>
                    <a:lnTo>
                      <a:pt x="641" y="581"/>
                    </a:lnTo>
                    <a:lnTo>
                      <a:pt x="659" y="599"/>
                    </a:lnTo>
                    <a:lnTo>
                      <a:pt x="641" y="625"/>
                    </a:lnTo>
                    <a:lnTo>
                      <a:pt x="623" y="641"/>
                    </a:lnTo>
                    <a:lnTo>
                      <a:pt x="593" y="641"/>
                    </a:lnTo>
                    <a:lnTo>
                      <a:pt x="563" y="643"/>
                    </a:lnTo>
                    <a:lnTo>
                      <a:pt x="549" y="629"/>
                    </a:lnTo>
                    <a:lnTo>
                      <a:pt x="537" y="607"/>
                    </a:lnTo>
                    <a:lnTo>
                      <a:pt x="525" y="607"/>
                    </a:lnTo>
                    <a:lnTo>
                      <a:pt x="509" y="621"/>
                    </a:lnTo>
                    <a:lnTo>
                      <a:pt x="487" y="621"/>
                    </a:lnTo>
                    <a:lnTo>
                      <a:pt x="461" y="595"/>
                    </a:lnTo>
                    <a:lnTo>
                      <a:pt x="455" y="581"/>
                    </a:lnTo>
                    <a:lnTo>
                      <a:pt x="435" y="561"/>
                    </a:lnTo>
                    <a:lnTo>
                      <a:pt x="435" y="527"/>
                    </a:lnTo>
                    <a:lnTo>
                      <a:pt x="419" y="509"/>
                    </a:lnTo>
                    <a:lnTo>
                      <a:pt x="389" y="509"/>
                    </a:lnTo>
                    <a:lnTo>
                      <a:pt x="363" y="519"/>
                    </a:lnTo>
                    <a:lnTo>
                      <a:pt x="353" y="499"/>
                    </a:lnTo>
                    <a:lnTo>
                      <a:pt x="329" y="479"/>
                    </a:lnTo>
                    <a:lnTo>
                      <a:pt x="304" y="467"/>
                    </a:lnTo>
                    <a:lnTo>
                      <a:pt x="274" y="481"/>
                    </a:lnTo>
                    <a:lnTo>
                      <a:pt x="246" y="485"/>
                    </a:lnTo>
                    <a:lnTo>
                      <a:pt x="224" y="479"/>
                    </a:lnTo>
                    <a:lnTo>
                      <a:pt x="208" y="449"/>
                    </a:lnTo>
                    <a:lnTo>
                      <a:pt x="184" y="429"/>
                    </a:lnTo>
                    <a:lnTo>
                      <a:pt x="168" y="455"/>
                    </a:lnTo>
                    <a:lnTo>
                      <a:pt x="152" y="455"/>
                    </a:lnTo>
                    <a:lnTo>
                      <a:pt x="152" y="433"/>
                    </a:lnTo>
                    <a:lnTo>
                      <a:pt x="168" y="417"/>
                    </a:lnTo>
                    <a:lnTo>
                      <a:pt x="156" y="395"/>
                    </a:lnTo>
                    <a:lnTo>
                      <a:pt x="144" y="361"/>
                    </a:lnTo>
                    <a:lnTo>
                      <a:pt x="138" y="325"/>
                    </a:lnTo>
                    <a:lnTo>
                      <a:pt x="118" y="301"/>
                    </a:lnTo>
                    <a:lnTo>
                      <a:pt x="86" y="289"/>
                    </a:lnTo>
                    <a:lnTo>
                      <a:pt x="76" y="265"/>
                    </a:lnTo>
                    <a:lnTo>
                      <a:pt x="60" y="249"/>
                    </a:lnTo>
                    <a:lnTo>
                      <a:pt x="28" y="253"/>
                    </a:lnTo>
                    <a:lnTo>
                      <a:pt x="8" y="253"/>
                    </a:lnTo>
                    <a:lnTo>
                      <a:pt x="8" y="229"/>
                    </a:lnTo>
                    <a:lnTo>
                      <a:pt x="0" y="200"/>
                    </a:lnTo>
                    <a:lnTo>
                      <a:pt x="0" y="186"/>
                    </a:lnTo>
                    <a:lnTo>
                      <a:pt x="48" y="186"/>
                    </a:lnTo>
                    <a:lnTo>
                      <a:pt x="62" y="158"/>
                    </a:lnTo>
                    <a:lnTo>
                      <a:pt x="86" y="140"/>
                    </a:lnTo>
                    <a:lnTo>
                      <a:pt x="102" y="144"/>
                    </a:lnTo>
                    <a:lnTo>
                      <a:pt x="110" y="126"/>
                    </a:lnTo>
                    <a:lnTo>
                      <a:pt x="146" y="120"/>
                    </a:lnTo>
                    <a:lnTo>
                      <a:pt x="164" y="76"/>
                    </a:lnTo>
                    <a:lnTo>
                      <a:pt x="196" y="60"/>
                    </a:lnTo>
                    <a:lnTo>
                      <a:pt x="218" y="36"/>
                    </a:lnTo>
                    <a:lnTo>
                      <a:pt x="226" y="0"/>
                    </a:lnTo>
                    <a:lnTo>
                      <a:pt x="248" y="0"/>
                    </a:lnTo>
                    <a:lnTo>
                      <a:pt x="270" y="22"/>
                    </a:lnTo>
                    <a:lnTo>
                      <a:pt x="256" y="38"/>
                    </a:lnTo>
                    <a:lnTo>
                      <a:pt x="270" y="50"/>
                    </a:lnTo>
                    <a:lnTo>
                      <a:pt x="278" y="66"/>
                    </a:lnTo>
                    <a:lnTo>
                      <a:pt x="276" y="100"/>
                    </a:lnTo>
                    <a:lnTo>
                      <a:pt x="286" y="110"/>
                    </a:lnTo>
                    <a:lnTo>
                      <a:pt x="278" y="146"/>
                    </a:lnTo>
                    <a:lnTo>
                      <a:pt x="294" y="156"/>
                    </a:lnTo>
                    <a:lnTo>
                      <a:pt x="313" y="174"/>
                    </a:lnTo>
                    <a:lnTo>
                      <a:pt x="323" y="204"/>
                    </a:lnTo>
                    <a:lnTo>
                      <a:pt x="323" y="233"/>
                    </a:lnTo>
                    <a:lnTo>
                      <a:pt x="333" y="251"/>
                    </a:lnTo>
                    <a:lnTo>
                      <a:pt x="325" y="269"/>
                    </a:lnTo>
                    <a:lnTo>
                      <a:pt x="325" y="295"/>
                    </a:lnTo>
                    <a:lnTo>
                      <a:pt x="319" y="309"/>
                    </a:lnTo>
                    <a:lnTo>
                      <a:pt x="335" y="317"/>
                    </a:lnTo>
                    <a:lnTo>
                      <a:pt x="349" y="303"/>
                    </a:lnTo>
                    <a:lnTo>
                      <a:pt x="371" y="303"/>
                    </a:lnTo>
                    <a:lnTo>
                      <a:pt x="381" y="317"/>
                    </a:lnTo>
                    <a:lnTo>
                      <a:pt x="371" y="337"/>
                    </a:lnTo>
                    <a:lnTo>
                      <a:pt x="351" y="347"/>
                    </a:lnTo>
                    <a:lnTo>
                      <a:pt x="355" y="357"/>
                    </a:lnTo>
                    <a:lnTo>
                      <a:pt x="369" y="361"/>
                    </a:lnTo>
                    <a:lnTo>
                      <a:pt x="365" y="387"/>
                    </a:lnTo>
                    <a:lnTo>
                      <a:pt x="357" y="395"/>
                    </a:lnTo>
                    <a:lnTo>
                      <a:pt x="361" y="415"/>
                    </a:lnTo>
                    <a:lnTo>
                      <a:pt x="373" y="415"/>
                    </a:lnTo>
                    <a:lnTo>
                      <a:pt x="377" y="427"/>
                    </a:lnTo>
                    <a:lnTo>
                      <a:pt x="393" y="443"/>
                    </a:lnTo>
                    <a:lnTo>
                      <a:pt x="409" y="435"/>
                    </a:lnTo>
                    <a:lnTo>
                      <a:pt x="421" y="423"/>
                    </a:lnTo>
                    <a:lnTo>
                      <a:pt x="435" y="431"/>
                    </a:lnTo>
                    <a:lnTo>
                      <a:pt x="439" y="445"/>
                    </a:lnTo>
                    <a:lnTo>
                      <a:pt x="453" y="455"/>
                    </a:lnTo>
                    <a:lnTo>
                      <a:pt x="471" y="459"/>
                    </a:lnTo>
                    <a:lnTo>
                      <a:pt x="487" y="447"/>
                    </a:lnTo>
                    <a:lnTo>
                      <a:pt x="499" y="419"/>
                    </a:lnTo>
                    <a:lnTo>
                      <a:pt x="521" y="419"/>
                    </a:lnTo>
                    <a:lnTo>
                      <a:pt x="547" y="419"/>
                    </a:lnTo>
                    <a:lnTo>
                      <a:pt x="561" y="413"/>
                    </a:lnTo>
                    <a:lnTo>
                      <a:pt x="583" y="423"/>
                    </a:lnTo>
                    <a:lnTo>
                      <a:pt x="597" y="423"/>
                    </a:lnTo>
                    <a:lnTo>
                      <a:pt x="607" y="441"/>
                    </a:lnTo>
                    <a:lnTo>
                      <a:pt x="599" y="457"/>
                    </a:lnTo>
                    <a:lnTo>
                      <a:pt x="575" y="469"/>
                    </a:lnTo>
                    <a:lnTo>
                      <a:pt x="577" y="487"/>
                    </a:lnTo>
                    <a:lnTo>
                      <a:pt x="591" y="487"/>
                    </a:lnTo>
                    <a:lnTo>
                      <a:pt x="595" y="507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4" name="Freeform 178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 rot="698053">
                <a:off x="4449319" y="3235973"/>
                <a:ext cx="313123" cy="371604"/>
              </a:xfrm>
              <a:custGeom>
                <a:avLst/>
                <a:gdLst>
                  <a:gd name="T0" fmla="*/ 346 w 410"/>
                  <a:gd name="T1" fmla="*/ 331 h 503"/>
                  <a:gd name="T2" fmla="*/ 302 w 410"/>
                  <a:gd name="T3" fmla="*/ 319 h 503"/>
                  <a:gd name="T4" fmla="*/ 242 w 410"/>
                  <a:gd name="T5" fmla="*/ 303 h 503"/>
                  <a:gd name="T6" fmla="*/ 242 w 410"/>
                  <a:gd name="T7" fmla="*/ 353 h 503"/>
                  <a:gd name="T8" fmla="*/ 238 w 410"/>
                  <a:gd name="T9" fmla="*/ 381 h 503"/>
                  <a:gd name="T10" fmla="*/ 272 w 410"/>
                  <a:gd name="T11" fmla="*/ 413 h 503"/>
                  <a:gd name="T12" fmla="*/ 236 w 410"/>
                  <a:gd name="T13" fmla="*/ 429 h 503"/>
                  <a:gd name="T14" fmla="*/ 178 w 410"/>
                  <a:gd name="T15" fmla="*/ 409 h 503"/>
                  <a:gd name="T16" fmla="*/ 166 w 410"/>
                  <a:gd name="T17" fmla="*/ 451 h 503"/>
                  <a:gd name="T18" fmla="*/ 134 w 410"/>
                  <a:gd name="T19" fmla="*/ 481 h 503"/>
                  <a:gd name="T20" fmla="*/ 96 w 410"/>
                  <a:gd name="T21" fmla="*/ 503 h 503"/>
                  <a:gd name="T22" fmla="*/ 78 w 410"/>
                  <a:gd name="T23" fmla="*/ 483 h 503"/>
                  <a:gd name="T24" fmla="*/ 100 w 410"/>
                  <a:gd name="T25" fmla="*/ 453 h 503"/>
                  <a:gd name="T26" fmla="*/ 98 w 410"/>
                  <a:gd name="T27" fmla="*/ 419 h 503"/>
                  <a:gd name="T28" fmla="*/ 62 w 410"/>
                  <a:gd name="T29" fmla="*/ 409 h 503"/>
                  <a:gd name="T30" fmla="*/ 0 w 410"/>
                  <a:gd name="T31" fmla="*/ 415 h 503"/>
                  <a:gd name="T32" fmla="*/ 30 w 410"/>
                  <a:gd name="T33" fmla="*/ 393 h 503"/>
                  <a:gd name="T34" fmla="*/ 50 w 410"/>
                  <a:gd name="T35" fmla="*/ 339 h 503"/>
                  <a:gd name="T36" fmla="*/ 64 w 410"/>
                  <a:gd name="T37" fmla="*/ 317 h 503"/>
                  <a:gd name="T38" fmla="*/ 82 w 410"/>
                  <a:gd name="T39" fmla="*/ 277 h 503"/>
                  <a:gd name="T40" fmla="*/ 130 w 410"/>
                  <a:gd name="T41" fmla="*/ 243 h 503"/>
                  <a:gd name="T42" fmla="*/ 152 w 410"/>
                  <a:gd name="T43" fmla="*/ 231 h 503"/>
                  <a:gd name="T44" fmla="*/ 178 w 410"/>
                  <a:gd name="T45" fmla="*/ 245 h 503"/>
                  <a:gd name="T46" fmla="*/ 168 w 410"/>
                  <a:gd name="T47" fmla="*/ 188 h 503"/>
                  <a:gd name="T48" fmla="*/ 122 w 410"/>
                  <a:gd name="T49" fmla="*/ 188 h 503"/>
                  <a:gd name="T50" fmla="*/ 72 w 410"/>
                  <a:gd name="T51" fmla="*/ 158 h 503"/>
                  <a:gd name="T52" fmla="*/ 54 w 410"/>
                  <a:gd name="T53" fmla="*/ 110 h 503"/>
                  <a:gd name="T54" fmla="*/ 78 w 410"/>
                  <a:gd name="T55" fmla="*/ 62 h 503"/>
                  <a:gd name="T56" fmla="*/ 120 w 410"/>
                  <a:gd name="T57" fmla="*/ 78 h 503"/>
                  <a:gd name="T58" fmla="*/ 136 w 410"/>
                  <a:gd name="T59" fmla="*/ 112 h 503"/>
                  <a:gd name="T60" fmla="*/ 180 w 410"/>
                  <a:gd name="T61" fmla="*/ 104 h 503"/>
                  <a:gd name="T62" fmla="*/ 212 w 410"/>
                  <a:gd name="T63" fmla="*/ 80 h 503"/>
                  <a:gd name="T64" fmla="*/ 234 w 410"/>
                  <a:gd name="T65" fmla="*/ 30 h 503"/>
                  <a:gd name="T66" fmla="*/ 246 w 410"/>
                  <a:gd name="T67" fmla="*/ 0 h 503"/>
                  <a:gd name="T68" fmla="*/ 276 w 410"/>
                  <a:gd name="T69" fmla="*/ 30 h 503"/>
                  <a:gd name="T70" fmla="*/ 306 w 410"/>
                  <a:gd name="T71" fmla="*/ 48 h 503"/>
                  <a:gd name="T72" fmla="*/ 340 w 410"/>
                  <a:gd name="T73" fmla="*/ 68 h 503"/>
                  <a:gd name="T74" fmla="*/ 376 w 410"/>
                  <a:gd name="T75" fmla="*/ 62 h 503"/>
                  <a:gd name="T76" fmla="*/ 406 w 410"/>
                  <a:gd name="T77" fmla="*/ 90 h 503"/>
                  <a:gd name="T78" fmla="*/ 410 w 410"/>
                  <a:gd name="T79" fmla="*/ 154 h 503"/>
                  <a:gd name="T80" fmla="*/ 374 w 410"/>
                  <a:gd name="T81" fmla="*/ 174 h 503"/>
                  <a:gd name="T82" fmla="*/ 368 w 410"/>
                  <a:gd name="T83" fmla="*/ 212 h 503"/>
                  <a:gd name="T84" fmla="*/ 338 w 410"/>
                  <a:gd name="T85" fmla="*/ 225 h 503"/>
                  <a:gd name="T86" fmla="*/ 350 w 410"/>
                  <a:gd name="T87" fmla="*/ 259 h 503"/>
                  <a:gd name="T88" fmla="*/ 370 w 410"/>
                  <a:gd name="T89" fmla="*/ 273 h 503"/>
                  <a:gd name="T90" fmla="*/ 406 w 410"/>
                  <a:gd name="T91" fmla="*/ 299 h 503"/>
                  <a:gd name="T92" fmla="*/ 380 w 410"/>
                  <a:gd name="T93" fmla="*/ 337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10" h="503">
                    <a:moveTo>
                      <a:pt x="380" y="337"/>
                    </a:moveTo>
                    <a:lnTo>
                      <a:pt x="346" y="331"/>
                    </a:lnTo>
                    <a:lnTo>
                      <a:pt x="322" y="337"/>
                    </a:lnTo>
                    <a:lnTo>
                      <a:pt x="302" y="319"/>
                    </a:lnTo>
                    <a:lnTo>
                      <a:pt x="270" y="303"/>
                    </a:lnTo>
                    <a:lnTo>
                      <a:pt x="242" y="303"/>
                    </a:lnTo>
                    <a:lnTo>
                      <a:pt x="234" y="333"/>
                    </a:lnTo>
                    <a:lnTo>
                      <a:pt x="242" y="353"/>
                    </a:lnTo>
                    <a:lnTo>
                      <a:pt x="224" y="371"/>
                    </a:lnTo>
                    <a:lnTo>
                      <a:pt x="238" y="381"/>
                    </a:lnTo>
                    <a:lnTo>
                      <a:pt x="254" y="395"/>
                    </a:lnTo>
                    <a:lnTo>
                      <a:pt x="272" y="413"/>
                    </a:lnTo>
                    <a:lnTo>
                      <a:pt x="254" y="429"/>
                    </a:lnTo>
                    <a:lnTo>
                      <a:pt x="236" y="429"/>
                    </a:lnTo>
                    <a:lnTo>
                      <a:pt x="214" y="407"/>
                    </a:lnTo>
                    <a:lnTo>
                      <a:pt x="178" y="409"/>
                    </a:lnTo>
                    <a:lnTo>
                      <a:pt x="156" y="417"/>
                    </a:lnTo>
                    <a:lnTo>
                      <a:pt x="166" y="451"/>
                    </a:lnTo>
                    <a:lnTo>
                      <a:pt x="156" y="475"/>
                    </a:lnTo>
                    <a:lnTo>
                      <a:pt x="134" y="481"/>
                    </a:lnTo>
                    <a:lnTo>
                      <a:pt x="106" y="475"/>
                    </a:lnTo>
                    <a:lnTo>
                      <a:pt x="96" y="503"/>
                    </a:lnTo>
                    <a:lnTo>
                      <a:pt x="92" y="483"/>
                    </a:lnTo>
                    <a:lnTo>
                      <a:pt x="78" y="483"/>
                    </a:lnTo>
                    <a:lnTo>
                      <a:pt x="76" y="465"/>
                    </a:lnTo>
                    <a:lnTo>
                      <a:pt x="100" y="453"/>
                    </a:lnTo>
                    <a:lnTo>
                      <a:pt x="108" y="437"/>
                    </a:lnTo>
                    <a:lnTo>
                      <a:pt x="98" y="419"/>
                    </a:lnTo>
                    <a:lnTo>
                      <a:pt x="84" y="419"/>
                    </a:lnTo>
                    <a:lnTo>
                      <a:pt x="62" y="409"/>
                    </a:lnTo>
                    <a:lnTo>
                      <a:pt x="48" y="415"/>
                    </a:lnTo>
                    <a:lnTo>
                      <a:pt x="0" y="415"/>
                    </a:lnTo>
                    <a:lnTo>
                      <a:pt x="8" y="401"/>
                    </a:lnTo>
                    <a:lnTo>
                      <a:pt x="30" y="393"/>
                    </a:lnTo>
                    <a:lnTo>
                      <a:pt x="32" y="373"/>
                    </a:lnTo>
                    <a:lnTo>
                      <a:pt x="50" y="339"/>
                    </a:lnTo>
                    <a:lnTo>
                      <a:pt x="64" y="339"/>
                    </a:lnTo>
                    <a:lnTo>
                      <a:pt x="64" y="317"/>
                    </a:lnTo>
                    <a:lnTo>
                      <a:pt x="82" y="293"/>
                    </a:lnTo>
                    <a:lnTo>
                      <a:pt x="82" y="277"/>
                    </a:lnTo>
                    <a:lnTo>
                      <a:pt x="110" y="251"/>
                    </a:lnTo>
                    <a:lnTo>
                      <a:pt x="130" y="243"/>
                    </a:lnTo>
                    <a:lnTo>
                      <a:pt x="130" y="233"/>
                    </a:lnTo>
                    <a:lnTo>
                      <a:pt x="152" y="231"/>
                    </a:lnTo>
                    <a:lnTo>
                      <a:pt x="162" y="245"/>
                    </a:lnTo>
                    <a:lnTo>
                      <a:pt x="178" y="245"/>
                    </a:lnTo>
                    <a:lnTo>
                      <a:pt x="178" y="219"/>
                    </a:lnTo>
                    <a:lnTo>
                      <a:pt x="168" y="188"/>
                    </a:lnTo>
                    <a:lnTo>
                      <a:pt x="136" y="178"/>
                    </a:lnTo>
                    <a:lnTo>
                      <a:pt x="122" y="188"/>
                    </a:lnTo>
                    <a:lnTo>
                      <a:pt x="88" y="184"/>
                    </a:lnTo>
                    <a:lnTo>
                      <a:pt x="72" y="158"/>
                    </a:lnTo>
                    <a:lnTo>
                      <a:pt x="68" y="122"/>
                    </a:lnTo>
                    <a:lnTo>
                      <a:pt x="54" y="110"/>
                    </a:lnTo>
                    <a:lnTo>
                      <a:pt x="50" y="84"/>
                    </a:lnTo>
                    <a:lnTo>
                      <a:pt x="78" y="62"/>
                    </a:lnTo>
                    <a:lnTo>
                      <a:pt x="98" y="68"/>
                    </a:lnTo>
                    <a:lnTo>
                      <a:pt x="120" y="78"/>
                    </a:lnTo>
                    <a:lnTo>
                      <a:pt x="136" y="94"/>
                    </a:lnTo>
                    <a:lnTo>
                      <a:pt x="136" y="112"/>
                    </a:lnTo>
                    <a:lnTo>
                      <a:pt x="164" y="122"/>
                    </a:lnTo>
                    <a:lnTo>
                      <a:pt x="180" y="104"/>
                    </a:lnTo>
                    <a:lnTo>
                      <a:pt x="212" y="96"/>
                    </a:lnTo>
                    <a:lnTo>
                      <a:pt x="212" y="80"/>
                    </a:lnTo>
                    <a:lnTo>
                      <a:pt x="228" y="50"/>
                    </a:lnTo>
                    <a:lnTo>
                      <a:pt x="234" y="30"/>
                    </a:lnTo>
                    <a:lnTo>
                      <a:pt x="228" y="8"/>
                    </a:lnTo>
                    <a:lnTo>
                      <a:pt x="246" y="0"/>
                    </a:lnTo>
                    <a:lnTo>
                      <a:pt x="268" y="16"/>
                    </a:lnTo>
                    <a:lnTo>
                      <a:pt x="276" y="30"/>
                    </a:lnTo>
                    <a:lnTo>
                      <a:pt x="300" y="38"/>
                    </a:lnTo>
                    <a:lnTo>
                      <a:pt x="306" y="48"/>
                    </a:lnTo>
                    <a:lnTo>
                      <a:pt x="322" y="50"/>
                    </a:lnTo>
                    <a:lnTo>
                      <a:pt x="340" y="68"/>
                    </a:lnTo>
                    <a:lnTo>
                      <a:pt x="358" y="50"/>
                    </a:lnTo>
                    <a:lnTo>
                      <a:pt x="376" y="62"/>
                    </a:lnTo>
                    <a:lnTo>
                      <a:pt x="392" y="76"/>
                    </a:lnTo>
                    <a:lnTo>
                      <a:pt x="406" y="90"/>
                    </a:lnTo>
                    <a:lnTo>
                      <a:pt x="406" y="120"/>
                    </a:lnTo>
                    <a:lnTo>
                      <a:pt x="410" y="154"/>
                    </a:lnTo>
                    <a:lnTo>
                      <a:pt x="398" y="174"/>
                    </a:lnTo>
                    <a:lnTo>
                      <a:pt x="374" y="174"/>
                    </a:lnTo>
                    <a:lnTo>
                      <a:pt x="360" y="186"/>
                    </a:lnTo>
                    <a:lnTo>
                      <a:pt x="368" y="212"/>
                    </a:lnTo>
                    <a:lnTo>
                      <a:pt x="356" y="225"/>
                    </a:lnTo>
                    <a:lnTo>
                      <a:pt x="338" y="225"/>
                    </a:lnTo>
                    <a:lnTo>
                      <a:pt x="334" y="245"/>
                    </a:lnTo>
                    <a:lnTo>
                      <a:pt x="350" y="259"/>
                    </a:lnTo>
                    <a:lnTo>
                      <a:pt x="366" y="261"/>
                    </a:lnTo>
                    <a:lnTo>
                      <a:pt x="370" y="273"/>
                    </a:lnTo>
                    <a:lnTo>
                      <a:pt x="396" y="273"/>
                    </a:lnTo>
                    <a:lnTo>
                      <a:pt x="406" y="299"/>
                    </a:lnTo>
                    <a:lnTo>
                      <a:pt x="386" y="319"/>
                    </a:lnTo>
                    <a:lnTo>
                      <a:pt x="380" y="337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5" name="Freeform 179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 rot="698053">
                <a:off x="5104583" y="3396995"/>
                <a:ext cx="306007" cy="450741"/>
              </a:xfrm>
              <a:custGeom>
                <a:avLst/>
                <a:gdLst>
                  <a:gd name="T0" fmla="*/ 268 w 400"/>
                  <a:gd name="T1" fmla="*/ 581 h 609"/>
                  <a:gd name="T2" fmla="*/ 198 w 400"/>
                  <a:gd name="T3" fmla="*/ 609 h 609"/>
                  <a:gd name="T4" fmla="*/ 156 w 400"/>
                  <a:gd name="T5" fmla="*/ 601 h 609"/>
                  <a:gd name="T6" fmla="*/ 142 w 400"/>
                  <a:gd name="T7" fmla="*/ 565 h 609"/>
                  <a:gd name="T8" fmla="*/ 174 w 400"/>
                  <a:gd name="T9" fmla="*/ 531 h 609"/>
                  <a:gd name="T10" fmla="*/ 122 w 400"/>
                  <a:gd name="T11" fmla="*/ 517 h 609"/>
                  <a:gd name="T12" fmla="*/ 82 w 400"/>
                  <a:gd name="T13" fmla="*/ 523 h 609"/>
                  <a:gd name="T14" fmla="*/ 70 w 400"/>
                  <a:gd name="T15" fmla="*/ 473 h 609"/>
                  <a:gd name="T16" fmla="*/ 14 w 400"/>
                  <a:gd name="T17" fmla="*/ 481 h 609"/>
                  <a:gd name="T18" fmla="*/ 24 w 400"/>
                  <a:gd name="T19" fmla="*/ 441 h 609"/>
                  <a:gd name="T20" fmla="*/ 30 w 400"/>
                  <a:gd name="T21" fmla="*/ 397 h 609"/>
                  <a:gd name="T22" fmla="*/ 0 w 400"/>
                  <a:gd name="T23" fmla="*/ 355 h 609"/>
                  <a:gd name="T24" fmla="*/ 8 w 400"/>
                  <a:gd name="T25" fmla="*/ 323 h 609"/>
                  <a:gd name="T26" fmla="*/ 22 w 400"/>
                  <a:gd name="T27" fmla="*/ 291 h 609"/>
                  <a:gd name="T28" fmla="*/ 46 w 400"/>
                  <a:gd name="T29" fmla="*/ 275 h 609"/>
                  <a:gd name="T30" fmla="*/ 52 w 400"/>
                  <a:gd name="T31" fmla="*/ 237 h 609"/>
                  <a:gd name="T32" fmla="*/ 110 w 400"/>
                  <a:gd name="T33" fmla="*/ 199 h 609"/>
                  <a:gd name="T34" fmla="*/ 120 w 400"/>
                  <a:gd name="T35" fmla="*/ 172 h 609"/>
                  <a:gd name="T36" fmla="*/ 94 w 400"/>
                  <a:gd name="T37" fmla="*/ 144 h 609"/>
                  <a:gd name="T38" fmla="*/ 64 w 400"/>
                  <a:gd name="T39" fmla="*/ 124 h 609"/>
                  <a:gd name="T40" fmla="*/ 84 w 400"/>
                  <a:gd name="T41" fmla="*/ 98 h 609"/>
                  <a:gd name="T42" fmla="*/ 78 w 400"/>
                  <a:gd name="T43" fmla="*/ 50 h 609"/>
                  <a:gd name="T44" fmla="*/ 106 w 400"/>
                  <a:gd name="T45" fmla="*/ 14 h 609"/>
                  <a:gd name="T46" fmla="*/ 146 w 400"/>
                  <a:gd name="T47" fmla="*/ 22 h 609"/>
                  <a:gd name="T48" fmla="*/ 134 w 400"/>
                  <a:gd name="T49" fmla="*/ 50 h 609"/>
                  <a:gd name="T50" fmla="*/ 174 w 400"/>
                  <a:gd name="T51" fmla="*/ 64 h 609"/>
                  <a:gd name="T52" fmla="*/ 206 w 400"/>
                  <a:gd name="T53" fmla="*/ 82 h 609"/>
                  <a:gd name="T54" fmla="*/ 242 w 400"/>
                  <a:gd name="T55" fmla="*/ 68 h 609"/>
                  <a:gd name="T56" fmla="*/ 286 w 400"/>
                  <a:gd name="T57" fmla="*/ 86 h 609"/>
                  <a:gd name="T58" fmla="*/ 344 w 400"/>
                  <a:gd name="T59" fmla="*/ 74 h 609"/>
                  <a:gd name="T60" fmla="*/ 378 w 400"/>
                  <a:gd name="T61" fmla="*/ 36 h 609"/>
                  <a:gd name="T62" fmla="*/ 374 w 400"/>
                  <a:gd name="T63" fmla="*/ 66 h 609"/>
                  <a:gd name="T64" fmla="*/ 366 w 400"/>
                  <a:gd name="T65" fmla="*/ 110 h 609"/>
                  <a:gd name="T66" fmla="*/ 378 w 400"/>
                  <a:gd name="T67" fmla="*/ 160 h 609"/>
                  <a:gd name="T68" fmla="*/ 400 w 400"/>
                  <a:gd name="T69" fmla="*/ 213 h 609"/>
                  <a:gd name="T70" fmla="*/ 400 w 400"/>
                  <a:gd name="T71" fmla="*/ 277 h 609"/>
                  <a:gd name="T72" fmla="*/ 384 w 400"/>
                  <a:gd name="T73" fmla="*/ 313 h 609"/>
                  <a:gd name="T74" fmla="*/ 374 w 400"/>
                  <a:gd name="T75" fmla="*/ 343 h 609"/>
                  <a:gd name="T76" fmla="*/ 338 w 400"/>
                  <a:gd name="T77" fmla="*/ 343 h 609"/>
                  <a:gd name="T78" fmla="*/ 298 w 400"/>
                  <a:gd name="T79" fmla="*/ 409 h 609"/>
                  <a:gd name="T80" fmla="*/ 304 w 400"/>
                  <a:gd name="T81" fmla="*/ 483 h 609"/>
                  <a:gd name="T82" fmla="*/ 316 w 400"/>
                  <a:gd name="T83" fmla="*/ 513 h 609"/>
                  <a:gd name="T84" fmla="*/ 290 w 400"/>
                  <a:gd name="T85" fmla="*/ 55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00" h="609">
                    <a:moveTo>
                      <a:pt x="290" y="559"/>
                    </a:moveTo>
                    <a:lnTo>
                      <a:pt x="268" y="581"/>
                    </a:lnTo>
                    <a:lnTo>
                      <a:pt x="230" y="591"/>
                    </a:lnTo>
                    <a:lnTo>
                      <a:pt x="198" y="609"/>
                    </a:lnTo>
                    <a:lnTo>
                      <a:pt x="184" y="587"/>
                    </a:lnTo>
                    <a:lnTo>
                      <a:pt x="156" y="601"/>
                    </a:lnTo>
                    <a:lnTo>
                      <a:pt x="134" y="601"/>
                    </a:lnTo>
                    <a:lnTo>
                      <a:pt x="142" y="565"/>
                    </a:lnTo>
                    <a:lnTo>
                      <a:pt x="174" y="551"/>
                    </a:lnTo>
                    <a:lnTo>
                      <a:pt x="174" y="531"/>
                    </a:lnTo>
                    <a:lnTo>
                      <a:pt x="146" y="531"/>
                    </a:lnTo>
                    <a:lnTo>
                      <a:pt x="122" y="517"/>
                    </a:lnTo>
                    <a:lnTo>
                      <a:pt x="108" y="531"/>
                    </a:lnTo>
                    <a:lnTo>
                      <a:pt x="82" y="523"/>
                    </a:lnTo>
                    <a:lnTo>
                      <a:pt x="90" y="493"/>
                    </a:lnTo>
                    <a:lnTo>
                      <a:pt x="70" y="473"/>
                    </a:lnTo>
                    <a:lnTo>
                      <a:pt x="44" y="489"/>
                    </a:lnTo>
                    <a:lnTo>
                      <a:pt x="14" y="481"/>
                    </a:lnTo>
                    <a:lnTo>
                      <a:pt x="8" y="457"/>
                    </a:lnTo>
                    <a:lnTo>
                      <a:pt x="24" y="441"/>
                    </a:lnTo>
                    <a:lnTo>
                      <a:pt x="24" y="415"/>
                    </a:lnTo>
                    <a:lnTo>
                      <a:pt x="30" y="397"/>
                    </a:lnTo>
                    <a:lnTo>
                      <a:pt x="20" y="363"/>
                    </a:lnTo>
                    <a:lnTo>
                      <a:pt x="0" y="355"/>
                    </a:lnTo>
                    <a:lnTo>
                      <a:pt x="0" y="339"/>
                    </a:lnTo>
                    <a:lnTo>
                      <a:pt x="8" y="323"/>
                    </a:lnTo>
                    <a:lnTo>
                      <a:pt x="22" y="309"/>
                    </a:lnTo>
                    <a:lnTo>
                      <a:pt x="22" y="291"/>
                    </a:lnTo>
                    <a:lnTo>
                      <a:pt x="32" y="289"/>
                    </a:lnTo>
                    <a:lnTo>
                      <a:pt x="46" y="275"/>
                    </a:lnTo>
                    <a:lnTo>
                      <a:pt x="52" y="261"/>
                    </a:lnTo>
                    <a:lnTo>
                      <a:pt x="52" y="237"/>
                    </a:lnTo>
                    <a:lnTo>
                      <a:pt x="86" y="205"/>
                    </a:lnTo>
                    <a:lnTo>
                      <a:pt x="110" y="199"/>
                    </a:lnTo>
                    <a:lnTo>
                      <a:pt x="120" y="190"/>
                    </a:lnTo>
                    <a:lnTo>
                      <a:pt x="120" y="172"/>
                    </a:lnTo>
                    <a:lnTo>
                      <a:pt x="100" y="160"/>
                    </a:lnTo>
                    <a:lnTo>
                      <a:pt x="94" y="144"/>
                    </a:lnTo>
                    <a:lnTo>
                      <a:pt x="82" y="132"/>
                    </a:lnTo>
                    <a:lnTo>
                      <a:pt x="64" y="124"/>
                    </a:lnTo>
                    <a:lnTo>
                      <a:pt x="64" y="108"/>
                    </a:lnTo>
                    <a:lnTo>
                      <a:pt x="84" y="98"/>
                    </a:lnTo>
                    <a:lnTo>
                      <a:pt x="76" y="72"/>
                    </a:lnTo>
                    <a:lnTo>
                      <a:pt x="78" y="50"/>
                    </a:lnTo>
                    <a:lnTo>
                      <a:pt x="96" y="30"/>
                    </a:lnTo>
                    <a:lnTo>
                      <a:pt x="106" y="14"/>
                    </a:lnTo>
                    <a:lnTo>
                      <a:pt x="126" y="0"/>
                    </a:lnTo>
                    <a:lnTo>
                      <a:pt x="146" y="22"/>
                    </a:lnTo>
                    <a:lnTo>
                      <a:pt x="134" y="34"/>
                    </a:lnTo>
                    <a:lnTo>
                      <a:pt x="134" y="50"/>
                    </a:lnTo>
                    <a:lnTo>
                      <a:pt x="152" y="56"/>
                    </a:lnTo>
                    <a:lnTo>
                      <a:pt x="174" y="64"/>
                    </a:lnTo>
                    <a:lnTo>
                      <a:pt x="190" y="70"/>
                    </a:lnTo>
                    <a:lnTo>
                      <a:pt x="206" y="82"/>
                    </a:lnTo>
                    <a:lnTo>
                      <a:pt x="234" y="82"/>
                    </a:lnTo>
                    <a:lnTo>
                      <a:pt x="242" y="68"/>
                    </a:lnTo>
                    <a:lnTo>
                      <a:pt x="266" y="80"/>
                    </a:lnTo>
                    <a:lnTo>
                      <a:pt x="286" y="86"/>
                    </a:lnTo>
                    <a:lnTo>
                      <a:pt x="318" y="86"/>
                    </a:lnTo>
                    <a:lnTo>
                      <a:pt x="344" y="74"/>
                    </a:lnTo>
                    <a:lnTo>
                      <a:pt x="366" y="52"/>
                    </a:lnTo>
                    <a:lnTo>
                      <a:pt x="378" y="36"/>
                    </a:lnTo>
                    <a:lnTo>
                      <a:pt x="382" y="48"/>
                    </a:lnTo>
                    <a:lnTo>
                      <a:pt x="374" y="66"/>
                    </a:lnTo>
                    <a:lnTo>
                      <a:pt x="366" y="84"/>
                    </a:lnTo>
                    <a:lnTo>
                      <a:pt x="366" y="110"/>
                    </a:lnTo>
                    <a:lnTo>
                      <a:pt x="382" y="126"/>
                    </a:lnTo>
                    <a:lnTo>
                      <a:pt x="378" y="160"/>
                    </a:lnTo>
                    <a:lnTo>
                      <a:pt x="392" y="190"/>
                    </a:lnTo>
                    <a:lnTo>
                      <a:pt x="400" y="213"/>
                    </a:lnTo>
                    <a:lnTo>
                      <a:pt x="400" y="247"/>
                    </a:lnTo>
                    <a:lnTo>
                      <a:pt x="400" y="277"/>
                    </a:lnTo>
                    <a:lnTo>
                      <a:pt x="378" y="299"/>
                    </a:lnTo>
                    <a:lnTo>
                      <a:pt x="384" y="313"/>
                    </a:lnTo>
                    <a:lnTo>
                      <a:pt x="384" y="333"/>
                    </a:lnTo>
                    <a:lnTo>
                      <a:pt x="374" y="343"/>
                    </a:lnTo>
                    <a:lnTo>
                      <a:pt x="354" y="337"/>
                    </a:lnTo>
                    <a:lnTo>
                      <a:pt x="338" y="343"/>
                    </a:lnTo>
                    <a:lnTo>
                      <a:pt x="312" y="373"/>
                    </a:lnTo>
                    <a:lnTo>
                      <a:pt x="298" y="409"/>
                    </a:lnTo>
                    <a:lnTo>
                      <a:pt x="304" y="457"/>
                    </a:lnTo>
                    <a:lnTo>
                      <a:pt x="304" y="483"/>
                    </a:lnTo>
                    <a:lnTo>
                      <a:pt x="316" y="497"/>
                    </a:lnTo>
                    <a:lnTo>
                      <a:pt x="316" y="513"/>
                    </a:lnTo>
                    <a:lnTo>
                      <a:pt x="302" y="527"/>
                    </a:lnTo>
                    <a:lnTo>
                      <a:pt x="290" y="559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6" name="Freeform 180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 rot="698053">
                <a:off x="5298469" y="3620615"/>
                <a:ext cx="499337" cy="363576"/>
              </a:xfrm>
              <a:custGeom>
                <a:avLst/>
                <a:gdLst>
                  <a:gd name="T0" fmla="*/ 121 w 653"/>
                  <a:gd name="T1" fmla="*/ 446 h 492"/>
                  <a:gd name="T2" fmla="*/ 88 w 653"/>
                  <a:gd name="T3" fmla="*/ 398 h 492"/>
                  <a:gd name="T4" fmla="*/ 64 w 653"/>
                  <a:gd name="T5" fmla="*/ 364 h 492"/>
                  <a:gd name="T6" fmla="*/ 100 w 653"/>
                  <a:gd name="T7" fmla="*/ 342 h 492"/>
                  <a:gd name="T8" fmla="*/ 68 w 653"/>
                  <a:gd name="T9" fmla="*/ 324 h 492"/>
                  <a:gd name="T10" fmla="*/ 20 w 653"/>
                  <a:gd name="T11" fmla="*/ 346 h 492"/>
                  <a:gd name="T12" fmla="*/ 12 w 653"/>
                  <a:gd name="T13" fmla="*/ 314 h 492"/>
                  <a:gd name="T14" fmla="*/ 26 w 653"/>
                  <a:gd name="T15" fmla="*/ 284 h 492"/>
                  <a:gd name="T16" fmla="*/ 14 w 653"/>
                  <a:gd name="T17" fmla="*/ 244 h 492"/>
                  <a:gd name="T18" fmla="*/ 22 w 653"/>
                  <a:gd name="T19" fmla="*/ 160 h 492"/>
                  <a:gd name="T20" fmla="*/ 64 w 653"/>
                  <a:gd name="T21" fmla="*/ 124 h 492"/>
                  <a:gd name="T22" fmla="*/ 94 w 653"/>
                  <a:gd name="T23" fmla="*/ 120 h 492"/>
                  <a:gd name="T24" fmla="*/ 88 w 653"/>
                  <a:gd name="T25" fmla="*/ 86 h 492"/>
                  <a:gd name="T26" fmla="*/ 110 w 653"/>
                  <a:gd name="T27" fmla="*/ 0 h 492"/>
                  <a:gd name="T28" fmla="*/ 157 w 653"/>
                  <a:gd name="T29" fmla="*/ 24 h 492"/>
                  <a:gd name="T30" fmla="*/ 225 w 653"/>
                  <a:gd name="T31" fmla="*/ 28 h 492"/>
                  <a:gd name="T32" fmla="*/ 291 w 653"/>
                  <a:gd name="T33" fmla="*/ 60 h 492"/>
                  <a:gd name="T34" fmla="*/ 331 w 653"/>
                  <a:gd name="T35" fmla="*/ 100 h 492"/>
                  <a:gd name="T36" fmla="*/ 417 w 653"/>
                  <a:gd name="T37" fmla="*/ 136 h 492"/>
                  <a:gd name="T38" fmla="*/ 467 w 653"/>
                  <a:gd name="T39" fmla="*/ 168 h 492"/>
                  <a:gd name="T40" fmla="*/ 517 w 653"/>
                  <a:gd name="T41" fmla="*/ 142 h 492"/>
                  <a:gd name="T42" fmla="*/ 539 w 653"/>
                  <a:gd name="T43" fmla="*/ 184 h 492"/>
                  <a:gd name="T44" fmla="*/ 549 w 653"/>
                  <a:gd name="T45" fmla="*/ 218 h 492"/>
                  <a:gd name="T46" fmla="*/ 551 w 653"/>
                  <a:gd name="T47" fmla="*/ 246 h 492"/>
                  <a:gd name="T48" fmla="*/ 587 w 653"/>
                  <a:gd name="T49" fmla="*/ 210 h 492"/>
                  <a:gd name="T50" fmla="*/ 625 w 653"/>
                  <a:gd name="T51" fmla="*/ 256 h 492"/>
                  <a:gd name="T52" fmla="*/ 641 w 653"/>
                  <a:gd name="T53" fmla="*/ 314 h 492"/>
                  <a:gd name="T54" fmla="*/ 653 w 653"/>
                  <a:gd name="T55" fmla="*/ 396 h 492"/>
                  <a:gd name="T56" fmla="*/ 583 w 653"/>
                  <a:gd name="T57" fmla="*/ 422 h 492"/>
                  <a:gd name="T58" fmla="*/ 547 w 653"/>
                  <a:gd name="T59" fmla="*/ 426 h 492"/>
                  <a:gd name="T60" fmla="*/ 513 w 653"/>
                  <a:gd name="T61" fmla="*/ 428 h 492"/>
                  <a:gd name="T62" fmla="*/ 475 w 653"/>
                  <a:gd name="T63" fmla="*/ 484 h 492"/>
                  <a:gd name="T64" fmla="*/ 439 w 653"/>
                  <a:gd name="T65" fmla="*/ 466 h 492"/>
                  <a:gd name="T66" fmla="*/ 413 w 653"/>
                  <a:gd name="T67" fmla="*/ 448 h 492"/>
                  <a:gd name="T68" fmla="*/ 389 w 653"/>
                  <a:gd name="T69" fmla="*/ 404 h 492"/>
                  <a:gd name="T70" fmla="*/ 349 w 653"/>
                  <a:gd name="T71" fmla="*/ 394 h 492"/>
                  <a:gd name="T72" fmla="*/ 271 w 653"/>
                  <a:gd name="T73" fmla="*/ 436 h 492"/>
                  <a:gd name="T74" fmla="*/ 201 w 653"/>
                  <a:gd name="T75" fmla="*/ 446 h 492"/>
                  <a:gd name="T76" fmla="*/ 165 w 653"/>
                  <a:gd name="T77" fmla="*/ 438 h 492"/>
                  <a:gd name="T78" fmla="*/ 135 w 653"/>
                  <a:gd name="T79" fmla="*/ 462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53" h="492">
                    <a:moveTo>
                      <a:pt x="135" y="462"/>
                    </a:moveTo>
                    <a:lnTo>
                      <a:pt x="121" y="446"/>
                    </a:lnTo>
                    <a:lnTo>
                      <a:pt x="104" y="414"/>
                    </a:lnTo>
                    <a:lnTo>
                      <a:pt x="88" y="398"/>
                    </a:lnTo>
                    <a:lnTo>
                      <a:pt x="64" y="388"/>
                    </a:lnTo>
                    <a:lnTo>
                      <a:pt x="64" y="364"/>
                    </a:lnTo>
                    <a:lnTo>
                      <a:pt x="84" y="364"/>
                    </a:lnTo>
                    <a:lnTo>
                      <a:pt x="100" y="342"/>
                    </a:lnTo>
                    <a:lnTo>
                      <a:pt x="92" y="324"/>
                    </a:lnTo>
                    <a:lnTo>
                      <a:pt x="68" y="324"/>
                    </a:lnTo>
                    <a:lnTo>
                      <a:pt x="48" y="344"/>
                    </a:lnTo>
                    <a:lnTo>
                      <a:pt x="20" y="346"/>
                    </a:lnTo>
                    <a:lnTo>
                      <a:pt x="0" y="346"/>
                    </a:lnTo>
                    <a:lnTo>
                      <a:pt x="12" y="314"/>
                    </a:lnTo>
                    <a:lnTo>
                      <a:pt x="26" y="300"/>
                    </a:lnTo>
                    <a:lnTo>
                      <a:pt x="26" y="284"/>
                    </a:lnTo>
                    <a:lnTo>
                      <a:pt x="14" y="270"/>
                    </a:lnTo>
                    <a:lnTo>
                      <a:pt x="14" y="244"/>
                    </a:lnTo>
                    <a:lnTo>
                      <a:pt x="8" y="196"/>
                    </a:lnTo>
                    <a:lnTo>
                      <a:pt x="22" y="160"/>
                    </a:lnTo>
                    <a:lnTo>
                      <a:pt x="48" y="130"/>
                    </a:lnTo>
                    <a:lnTo>
                      <a:pt x="64" y="124"/>
                    </a:lnTo>
                    <a:lnTo>
                      <a:pt x="84" y="130"/>
                    </a:lnTo>
                    <a:lnTo>
                      <a:pt x="94" y="120"/>
                    </a:lnTo>
                    <a:lnTo>
                      <a:pt x="94" y="100"/>
                    </a:lnTo>
                    <a:lnTo>
                      <a:pt x="88" y="86"/>
                    </a:lnTo>
                    <a:lnTo>
                      <a:pt x="110" y="64"/>
                    </a:lnTo>
                    <a:lnTo>
                      <a:pt x="110" y="0"/>
                    </a:lnTo>
                    <a:lnTo>
                      <a:pt x="141" y="8"/>
                    </a:lnTo>
                    <a:lnTo>
                      <a:pt x="157" y="24"/>
                    </a:lnTo>
                    <a:lnTo>
                      <a:pt x="189" y="24"/>
                    </a:lnTo>
                    <a:lnTo>
                      <a:pt x="225" y="28"/>
                    </a:lnTo>
                    <a:lnTo>
                      <a:pt x="255" y="44"/>
                    </a:lnTo>
                    <a:lnTo>
                      <a:pt x="291" y="60"/>
                    </a:lnTo>
                    <a:lnTo>
                      <a:pt x="313" y="82"/>
                    </a:lnTo>
                    <a:lnTo>
                      <a:pt x="331" y="100"/>
                    </a:lnTo>
                    <a:lnTo>
                      <a:pt x="359" y="136"/>
                    </a:lnTo>
                    <a:lnTo>
                      <a:pt x="417" y="136"/>
                    </a:lnTo>
                    <a:lnTo>
                      <a:pt x="439" y="168"/>
                    </a:lnTo>
                    <a:lnTo>
                      <a:pt x="467" y="168"/>
                    </a:lnTo>
                    <a:lnTo>
                      <a:pt x="499" y="160"/>
                    </a:lnTo>
                    <a:lnTo>
                      <a:pt x="517" y="142"/>
                    </a:lnTo>
                    <a:lnTo>
                      <a:pt x="535" y="150"/>
                    </a:lnTo>
                    <a:lnTo>
                      <a:pt x="539" y="184"/>
                    </a:lnTo>
                    <a:lnTo>
                      <a:pt x="539" y="208"/>
                    </a:lnTo>
                    <a:lnTo>
                      <a:pt x="549" y="218"/>
                    </a:lnTo>
                    <a:lnTo>
                      <a:pt x="537" y="232"/>
                    </a:lnTo>
                    <a:lnTo>
                      <a:pt x="551" y="246"/>
                    </a:lnTo>
                    <a:lnTo>
                      <a:pt x="569" y="228"/>
                    </a:lnTo>
                    <a:lnTo>
                      <a:pt x="587" y="210"/>
                    </a:lnTo>
                    <a:lnTo>
                      <a:pt x="621" y="212"/>
                    </a:lnTo>
                    <a:lnTo>
                      <a:pt x="625" y="256"/>
                    </a:lnTo>
                    <a:lnTo>
                      <a:pt x="633" y="274"/>
                    </a:lnTo>
                    <a:lnTo>
                      <a:pt x="641" y="314"/>
                    </a:lnTo>
                    <a:lnTo>
                      <a:pt x="635" y="372"/>
                    </a:lnTo>
                    <a:lnTo>
                      <a:pt x="653" y="396"/>
                    </a:lnTo>
                    <a:lnTo>
                      <a:pt x="609" y="422"/>
                    </a:lnTo>
                    <a:lnTo>
                      <a:pt x="583" y="422"/>
                    </a:lnTo>
                    <a:lnTo>
                      <a:pt x="565" y="436"/>
                    </a:lnTo>
                    <a:lnTo>
                      <a:pt x="547" y="426"/>
                    </a:lnTo>
                    <a:lnTo>
                      <a:pt x="529" y="444"/>
                    </a:lnTo>
                    <a:lnTo>
                      <a:pt x="513" y="428"/>
                    </a:lnTo>
                    <a:lnTo>
                      <a:pt x="487" y="452"/>
                    </a:lnTo>
                    <a:lnTo>
                      <a:pt x="475" y="484"/>
                    </a:lnTo>
                    <a:lnTo>
                      <a:pt x="457" y="492"/>
                    </a:lnTo>
                    <a:lnTo>
                      <a:pt x="439" y="466"/>
                    </a:lnTo>
                    <a:lnTo>
                      <a:pt x="425" y="466"/>
                    </a:lnTo>
                    <a:lnTo>
                      <a:pt x="413" y="448"/>
                    </a:lnTo>
                    <a:lnTo>
                      <a:pt x="413" y="428"/>
                    </a:lnTo>
                    <a:lnTo>
                      <a:pt x="389" y="404"/>
                    </a:lnTo>
                    <a:lnTo>
                      <a:pt x="375" y="392"/>
                    </a:lnTo>
                    <a:lnTo>
                      <a:pt x="349" y="394"/>
                    </a:lnTo>
                    <a:lnTo>
                      <a:pt x="309" y="406"/>
                    </a:lnTo>
                    <a:lnTo>
                      <a:pt x="271" y="436"/>
                    </a:lnTo>
                    <a:lnTo>
                      <a:pt x="227" y="436"/>
                    </a:lnTo>
                    <a:lnTo>
                      <a:pt x="201" y="446"/>
                    </a:lnTo>
                    <a:lnTo>
                      <a:pt x="181" y="454"/>
                    </a:lnTo>
                    <a:lnTo>
                      <a:pt x="165" y="438"/>
                    </a:lnTo>
                    <a:lnTo>
                      <a:pt x="157" y="452"/>
                    </a:lnTo>
                    <a:lnTo>
                      <a:pt x="135" y="46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3" name="Freeform 181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 rot="698053">
                <a:off x="5348725" y="3926245"/>
                <a:ext cx="487476" cy="324580"/>
              </a:xfrm>
              <a:custGeom>
                <a:avLst/>
                <a:gdLst>
                  <a:gd name="T0" fmla="*/ 394 w 638"/>
                  <a:gd name="T1" fmla="*/ 420 h 439"/>
                  <a:gd name="T2" fmla="*/ 354 w 638"/>
                  <a:gd name="T3" fmla="*/ 392 h 439"/>
                  <a:gd name="T4" fmla="*/ 302 w 638"/>
                  <a:gd name="T5" fmla="*/ 410 h 439"/>
                  <a:gd name="T6" fmla="*/ 256 w 638"/>
                  <a:gd name="T7" fmla="*/ 402 h 439"/>
                  <a:gd name="T8" fmla="*/ 210 w 638"/>
                  <a:gd name="T9" fmla="*/ 390 h 439"/>
                  <a:gd name="T10" fmla="*/ 196 w 638"/>
                  <a:gd name="T11" fmla="*/ 356 h 439"/>
                  <a:gd name="T12" fmla="*/ 160 w 638"/>
                  <a:gd name="T13" fmla="*/ 346 h 439"/>
                  <a:gd name="T14" fmla="*/ 116 w 638"/>
                  <a:gd name="T15" fmla="*/ 382 h 439"/>
                  <a:gd name="T16" fmla="*/ 90 w 638"/>
                  <a:gd name="T17" fmla="*/ 316 h 439"/>
                  <a:gd name="T18" fmla="*/ 60 w 638"/>
                  <a:gd name="T19" fmla="*/ 242 h 439"/>
                  <a:gd name="T20" fmla="*/ 38 w 638"/>
                  <a:gd name="T21" fmla="*/ 190 h 439"/>
                  <a:gd name="T22" fmla="*/ 22 w 638"/>
                  <a:gd name="T23" fmla="*/ 92 h 439"/>
                  <a:gd name="T24" fmla="*/ 16 w 638"/>
                  <a:gd name="T25" fmla="*/ 62 h 439"/>
                  <a:gd name="T26" fmla="*/ 46 w 638"/>
                  <a:gd name="T27" fmla="*/ 62 h 439"/>
                  <a:gd name="T28" fmla="*/ 136 w 638"/>
                  <a:gd name="T29" fmla="*/ 44 h 439"/>
                  <a:gd name="T30" fmla="*/ 214 w 638"/>
                  <a:gd name="T31" fmla="*/ 2 h 439"/>
                  <a:gd name="T32" fmla="*/ 278 w 638"/>
                  <a:gd name="T33" fmla="*/ 36 h 439"/>
                  <a:gd name="T34" fmla="*/ 290 w 638"/>
                  <a:gd name="T35" fmla="*/ 74 h 439"/>
                  <a:gd name="T36" fmla="*/ 322 w 638"/>
                  <a:gd name="T37" fmla="*/ 100 h 439"/>
                  <a:gd name="T38" fmla="*/ 352 w 638"/>
                  <a:gd name="T39" fmla="*/ 60 h 439"/>
                  <a:gd name="T40" fmla="*/ 394 w 638"/>
                  <a:gd name="T41" fmla="*/ 52 h 439"/>
                  <a:gd name="T42" fmla="*/ 430 w 638"/>
                  <a:gd name="T43" fmla="*/ 44 h 439"/>
                  <a:gd name="T44" fmla="*/ 474 w 638"/>
                  <a:gd name="T45" fmla="*/ 30 h 439"/>
                  <a:gd name="T46" fmla="*/ 534 w 638"/>
                  <a:gd name="T47" fmla="*/ 36 h 439"/>
                  <a:gd name="T48" fmla="*/ 574 w 638"/>
                  <a:gd name="T49" fmla="*/ 68 h 439"/>
                  <a:gd name="T50" fmla="*/ 594 w 638"/>
                  <a:gd name="T51" fmla="*/ 108 h 439"/>
                  <a:gd name="T52" fmla="*/ 636 w 638"/>
                  <a:gd name="T53" fmla="*/ 122 h 439"/>
                  <a:gd name="T54" fmla="*/ 616 w 638"/>
                  <a:gd name="T55" fmla="*/ 148 h 439"/>
                  <a:gd name="T56" fmla="*/ 630 w 638"/>
                  <a:gd name="T57" fmla="*/ 194 h 439"/>
                  <a:gd name="T58" fmla="*/ 618 w 638"/>
                  <a:gd name="T59" fmla="*/ 226 h 439"/>
                  <a:gd name="T60" fmla="*/ 620 w 638"/>
                  <a:gd name="T61" fmla="*/ 262 h 439"/>
                  <a:gd name="T62" fmla="*/ 596 w 638"/>
                  <a:gd name="T63" fmla="*/ 278 h 439"/>
                  <a:gd name="T64" fmla="*/ 558 w 638"/>
                  <a:gd name="T65" fmla="*/ 278 h 439"/>
                  <a:gd name="T66" fmla="*/ 542 w 638"/>
                  <a:gd name="T67" fmla="*/ 314 h 439"/>
                  <a:gd name="T68" fmla="*/ 510 w 638"/>
                  <a:gd name="T69" fmla="*/ 348 h 439"/>
                  <a:gd name="T70" fmla="*/ 452 w 638"/>
                  <a:gd name="T71" fmla="*/ 360 h 439"/>
                  <a:gd name="T72" fmla="*/ 410 w 638"/>
                  <a:gd name="T73" fmla="*/ 382 h 439"/>
                  <a:gd name="T74" fmla="*/ 440 w 638"/>
                  <a:gd name="T75" fmla="*/ 412 h 439"/>
                  <a:gd name="T76" fmla="*/ 414 w 638"/>
                  <a:gd name="T77" fmla="*/ 439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38" h="439">
                    <a:moveTo>
                      <a:pt x="414" y="439"/>
                    </a:moveTo>
                    <a:lnTo>
                      <a:pt x="394" y="420"/>
                    </a:lnTo>
                    <a:lnTo>
                      <a:pt x="370" y="410"/>
                    </a:lnTo>
                    <a:lnTo>
                      <a:pt x="354" y="392"/>
                    </a:lnTo>
                    <a:lnTo>
                      <a:pt x="320" y="392"/>
                    </a:lnTo>
                    <a:lnTo>
                      <a:pt x="302" y="410"/>
                    </a:lnTo>
                    <a:lnTo>
                      <a:pt x="270" y="414"/>
                    </a:lnTo>
                    <a:lnTo>
                      <a:pt x="256" y="402"/>
                    </a:lnTo>
                    <a:lnTo>
                      <a:pt x="226" y="406"/>
                    </a:lnTo>
                    <a:lnTo>
                      <a:pt x="210" y="390"/>
                    </a:lnTo>
                    <a:lnTo>
                      <a:pt x="196" y="376"/>
                    </a:lnTo>
                    <a:lnTo>
                      <a:pt x="196" y="356"/>
                    </a:lnTo>
                    <a:lnTo>
                      <a:pt x="182" y="338"/>
                    </a:lnTo>
                    <a:lnTo>
                      <a:pt x="160" y="346"/>
                    </a:lnTo>
                    <a:lnTo>
                      <a:pt x="146" y="376"/>
                    </a:lnTo>
                    <a:lnTo>
                      <a:pt x="116" y="382"/>
                    </a:lnTo>
                    <a:lnTo>
                      <a:pt x="98" y="346"/>
                    </a:lnTo>
                    <a:lnTo>
                      <a:pt x="90" y="316"/>
                    </a:lnTo>
                    <a:lnTo>
                      <a:pt x="82" y="282"/>
                    </a:lnTo>
                    <a:lnTo>
                      <a:pt x="60" y="242"/>
                    </a:lnTo>
                    <a:lnTo>
                      <a:pt x="60" y="210"/>
                    </a:lnTo>
                    <a:lnTo>
                      <a:pt x="38" y="190"/>
                    </a:lnTo>
                    <a:lnTo>
                      <a:pt x="38" y="146"/>
                    </a:lnTo>
                    <a:lnTo>
                      <a:pt x="22" y="92"/>
                    </a:lnTo>
                    <a:lnTo>
                      <a:pt x="0" y="70"/>
                    </a:lnTo>
                    <a:lnTo>
                      <a:pt x="16" y="62"/>
                    </a:lnTo>
                    <a:lnTo>
                      <a:pt x="30" y="46"/>
                    </a:lnTo>
                    <a:lnTo>
                      <a:pt x="46" y="62"/>
                    </a:lnTo>
                    <a:lnTo>
                      <a:pt x="92" y="44"/>
                    </a:lnTo>
                    <a:lnTo>
                      <a:pt x="136" y="44"/>
                    </a:lnTo>
                    <a:lnTo>
                      <a:pt x="174" y="14"/>
                    </a:lnTo>
                    <a:lnTo>
                      <a:pt x="214" y="2"/>
                    </a:lnTo>
                    <a:lnTo>
                      <a:pt x="240" y="0"/>
                    </a:lnTo>
                    <a:lnTo>
                      <a:pt x="278" y="36"/>
                    </a:lnTo>
                    <a:lnTo>
                      <a:pt x="278" y="56"/>
                    </a:lnTo>
                    <a:lnTo>
                      <a:pt x="290" y="74"/>
                    </a:lnTo>
                    <a:lnTo>
                      <a:pt x="304" y="74"/>
                    </a:lnTo>
                    <a:lnTo>
                      <a:pt x="322" y="100"/>
                    </a:lnTo>
                    <a:lnTo>
                      <a:pt x="340" y="92"/>
                    </a:lnTo>
                    <a:lnTo>
                      <a:pt x="352" y="60"/>
                    </a:lnTo>
                    <a:lnTo>
                      <a:pt x="378" y="36"/>
                    </a:lnTo>
                    <a:lnTo>
                      <a:pt x="394" y="52"/>
                    </a:lnTo>
                    <a:lnTo>
                      <a:pt x="412" y="34"/>
                    </a:lnTo>
                    <a:lnTo>
                      <a:pt x="430" y="44"/>
                    </a:lnTo>
                    <a:lnTo>
                      <a:pt x="448" y="30"/>
                    </a:lnTo>
                    <a:lnTo>
                      <a:pt x="474" y="30"/>
                    </a:lnTo>
                    <a:lnTo>
                      <a:pt x="518" y="4"/>
                    </a:lnTo>
                    <a:lnTo>
                      <a:pt x="534" y="36"/>
                    </a:lnTo>
                    <a:lnTo>
                      <a:pt x="558" y="36"/>
                    </a:lnTo>
                    <a:lnTo>
                      <a:pt x="574" y="68"/>
                    </a:lnTo>
                    <a:lnTo>
                      <a:pt x="590" y="84"/>
                    </a:lnTo>
                    <a:lnTo>
                      <a:pt x="594" y="108"/>
                    </a:lnTo>
                    <a:lnTo>
                      <a:pt x="616" y="122"/>
                    </a:lnTo>
                    <a:lnTo>
                      <a:pt x="636" y="122"/>
                    </a:lnTo>
                    <a:lnTo>
                      <a:pt x="636" y="140"/>
                    </a:lnTo>
                    <a:lnTo>
                      <a:pt x="616" y="148"/>
                    </a:lnTo>
                    <a:lnTo>
                      <a:pt x="630" y="174"/>
                    </a:lnTo>
                    <a:lnTo>
                      <a:pt x="630" y="194"/>
                    </a:lnTo>
                    <a:lnTo>
                      <a:pt x="638" y="216"/>
                    </a:lnTo>
                    <a:lnTo>
                      <a:pt x="618" y="226"/>
                    </a:lnTo>
                    <a:lnTo>
                      <a:pt x="606" y="248"/>
                    </a:lnTo>
                    <a:lnTo>
                      <a:pt x="620" y="262"/>
                    </a:lnTo>
                    <a:lnTo>
                      <a:pt x="610" y="278"/>
                    </a:lnTo>
                    <a:lnTo>
                      <a:pt x="596" y="278"/>
                    </a:lnTo>
                    <a:lnTo>
                      <a:pt x="582" y="294"/>
                    </a:lnTo>
                    <a:lnTo>
                      <a:pt x="558" y="278"/>
                    </a:lnTo>
                    <a:lnTo>
                      <a:pt x="542" y="294"/>
                    </a:lnTo>
                    <a:lnTo>
                      <a:pt x="542" y="314"/>
                    </a:lnTo>
                    <a:lnTo>
                      <a:pt x="526" y="330"/>
                    </a:lnTo>
                    <a:lnTo>
                      <a:pt x="510" y="348"/>
                    </a:lnTo>
                    <a:lnTo>
                      <a:pt x="486" y="348"/>
                    </a:lnTo>
                    <a:lnTo>
                      <a:pt x="452" y="360"/>
                    </a:lnTo>
                    <a:lnTo>
                      <a:pt x="424" y="370"/>
                    </a:lnTo>
                    <a:lnTo>
                      <a:pt x="410" y="382"/>
                    </a:lnTo>
                    <a:lnTo>
                      <a:pt x="428" y="400"/>
                    </a:lnTo>
                    <a:lnTo>
                      <a:pt x="440" y="412"/>
                    </a:lnTo>
                    <a:lnTo>
                      <a:pt x="440" y="437"/>
                    </a:lnTo>
                    <a:lnTo>
                      <a:pt x="414" y="439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4" name="Freeform 182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 rot="698053">
                <a:off x="5626008" y="4125864"/>
                <a:ext cx="320239" cy="302789"/>
              </a:xfrm>
              <a:custGeom>
                <a:avLst/>
                <a:gdLst>
                  <a:gd name="T0" fmla="*/ 411 w 419"/>
                  <a:gd name="T1" fmla="*/ 345 h 409"/>
                  <a:gd name="T2" fmla="*/ 379 w 419"/>
                  <a:gd name="T3" fmla="*/ 353 h 409"/>
                  <a:gd name="T4" fmla="*/ 357 w 419"/>
                  <a:gd name="T5" fmla="*/ 375 h 409"/>
                  <a:gd name="T6" fmla="*/ 317 w 419"/>
                  <a:gd name="T7" fmla="*/ 373 h 409"/>
                  <a:gd name="T8" fmla="*/ 284 w 419"/>
                  <a:gd name="T9" fmla="*/ 391 h 409"/>
                  <a:gd name="T10" fmla="*/ 266 w 419"/>
                  <a:gd name="T11" fmla="*/ 409 h 409"/>
                  <a:gd name="T12" fmla="*/ 228 w 419"/>
                  <a:gd name="T13" fmla="*/ 403 h 409"/>
                  <a:gd name="T14" fmla="*/ 216 w 419"/>
                  <a:gd name="T15" fmla="*/ 383 h 409"/>
                  <a:gd name="T16" fmla="*/ 200 w 419"/>
                  <a:gd name="T17" fmla="*/ 355 h 409"/>
                  <a:gd name="T18" fmla="*/ 194 w 419"/>
                  <a:gd name="T19" fmla="*/ 329 h 409"/>
                  <a:gd name="T20" fmla="*/ 172 w 419"/>
                  <a:gd name="T21" fmla="*/ 349 h 409"/>
                  <a:gd name="T22" fmla="*/ 138 w 419"/>
                  <a:gd name="T23" fmla="*/ 363 h 409"/>
                  <a:gd name="T24" fmla="*/ 106 w 419"/>
                  <a:gd name="T25" fmla="*/ 351 h 409"/>
                  <a:gd name="T26" fmla="*/ 70 w 419"/>
                  <a:gd name="T27" fmla="*/ 343 h 409"/>
                  <a:gd name="T28" fmla="*/ 70 w 419"/>
                  <a:gd name="T29" fmla="*/ 311 h 409"/>
                  <a:gd name="T30" fmla="*/ 42 w 419"/>
                  <a:gd name="T31" fmla="*/ 293 h 409"/>
                  <a:gd name="T32" fmla="*/ 32 w 419"/>
                  <a:gd name="T33" fmla="*/ 269 h 409"/>
                  <a:gd name="T34" fmla="*/ 8 w 419"/>
                  <a:gd name="T35" fmla="*/ 255 h 409"/>
                  <a:gd name="T36" fmla="*/ 4 w 419"/>
                  <a:gd name="T37" fmla="*/ 223 h 409"/>
                  <a:gd name="T38" fmla="*/ 30 w 419"/>
                  <a:gd name="T39" fmla="*/ 221 h 409"/>
                  <a:gd name="T40" fmla="*/ 30 w 419"/>
                  <a:gd name="T41" fmla="*/ 196 h 409"/>
                  <a:gd name="T42" fmla="*/ 18 w 419"/>
                  <a:gd name="T43" fmla="*/ 184 h 409"/>
                  <a:gd name="T44" fmla="*/ 0 w 419"/>
                  <a:gd name="T45" fmla="*/ 166 h 409"/>
                  <a:gd name="T46" fmla="*/ 14 w 419"/>
                  <a:gd name="T47" fmla="*/ 154 h 409"/>
                  <a:gd name="T48" fmla="*/ 42 w 419"/>
                  <a:gd name="T49" fmla="*/ 144 h 409"/>
                  <a:gd name="T50" fmla="*/ 76 w 419"/>
                  <a:gd name="T51" fmla="*/ 132 h 409"/>
                  <a:gd name="T52" fmla="*/ 100 w 419"/>
                  <a:gd name="T53" fmla="*/ 132 h 409"/>
                  <a:gd name="T54" fmla="*/ 132 w 419"/>
                  <a:gd name="T55" fmla="*/ 98 h 409"/>
                  <a:gd name="T56" fmla="*/ 132 w 419"/>
                  <a:gd name="T57" fmla="*/ 78 h 409"/>
                  <a:gd name="T58" fmla="*/ 148 w 419"/>
                  <a:gd name="T59" fmla="*/ 62 h 409"/>
                  <a:gd name="T60" fmla="*/ 172 w 419"/>
                  <a:gd name="T61" fmla="*/ 78 h 409"/>
                  <a:gd name="T62" fmla="*/ 186 w 419"/>
                  <a:gd name="T63" fmla="*/ 62 h 409"/>
                  <a:gd name="T64" fmla="*/ 200 w 419"/>
                  <a:gd name="T65" fmla="*/ 62 h 409"/>
                  <a:gd name="T66" fmla="*/ 210 w 419"/>
                  <a:gd name="T67" fmla="*/ 46 h 409"/>
                  <a:gd name="T68" fmla="*/ 196 w 419"/>
                  <a:gd name="T69" fmla="*/ 32 h 409"/>
                  <a:gd name="T70" fmla="*/ 208 w 419"/>
                  <a:gd name="T71" fmla="*/ 10 h 409"/>
                  <a:gd name="T72" fmla="*/ 228 w 419"/>
                  <a:gd name="T73" fmla="*/ 0 h 409"/>
                  <a:gd name="T74" fmla="*/ 254 w 419"/>
                  <a:gd name="T75" fmla="*/ 24 h 409"/>
                  <a:gd name="T76" fmla="*/ 280 w 419"/>
                  <a:gd name="T77" fmla="*/ 24 h 409"/>
                  <a:gd name="T78" fmla="*/ 304 w 419"/>
                  <a:gd name="T79" fmla="*/ 36 h 409"/>
                  <a:gd name="T80" fmla="*/ 317 w 419"/>
                  <a:gd name="T81" fmla="*/ 36 h 409"/>
                  <a:gd name="T82" fmla="*/ 319 w 419"/>
                  <a:gd name="T83" fmla="*/ 60 h 409"/>
                  <a:gd name="T84" fmla="*/ 300 w 419"/>
                  <a:gd name="T85" fmla="*/ 76 h 409"/>
                  <a:gd name="T86" fmla="*/ 282 w 419"/>
                  <a:gd name="T87" fmla="*/ 96 h 409"/>
                  <a:gd name="T88" fmla="*/ 288 w 419"/>
                  <a:gd name="T89" fmla="*/ 122 h 409"/>
                  <a:gd name="T90" fmla="*/ 274 w 419"/>
                  <a:gd name="T91" fmla="*/ 134 h 409"/>
                  <a:gd name="T92" fmla="*/ 302 w 419"/>
                  <a:gd name="T93" fmla="*/ 162 h 409"/>
                  <a:gd name="T94" fmla="*/ 325 w 419"/>
                  <a:gd name="T95" fmla="*/ 162 h 409"/>
                  <a:gd name="T96" fmla="*/ 337 w 419"/>
                  <a:gd name="T97" fmla="*/ 136 h 409"/>
                  <a:gd name="T98" fmla="*/ 351 w 419"/>
                  <a:gd name="T99" fmla="*/ 136 h 409"/>
                  <a:gd name="T100" fmla="*/ 355 w 419"/>
                  <a:gd name="T101" fmla="*/ 166 h 409"/>
                  <a:gd name="T102" fmla="*/ 365 w 419"/>
                  <a:gd name="T103" fmla="*/ 196 h 409"/>
                  <a:gd name="T104" fmla="*/ 395 w 419"/>
                  <a:gd name="T105" fmla="*/ 227 h 409"/>
                  <a:gd name="T106" fmla="*/ 419 w 419"/>
                  <a:gd name="T107" fmla="*/ 251 h 409"/>
                  <a:gd name="T108" fmla="*/ 413 w 419"/>
                  <a:gd name="T109" fmla="*/ 269 h 409"/>
                  <a:gd name="T110" fmla="*/ 391 w 419"/>
                  <a:gd name="T111" fmla="*/ 275 h 409"/>
                  <a:gd name="T112" fmla="*/ 381 w 419"/>
                  <a:gd name="T113" fmla="*/ 285 h 409"/>
                  <a:gd name="T114" fmla="*/ 401 w 419"/>
                  <a:gd name="T115" fmla="*/ 305 h 409"/>
                  <a:gd name="T116" fmla="*/ 401 w 419"/>
                  <a:gd name="T117" fmla="*/ 327 h 409"/>
                  <a:gd name="T118" fmla="*/ 411 w 419"/>
                  <a:gd name="T119" fmla="*/ 345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19" h="409">
                    <a:moveTo>
                      <a:pt x="411" y="345"/>
                    </a:moveTo>
                    <a:lnTo>
                      <a:pt x="379" y="353"/>
                    </a:lnTo>
                    <a:lnTo>
                      <a:pt x="357" y="375"/>
                    </a:lnTo>
                    <a:lnTo>
                      <a:pt x="317" y="373"/>
                    </a:lnTo>
                    <a:lnTo>
                      <a:pt x="284" y="391"/>
                    </a:lnTo>
                    <a:lnTo>
                      <a:pt x="266" y="409"/>
                    </a:lnTo>
                    <a:lnTo>
                      <a:pt x="228" y="403"/>
                    </a:lnTo>
                    <a:lnTo>
                      <a:pt x="216" y="383"/>
                    </a:lnTo>
                    <a:lnTo>
                      <a:pt x="200" y="355"/>
                    </a:lnTo>
                    <a:lnTo>
                      <a:pt x="194" y="329"/>
                    </a:lnTo>
                    <a:lnTo>
                      <a:pt x="172" y="349"/>
                    </a:lnTo>
                    <a:lnTo>
                      <a:pt x="138" y="363"/>
                    </a:lnTo>
                    <a:lnTo>
                      <a:pt x="106" y="351"/>
                    </a:lnTo>
                    <a:lnTo>
                      <a:pt x="70" y="343"/>
                    </a:lnTo>
                    <a:lnTo>
                      <a:pt x="70" y="311"/>
                    </a:lnTo>
                    <a:lnTo>
                      <a:pt x="42" y="293"/>
                    </a:lnTo>
                    <a:lnTo>
                      <a:pt x="32" y="269"/>
                    </a:lnTo>
                    <a:lnTo>
                      <a:pt x="8" y="255"/>
                    </a:lnTo>
                    <a:lnTo>
                      <a:pt x="4" y="223"/>
                    </a:lnTo>
                    <a:lnTo>
                      <a:pt x="30" y="221"/>
                    </a:lnTo>
                    <a:lnTo>
                      <a:pt x="30" y="196"/>
                    </a:lnTo>
                    <a:lnTo>
                      <a:pt x="18" y="184"/>
                    </a:lnTo>
                    <a:lnTo>
                      <a:pt x="0" y="166"/>
                    </a:lnTo>
                    <a:lnTo>
                      <a:pt x="14" y="154"/>
                    </a:lnTo>
                    <a:lnTo>
                      <a:pt x="42" y="144"/>
                    </a:lnTo>
                    <a:lnTo>
                      <a:pt x="76" y="132"/>
                    </a:lnTo>
                    <a:lnTo>
                      <a:pt x="100" y="132"/>
                    </a:lnTo>
                    <a:lnTo>
                      <a:pt x="132" y="98"/>
                    </a:lnTo>
                    <a:lnTo>
                      <a:pt x="132" y="78"/>
                    </a:lnTo>
                    <a:lnTo>
                      <a:pt x="148" y="62"/>
                    </a:lnTo>
                    <a:lnTo>
                      <a:pt x="172" y="78"/>
                    </a:lnTo>
                    <a:lnTo>
                      <a:pt x="186" y="62"/>
                    </a:lnTo>
                    <a:lnTo>
                      <a:pt x="200" y="62"/>
                    </a:lnTo>
                    <a:lnTo>
                      <a:pt x="210" y="46"/>
                    </a:lnTo>
                    <a:lnTo>
                      <a:pt x="196" y="32"/>
                    </a:lnTo>
                    <a:lnTo>
                      <a:pt x="208" y="10"/>
                    </a:lnTo>
                    <a:lnTo>
                      <a:pt x="228" y="0"/>
                    </a:lnTo>
                    <a:lnTo>
                      <a:pt x="254" y="24"/>
                    </a:lnTo>
                    <a:lnTo>
                      <a:pt x="280" y="24"/>
                    </a:lnTo>
                    <a:lnTo>
                      <a:pt x="304" y="36"/>
                    </a:lnTo>
                    <a:lnTo>
                      <a:pt x="317" y="36"/>
                    </a:lnTo>
                    <a:lnTo>
                      <a:pt x="319" y="60"/>
                    </a:lnTo>
                    <a:lnTo>
                      <a:pt x="300" y="76"/>
                    </a:lnTo>
                    <a:lnTo>
                      <a:pt x="282" y="96"/>
                    </a:lnTo>
                    <a:lnTo>
                      <a:pt x="288" y="122"/>
                    </a:lnTo>
                    <a:lnTo>
                      <a:pt x="274" y="134"/>
                    </a:lnTo>
                    <a:lnTo>
                      <a:pt x="302" y="162"/>
                    </a:lnTo>
                    <a:lnTo>
                      <a:pt x="325" y="162"/>
                    </a:lnTo>
                    <a:lnTo>
                      <a:pt x="337" y="136"/>
                    </a:lnTo>
                    <a:lnTo>
                      <a:pt x="351" y="136"/>
                    </a:lnTo>
                    <a:lnTo>
                      <a:pt x="355" y="166"/>
                    </a:lnTo>
                    <a:lnTo>
                      <a:pt x="365" y="196"/>
                    </a:lnTo>
                    <a:lnTo>
                      <a:pt x="395" y="227"/>
                    </a:lnTo>
                    <a:lnTo>
                      <a:pt x="419" y="251"/>
                    </a:lnTo>
                    <a:lnTo>
                      <a:pt x="413" y="269"/>
                    </a:lnTo>
                    <a:lnTo>
                      <a:pt x="391" y="275"/>
                    </a:lnTo>
                    <a:lnTo>
                      <a:pt x="381" y="285"/>
                    </a:lnTo>
                    <a:lnTo>
                      <a:pt x="401" y="305"/>
                    </a:lnTo>
                    <a:lnTo>
                      <a:pt x="401" y="327"/>
                    </a:lnTo>
                    <a:lnTo>
                      <a:pt x="411" y="345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5" name="Freeform 183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 rot="698053">
                <a:off x="5894491" y="4101349"/>
                <a:ext cx="550338" cy="352106"/>
              </a:xfrm>
              <a:custGeom>
                <a:avLst/>
                <a:gdLst>
                  <a:gd name="T0" fmla="*/ 688 w 721"/>
                  <a:gd name="T1" fmla="*/ 198 h 475"/>
                  <a:gd name="T2" fmla="*/ 654 w 721"/>
                  <a:gd name="T3" fmla="*/ 250 h 475"/>
                  <a:gd name="T4" fmla="*/ 664 w 721"/>
                  <a:gd name="T5" fmla="*/ 304 h 475"/>
                  <a:gd name="T6" fmla="*/ 688 w 721"/>
                  <a:gd name="T7" fmla="*/ 359 h 475"/>
                  <a:gd name="T8" fmla="*/ 656 w 721"/>
                  <a:gd name="T9" fmla="*/ 411 h 475"/>
                  <a:gd name="T10" fmla="*/ 602 w 721"/>
                  <a:gd name="T11" fmla="*/ 441 h 475"/>
                  <a:gd name="T12" fmla="*/ 526 w 721"/>
                  <a:gd name="T13" fmla="*/ 433 h 475"/>
                  <a:gd name="T14" fmla="*/ 462 w 721"/>
                  <a:gd name="T15" fmla="*/ 431 h 475"/>
                  <a:gd name="T16" fmla="*/ 402 w 721"/>
                  <a:gd name="T17" fmla="*/ 397 h 475"/>
                  <a:gd name="T18" fmla="*/ 346 w 721"/>
                  <a:gd name="T19" fmla="*/ 361 h 475"/>
                  <a:gd name="T20" fmla="*/ 288 w 721"/>
                  <a:gd name="T21" fmla="*/ 353 h 475"/>
                  <a:gd name="T22" fmla="*/ 236 w 721"/>
                  <a:gd name="T23" fmla="*/ 365 h 475"/>
                  <a:gd name="T24" fmla="*/ 198 w 721"/>
                  <a:gd name="T25" fmla="*/ 393 h 475"/>
                  <a:gd name="T26" fmla="*/ 118 w 721"/>
                  <a:gd name="T27" fmla="*/ 421 h 475"/>
                  <a:gd name="T28" fmla="*/ 66 w 721"/>
                  <a:gd name="T29" fmla="*/ 447 h 475"/>
                  <a:gd name="T30" fmla="*/ 50 w 721"/>
                  <a:gd name="T31" fmla="*/ 457 h 475"/>
                  <a:gd name="T32" fmla="*/ 30 w 721"/>
                  <a:gd name="T33" fmla="*/ 415 h 475"/>
                  <a:gd name="T34" fmla="*/ 62 w 721"/>
                  <a:gd name="T35" fmla="*/ 399 h 475"/>
                  <a:gd name="T36" fmla="*/ 44 w 721"/>
                  <a:gd name="T37" fmla="*/ 357 h 475"/>
                  <a:gd name="T38" fmla="*/ 4 w 721"/>
                  <a:gd name="T39" fmla="*/ 296 h 475"/>
                  <a:gd name="T40" fmla="*/ 12 w 721"/>
                  <a:gd name="T41" fmla="*/ 254 h 475"/>
                  <a:gd name="T42" fmla="*/ 62 w 721"/>
                  <a:gd name="T43" fmla="*/ 262 h 475"/>
                  <a:gd name="T44" fmla="*/ 86 w 721"/>
                  <a:gd name="T45" fmla="*/ 206 h 475"/>
                  <a:gd name="T46" fmla="*/ 138 w 721"/>
                  <a:gd name="T47" fmla="*/ 214 h 475"/>
                  <a:gd name="T48" fmla="*/ 200 w 721"/>
                  <a:gd name="T49" fmla="*/ 226 h 475"/>
                  <a:gd name="T50" fmla="*/ 248 w 721"/>
                  <a:gd name="T51" fmla="*/ 240 h 475"/>
                  <a:gd name="T52" fmla="*/ 314 w 721"/>
                  <a:gd name="T53" fmla="*/ 194 h 475"/>
                  <a:gd name="T54" fmla="*/ 342 w 721"/>
                  <a:gd name="T55" fmla="*/ 152 h 475"/>
                  <a:gd name="T56" fmla="*/ 362 w 721"/>
                  <a:gd name="T57" fmla="*/ 110 h 475"/>
                  <a:gd name="T58" fmla="*/ 402 w 721"/>
                  <a:gd name="T59" fmla="*/ 54 h 475"/>
                  <a:gd name="T60" fmla="*/ 450 w 721"/>
                  <a:gd name="T61" fmla="*/ 46 h 475"/>
                  <a:gd name="T62" fmla="*/ 504 w 721"/>
                  <a:gd name="T63" fmla="*/ 22 h 475"/>
                  <a:gd name="T64" fmla="*/ 530 w 721"/>
                  <a:gd name="T65" fmla="*/ 16 h 475"/>
                  <a:gd name="T66" fmla="*/ 562 w 721"/>
                  <a:gd name="T67" fmla="*/ 0 h 475"/>
                  <a:gd name="T68" fmla="*/ 612 w 721"/>
                  <a:gd name="T69" fmla="*/ 18 h 475"/>
                  <a:gd name="T70" fmla="*/ 654 w 721"/>
                  <a:gd name="T71" fmla="*/ 50 h 475"/>
                  <a:gd name="T72" fmla="*/ 694 w 721"/>
                  <a:gd name="T73" fmla="*/ 38 h 475"/>
                  <a:gd name="T74" fmla="*/ 721 w 721"/>
                  <a:gd name="T75" fmla="*/ 64 h 475"/>
                  <a:gd name="T76" fmla="*/ 705 w 721"/>
                  <a:gd name="T77" fmla="*/ 102 h 475"/>
                  <a:gd name="T78" fmla="*/ 694 w 721"/>
                  <a:gd name="T79" fmla="*/ 140 h 475"/>
                  <a:gd name="T80" fmla="*/ 709 w 721"/>
                  <a:gd name="T81" fmla="*/ 178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21" h="475">
                    <a:moveTo>
                      <a:pt x="709" y="178"/>
                    </a:moveTo>
                    <a:lnTo>
                      <a:pt x="688" y="198"/>
                    </a:lnTo>
                    <a:lnTo>
                      <a:pt x="672" y="232"/>
                    </a:lnTo>
                    <a:lnTo>
                      <a:pt x="654" y="250"/>
                    </a:lnTo>
                    <a:lnTo>
                      <a:pt x="648" y="284"/>
                    </a:lnTo>
                    <a:lnTo>
                      <a:pt x="664" y="304"/>
                    </a:lnTo>
                    <a:lnTo>
                      <a:pt x="664" y="334"/>
                    </a:lnTo>
                    <a:lnTo>
                      <a:pt x="688" y="359"/>
                    </a:lnTo>
                    <a:lnTo>
                      <a:pt x="688" y="391"/>
                    </a:lnTo>
                    <a:lnTo>
                      <a:pt x="656" y="411"/>
                    </a:lnTo>
                    <a:lnTo>
                      <a:pt x="626" y="441"/>
                    </a:lnTo>
                    <a:lnTo>
                      <a:pt x="602" y="441"/>
                    </a:lnTo>
                    <a:lnTo>
                      <a:pt x="562" y="441"/>
                    </a:lnTo>
                    <a:lnTo>
                      <a:pt x="526" y="433"/>
                    </a:lnTo>
                    <a:lnTo>
                      <a:pt x="490" y="439"/>
                    </a:lnTo>
                    <a:lnTo>
                      <a:pt x="462" y="431"/>
                    </a:lnTo>
                    <a:lnTo>
                      <a:pt x="424" y="417"/>
                    </a:lnTo>
                    <a:lnTo>
                      <a:pt x="402" y="397"/>
                    </a:lnTo>
                    <a:lnTo>
                      <a:pt x="378" y="371"/>
                    </a:lnTo>
                    <a:lnTo>
                      <a:pt x="346" y="361"/>
                    </a:lnTo>
                    <a:lnTo>
                      <a:pt x="310" y="377"/>
                    </a:lnTo>
                    <a:lnTo>
                      <a:pt x="288" y="353"/>
                    </a:lnTo>
                    <a:lnTo>
                      <a:pt x="260" y="341"/>
                    </a:lnTo>
                    <a:lnTo>
                      <a:pt x="236" y="365"/>
                    </a:lnTo>
                    <a:lnTo>
                      <a:pt x="206" y="365"/>
                    </a:lnTo>
                    <a:lnTo>
                      <a:pt x="198" y="393"/>
                    </a:lnTo>
                    <a:lnTo>
                      <a:pt x="162" y="393"/>
                    </a:lnTo>
                    <a:lnTo>
                      <a:pt x="118" y="421"/>
                    </a:lnTo>
                    <a:lnTo>
                      <a:pt x="92" y="447"/>
                    </a:lnTo>
                    <a:lnTo>
                      <a:pt x="66" y="447"/>
                    </a:lnTo>
                    <a:lnTo>
                      <a:pt x="60" y="475"/>
                    </a:lnTo>
                    <a:lnTo>
                      <a:pt x="50" y="457"/>
                    </a:lnTo>
                    <a:lnTo>
                      <a:pt x="50" y="435"/>
                    </a:lnTo>
                    <a:lnTo>
                      <a:pt x="30" y="415"/>
                    </a:lnTo>
                    <a:lnTo>
                      <a:pt x="40" y="405"/>
                    </a:lnTo>
                    <a:lnTo>
                      <a:pt x="62" y="399"/>
                    </a:lnTo>
                    <a:lnTo>
                      <a:pt x="68" y="381"/>
                    </a:lnTo>
                    <a:lnTo>
                      <a:pt x="44" y="357"/>
                    </a:lnTo>
                    <a:lnTo>
                      <a:pt x="14" y="326"/>
                    </a:lnTo>
                    <a:lnTo>
                      <a:pt x="4" y="296"/>
                    </a:lnTo>
                    <a:lnTo>
                      <a:pt x="0" y="266"/>
                    </a:lnTo>
                    <a:lnTo>
                      <a:pt x="12" y="254"/>
                    </a:lnTo>
                    <a:lnTo>
                      <a:pt x="36" y="260"/>
                    </a:lnTo>
                    <a:lnTo>
                      <a:pt x="62" y="262"/>
                    </a:lnTo>
                    <a:lnTo>
                      <a:pt x="86" y="236"/>
                    </a:lnTo>
                    <a:lnTo>
                      <a:pt x="86" y="206"/>
                    </a:lnTo>
                    <a:lnTo>
                      <a:pt x="116" y="192"/>
                    </a:lnTo>
                    <a:lnTo>
                      <a:pt x="138" y="214"/>
                    </a:lnTo>
                    <a:lnTo>
                      <a:pt x="170" y="226"/>
                    </a:lnTo>
                    <a:lnTo>
                      <a:pt x="200" y="226"/>
                    </a:lnTo>
                    <a:lnTo>
                      <a:pt x="226" y="240"/>
                    </a:lnTo>
                    <a:lnTo>
                      <a:pt x="248" y="240"/>
                    </a:lnTo>
                    <a:lnTo>
                      <a:pt x="276" y="228"/>
                    </a:lnTo>
                    <a:lnTo>
                      <a:pt x="314" y="194"/>
                    </a:lnTo>
                    <a:lnTo>
                      <a:pt x="342" y="186"/>
                    </a:lnTo>
                    <a:lnTo>
                      <a:pt x="342" y="152"/>
                    </a:lnTo>
                    <a:lnTo>
                      <a:pt x="362" y="132"/>
                    </a:lnTo>
                    <a:lnTo>
                      <a:pt x="362" y="110"/>
                    </a:lnTo>
                    <a:lnTo>
                      <a:pt x="394" y="102"/>
                    </a:lnTo>
                    <a:lnTo>
                      <a:pt x="402" y="54"/>
                    </a:lnTo>
                    <a:lnTo>
                      <a:pt x="414" y="40"/>
                    </a:lnTo>
                    <a:lnTo>
                      <a:pt x="450" y="46"/>
                    </a:lnTo>
                    <a:lnTo>
                      <a:pt x="474" y="20"/>
                    </a:lnTo>
                    <a:lnTo>
                      <a:pt x="504" y="22"/>
                    </a:lnTo>
                    <a:lnTo>
                      <a:pt x="516" y="10"/>
                    </a:lnTo>
                    <a:lnTo>
                      <a:pt x="530" y="16"/>
                    </a:lnTo>
                    <a:lnTo>
                      <a:pt x="538" y="0"/>
                    </a:lnTo>
                    <a:lnTo>
                      <a:pt x="562" y="0"/>
                    </a:lnTo>
                    <a:lnTo>
                      <a:pt x="582" y="14"/>
                    </a:lnTo>
                    <a:lnTo>
                      <a:pt x="612" y="18"/>
                    </a:lnTo>
                    <a:lnTo>
                      <a:pt x="636" y="42"/>
                    </a:lnTo>
                    <a:lnTo>
                      <a:pt x="654" y="50"/>
                    </a:lnTo>
                    <a:lnTo>
                      <a:pt x="682" y="50"/>
                    </a:lnTo>
                    <a:lnTo>
                      <a:pt x="694" y="38"/>
                    </a:lnTo>
                    <a:lnTo>
                      <a:pt x="709" y="52"/>
                    </a:lnTo>
                    <a:lnTo>
                      <a:pt x="721" y="64"/>
                    </a:lnTo>
                    <a:lnTo>
                      <a:pt x="705" y="78"/>
                    </a:lnTo>
                    <a:lnTo>
                      <a:pt x="705" y="102"/>
                    </a:lnTo>
                    <a:lnTo>
                      <a:pt x="690" y="116"/>
                    </a:lnTo>
                    <a:lnTo>
                      <a:pt x="694" y="140"/>
                    </a:lnTo>
                    <a:lnTo>
                      <a:pt x="709" y="152"/>
                    </a:lnTo>
                    <a:lnTo>
                      <a:pt x="709" y="17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6" name="Freeform 184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 rot="698053">
                <a:off x="7417838" y="3697693"/>
                <a:ext cx="863461" cy="558553"/>
              </a:xfrm>
              <a:custGeom>
                <a:avLst/>
                <a:gdLst>
                  <a:gd name="T0" fmla="*/ 521 w 564"/>
                  <a:gd name="T1" fmla="*/ 363 h 377"/>
                  <a:gd name="T2" fmla="*/ 471 w 564"/>
                  <a:gd name="T3" fmla="*/ 363 h 377"/>
                  <a:gd name="T4" fmla="*/ 424 w 564"/>
                  <a:gd name="T5" fmla="*/ 373 h 377"/>
                  <a:gd name="T6" fmla="*/ 394 w 564"/>
                  <a:gd name="T7" fmla="*/ 338 h 377"/>
                  <a:gd name="T8" fmla="*/ 359 w 564"/>
                  <a:gd name="T9" fmla="*/ 307 h 377"/>
                  <a:gd name="T10" fmla="*/ 318 w 564"/>
                  <a:gd name="T11" fmla="*/ 280 h 377"/>
                  <a:gd name="T12" fmla="*/ 292 w 564"/>
                  <a:gd name="T13" fmla="*/ 252 h 377"/>
                  <a:gd name="T14" fmla="*/ 235 w 564"/>
                  <a:gd name="T15" fmla="*/ 258 h 377"/>
                  <a:gd name="T16" fmla="*/ 183 w 564"/>
                  <a:gd name="T17" fmla="*/ 260 h 377"/>
                  <a:gd name="T18" fmla="*/ 140 w 564"/>
                  <a:gd name="T19" fmla="*/ 271 h 377"/>
                  <a:gd name="T20" fmla="*/ 121 w 564"/>
                  <a:gd name="T21" fmla="*/ 248 h 377"/>
                  <a:gd name="T22" fmla="*/ 125 w 564"/>
                  <a:gd name="T23" fmla="*/ 228 h 377"/>
                  <a:gd name="T24" fmla="*/ 104 w 564"/>
                  <a:gd name="T25" fmla="*/ 218 h 377"/>
                  <a:gd name="T26" fmla="*/ 96 w 564"/>
                  <a:gd name="T27" fmla="*/ 180 h 377"/>
                  <a:gd name="T28" fmla="*/ 70 w 564"/>
                  <a:gd name="T29" fmla="*/ 182 h 377"/>
                  <a:gd name="T30" fmla="*/ 56 w 564"/>
                  <a:gd name="T31" fmla="*/ 164 h 377"/>
                  <a:gd name="T32" fmla="*/ 30 w 564"/>
                  <a:gd name="T33" fmla="*/ 178 h 377"/>
                  <a:gd name="T34" fmla="*/ 29 w 564"/>
                  <a:gd name="T35" fmla="*/ 152 h 377"/>
                  <a:gd name="T36" fmla="*/ 1 w 564"/>
                  <a:gd name="T37" fmla="*/ 144 h 377"/>
                  <a:gd name="T38" fmla="*/ 25 w 564"/>
                  <a:gd name="T39" fmla="*/ 113 h 377"/>
                  <a:gd name="T40" fmla="*/ 51 w 564"/>
                  <a:gd name="T41" fmla="*/ 115 h 377"/>
                  <a:gd name="T42" fmla="*/ 79 w 564"/>
                  <a:gd name="T43" fmla="*/ 112 h 377"/>
                  <a:gd name="T44" fmla="*/ 95 w 564"/>
                  <a:gd name="T45" fmla="*/ 109 h 377"/>
                  <a:gd name="T46" fmla="*/ 130 w 564"/>
                  <a:gd name="T47" fmla="*/ 104 h 377"/>
                  <a:gd name="T48" fmla="*/ 166 w 564"/>
                  <a:gd name="T49" fmla="*/ 118 h 377"/>
                  <a:gd name="T50" fmla="*/ 193 w 564"/>
                  <a:gd name="T51" fmla="*/ 112 h 377"/>
                  <a:gd name="T52" fmla="*/ 214 w 564"/>
                  <a:gd name="T53" fmla="*/ 113 h 377"/>
                  <a:gd name="T54" fmla="*/ 255 w 564"/>
                  <a:gd name="T55" fmla="*/ 79 h 377"/>
                  <a:gd name="T56" fmla="*/ 299 w 564"/>
                  <a:gd name="T57" fmla="*/ 67 h 377"/>
                  <a:gd name="T58" fmla="*/ 340 w 564"/>
                  <a:gd name="T59" fmla="*/ 23 h 377"/>
                  <a:gd name="T60" fmla="*/ 362 w 564"/>
                  <a:gd name="T61" fmla="*/ 13 h 377"/>
                  <a:gd name="T62" fmla="*/ 393 w 564"/>
                  <a:gd name="T63" fmla="*/ 0 h 377"/>
                  <a:gd name="T64" fmla="*/ 401 w 564"/>
                  <a:gd name="T65" fmla="*/ 27 h 377"/>
                  <a:gd name="T66" fmla="*/ 388 w 564"/>
                  <a:gd name="T67" fmla="*/ 59 h 377"/>
                  <a:gd name="T68" fmla="*/ 392 w 564"/>
                  <a:gd name="T69" fmla="*/ 89 h 377"/>
                  <a:gd name="T70" fmla="*/ 387 w 564"/>
                  <a:gd name="T71" fmla="*/ 115 h 377"/>
                  <a:gd name="T72" fmla="*/ 420 w 564"/>
                  <a:gd name="T73" fmla="*/ 109 h 377"/>
                  <a:gd name="T74" fmla="*/ 455 w 564"/>
                  <a:gd name="T75" fmla="*/ 127 h 377"/>
                  <a:gd name="T76" fmla="*/ 484 w 564"/>
                  <a:gd name="T77" fmla="*/ 100 h 377"/>
                  <a:gd name="T78" fmla="*/ 498 w 564"/>
                  <a:gd name="T79" fmla="*/ 74 h 377"/>
                  <a:gd name="T80" fmla="*/ 524 w 564"/>
                  <a:gd name="T81" fmla="*/ 53 h 377"/>
                  <a:gd name="T82" fmla="*/ 551 w 564"/>
                  <a:gd name="T83" fmla="*/ 94 h 377"/>
                  <a:gd name="T84" fmla="*/ 513 w 564"/>
                  <a:gd name="T85" fmla="*/ 118 h 377"/>
                  <a:gd name="T86" fmla="*/ 522 w 564"/>
                  <a:gd name="T87" fmla="*/ 148 h 377"/>
                  <a:gd name="T88" fmla="*/ 497 w 564"/>
                  <a:gd name="T89" fmla="*/ 191 h 377"/>
                  <a:gd name="T90" fmla="*/ 495 w 564"/>
                  <a:gd name="T91" fmla="*/ 223 h 377"/>
                  <a:gd name="T92" fmla="*/ 499 w 564"/>
                  <a:gd name="T93" fmla="*/ 268 h 377"/>
                  <a:gd name="T94" fmla="*/ 519 w 564"/>
                  <a:gd name="T95" fmla="*/ 274 h 377"/>
                  <a:gd name="T96" fmla="*/ 549 w 564"/>
                  <a:gd name="T97" fmla="*/ 295 h 377"/>
                  <a:gd name="T98" fmla="*/ 563 w 564"/>
                  <a:gd name="T99" fmla="*/ 312 h 377"/>
                  <a:gd name="T100" fmla="*/ 560 w 564"/>
                  <a:gd name="T101" fmla="*/ 341 h 377"/>
                  <a:gd name="T102" fmla="*/ 544 w 564"/>
                  <a:gd name="T103" fmla="*/ 360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64" h="377">
                    <a:moveTo>
                      <a:pt x="544" y="360"/>
                    </a:moveTo>
                    <a:cubicBezTo>
                      <a:pt x="536" y="367"/>
                      <a:pt x="536" y="367"/>
                      <a:pt x="536" y="367"/>
                    </a:cubicBezTo>
                    <a:cubicBezTo>
                      <a:pt x="521" y="363"/>
                      <a:pt x="521" y="363"/>
                      <a:pt x="521" y="363"/>
                    </a:cubicBezTo>
                    <a:cubicBezTo>
                      <a:pt x="508" y="360"/>
                      <a:pt x="508" y="360"/>
                      <a:pt x="508" y="360"/>
                    </a:cubicBezTo>
                    <a:cubicBezTo>
                      <a:pt x="489" y="363"/>
                      <a:pt x="489" y="363"/>
                      <a:pt x="489" y="363"/>
                    </a:cubicBezTo>
                    <a:cubicBezTo>
                      <a:pt x="471" y="363"/>
                      <a:pt x="471" y="363"/>
                      <a:pt x="471" y="363"/>
                    </a:cubicBezTo>
                    <a:cubicBezTo>
                      <a:pt x="464" y="370"/>
                      <a:pt x="464" y="370"/>
                      <a:pt x="464" y="370"/>
                    </a:cubicBezTo>
                    <a:cubicBezTo>
                      <a:pt x="444" y="377"/>
                      <a:pt x="444" y="377"/>
                      <a:pt x="444" y="377"/>
                    </a:cubicBezTo>
                    <a:cubicBezTo>
                      <a:pt x="424" y="373"/>
                      <a:pt x="424" y="373"/>
                      <a:pt x="424" y="373"/>
                    </a:cubicBezTo>
                    <a:cubicBezTo>
                      <a:pt x="415" y="357"/>
                      <a:pt x="415" y="357"/>
                      <a:pt x="415" y="357"/>
                    </a:cubicBezTo>
                    <a:cubicBezTo>
                      <a:pt x="406" y="347"/>
                      <a:pt x="406" y="347"/>
                      <a:pt x="406" y="347"/>
                    </a:cubicBezTo>
                    <a:cubicBezTo>
                      <a:pt x="406" y="347"/>
                      <a:pt x="394" y="341"/>
                      <a:pt x="394" y="338"/>
                    </a:cubicBezTo>
                    <a:cubicBezTo>
                      <a:pt x="394" y="335"/>
                      <a:pt x="382" y="325"/>
                      <a:pt x="382" y="325"/>
                    </a:cubicBezTo>
                    <a:cubicBezTo>
                      <a:pt x="366" y="323"/>
                      <a:pt x="366" y="323"/>
                      <a:pt x="366" y="323"/>
                    </a:cubicBezTo>
                    <a:cubicBezTo>
                      <a:pt x="359" y="307"/>
                      <a:pt x="359" y="307"/>
                      <a:pt x="359" y="307"/>
                    </a:cubicBezTo>
                    <a:cubicBezTo>
                      <a:pt x="344" y="295"/>
                      <a:pt x="344" y="295"/>
                      <a:pt x="344" y="295"/>
                    </a:cubicBezTo>
                    <a:cubicBezTo>
                      <a:pt x="333" y="284"/>
                      <a:pt x="333" y="284"/>
                      <a:pt x="333" y="284"/>
                    </a:cubicBezTo>
                    <a:cubicBezTo>
                      <a:pt x="318" y="280"/>
                      <a:pt x="318" y="280"/>
                      <a:pt x="318" y="280"/>
                    </a:cubicBezTo>
                    <a:cubicBezTo>
                      <a:pt x="313" y="266"/>
                      <a:pt x="313" y="266"/>
                      <a:pt x="313" y="266"/>
                    </a:cubicBezTo>
                    <a:cubicBezTo>
                      <a:pt x="300" y="260"/>
                      <a:pt x="300" y="260"/>
                      <a:pt x="300" y="260"/>
                    </a:cubicBezTo>
                    <a:cubicBezTo>
                      <a:pt x="292" y="252"/>
                      <a:pt x="292" y="252"/>
                      <a:pt x="292" y="252"/>
                    </a:cubicBezTo>
                    <a:cubicBezTo>
                      <a:pt x="265" y="249"/>
                      <a:pt x="265" y="249"/>
                      <a:pt x="265" y="249"/>
                    </a:cubicBezTo>
                    <a:cubicBezTo>
                      <a:pt x="251" y="249"/>
                      <a:pt x="251" y="249"/>
                      <a:pt x="251" y="249"/>
                    </a:cubicBezTo>
                    <a:cubicBezTo>
                      <a:pt x="235" y="258"/>
                      <a:pt x="235" y="258"/>
                      <a:pt x="235" y="258"/>
                    </a:cubicBezTo>
                    <a:cubicBezTo>
                      <a:pt x="215" y="255"/>
                      <a:pt x="215" y="255"/>
                      <a:pt x="215" y="255"/>
                    </a:cubicBezTo>
                    <a:cubicBezTo>
                      <a:pt x="200" y="260"/>
                      <a:pt x="200" y="260"/>
                      <a:pt x="200" y="260"/>
                    </a:cubicBezTo>
                    <a:cubicBezTo>
                      <a:pt x="183" y="260"/>
                      <a:pt x="183" y="260"/>
                      <a:pt x="183" y="260"/>
                    </a:cubicBezTo>
                    <a:cubicBezTo>
                      <a:pt x="160" y="277"/>
                      <a:pt x="160" y="277"/>
                      <a:pt x="160" y="277"/>
                    </a:cubicBezTo>
                    <a:cubicBezTo>
                      <a:pt x="150" y="287"/>
                      <a:pt x="150" y="287"/>
                      <a:pt x="150" y="287"/>
                    </a:cubicBezTo>
                    <a:cubicBezTo>
                      <a:pt x="140" y="271"/>
                      <a:pt x="140" y="271"/>
                      <a:pt x="140" y="271"/>
                    </a:cubicBezTo>
                    <a:cubicBezTo>
                      <a:pt x="136" y="262"/>
                      <a:pt x="136" y="262"/>
                      <a:pt x="136" y="262"/>
                    </a:cubicBezTo>
                    <a:cubicBezTo>
                      <a:pt x="124" y="262"/>
                      <a:pt x="124" y="262"/>
                      <a:pt x="124" y="262"/>
                    </a:cubicBezTo>
                    <a:cubicBezTo>
                      <a:pt x="121" y="248"/>
                      <a:pt x="121" y="248"/>
                      <a:pt x="121" y="248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25" y="233"/>
                      <a:pt x="125" y="233"/>
                      <a:pt x="125" y="233"/>
                    </a:cubicBezTo>
                    <a:cubicBezTo>
                      <a:pt x="125" y="228"/>
                      <a:pt x="125" y="228"/>
                      <a:pt x="125" y="228"/>
                    </a:cubicBezTo>
                    <a:cubicBezTo>
                      <a:pt x="120" y="228"/>
                      <a:pt x="120" y="228"/>
                      <a:pt x="120" y="228"/>
                    </a:cubicBezTo>
                    <a:cubicBezTo>
                      <a:pt x="111" y="219"/>
                      <a:pt x="111" y="219"/>
                      <a:pt x="111" y="219"/>
                    </a:cubicBezTo>
                    <a:cubicBezTo>
                      <a:pt x="104" y="218"/>
                      <a:pt x="104" y="218"/>
                      <a:pt x="104" y="218"/>
                    </a:cubicBezTo>
                    <a:cubicBezTo>
                      <a:pt x="105" y="201"/>
                      <a:pt x="105" y="201"/>
                      <a:pt x="105" y="201"/>
                    </a:cubicBezTo>
                    <a:cubicBezTo>
                      <a:pt x="101" y="193"/>
                      <a:pt x="101" y="193"/>
                      <a:pt x="101" y="193"/>
                    </a:cubicBezTo>
                    <a:cubicBezTo>
                      <a:pt x="96" y="180"/>
                      <a:pt x="96" y="180"/>
                      <a:pt x="96" y="180"/>
                    </a:cubicBezTo>
                    <a:cubicBezTo>
                      <a:pt x="86" y="175"/>
                      <a:pt x="86" y="175"/>
                      <a:pt x="86" y="175"/>
                    </a:cubicBezTo>
                    <a:cubicBezTo>
                      <a:pt x="78" y="185"/>
                      <a:pt x="78" y="185"/>
                      <a:pt x="78" y="185"/>
                    </a:cubicBezTo>
                    <a:cubicBezTo>
                      <a:pt x="70" y="182"/>
                      <a:pt x="70" y="182"/>
                      <a:pt x="70" y="182"/>
                    </a:cubicBezTo>
                    <a:cubicBezTo>
                      <a:pt x="69" y="171"/>
                      <a:pt x="69" y="171"/>
                      <a:pt x="69" y="171"/>
                    </a:cubicBezTo>
                    <a:cubicBezTo>
                      <a:pt x="64" y="166"/>
                      <a:pt x="64" y="166"/>
                      <a:pt x="64" y="166"/>
                    </a:cubicBezTo>
                    <a:cubicBezTo>
                      <a:pt x="56" y="164"/>
                      <a:pt x="56" y="164"/>
                      <a:pt x="56" y="164"/>
                    </a:cubicBezTo>
                    <a:cubicBezTo>
                      <a:pt x="48" y="172"/>
                      <a:pt x="48" y="172"/>
                      <a:pt x="48" y="172"/>
                    </a:cubicBezTo>
                    <a:cubicBezTo>
                      <a:pt x="44" y="182"/>
                      <a:pt x="44" y="182"/>
                      <a:pt x="44" y="182"/>
                    </a:cubicBezTo>
                    <a:cubicBezTo>
                      <a:pt x="30" y="178"/>
                      <a:pt x="30" y="178"/>
                      <a:pt x="30" y="178"/>
                    </a:cubicBezTo>
                    <a:cubicBezTo>
                      <a:pt x="26" y="170"/>
                      <a:pt x="26" y="170"/>
                      <a:pt x="26" y="170"/>
                    </a:cubicBezTo>
                    <a:cubicBezTo>
                      <a:pt x="34" y="160"/>
                      <a:pt x="34" y="160"/>
                      <a:pt x="34" y="160"/>
                    </a:cubicBezTo>
                    <a:cubicBezTo>
                      <a:pt x="29" y="152"/>
                      <a:pt x="29" y="152"/>
                      <a:pt x="29" y="152"/>
                    </a:cubicBezTo>
                    <a:cubicBezTo>
                      <a:pt x="20" y="155"/>
                      <a:pt x="20" y="155"/>
                      <a:pt x="20" y="155"/>
                    </a:cubicBezTo>
                    <a:cubicBezTo>
                      <a:pt x="9" y="152"/>
                      <a:pt x="9" y="152"/>
                      <a:pt x="9" y="152"/>
                    </a:cubicBezTo>
                    <a:cubicBezTo>
                      <a:pt x="1" y="144"/>
                      <a:pt x="1" y="144"/>
                      <a:pt x="1" y="144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12" y="124"/>
                      <a:pt x="12" y="124"/>
                      <a:pt x="12" y="124"/>
                    </a:cubicBezTo>
                    <a:cubicBezTo>
                      <a:pt x="25" y="113"/>
                      <a:pt x="25" y="113"/>
                      <a:pt x="25" y="113"/>
                    </a:cubicBezTo>
                    <a:cubicBezTo>
                      <a:pt x="38" y="113"/>
                      <a:pt x="38" y="113"/>
                      <a:pt x="38" y="113"/>
                    </a:cubicBezTo>
                    <a:cubicBezTo>
                      <a:pt x="44" y="107"/>
                      <a:pt x="44" y="107"/>
                      <a:pt x="44" y="107"/>
                    </a:cubicBezTo>
                    <a:cubicBezTo>
                      <a:pt x="51" y="115"/>
                      <a:pt x="51" y="115"/>
                      <a:pt x="51" y="115"/>
                    </a:cubicBezTo>
                    <a:cubicBezTo>
                      <a:pt x="61" y="117"/>
                      <a:pt x="61" y="117"/>
                      <a:pt x="61" y="117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79" y="112"/>
                      <a:pt x="79" y="112"/>
                      <a:pt x="79" y="112"/>
                    </a:cubicBezTo>
                    <a:cubicBezTo>
                      <a:pt x="85" y="119"/>
                      <a:pt x="85" y="119"/>
                      <a:pt x="85" y="119"/>
                    </a:cubicBezTo>
                    <a:cubicBezTo>
                      <a:pt x="85" y="119"/>
                      <a:pt x="93" y="120"/>
                      <a:pt x="93" y="119"/>
                    </a:cubicBezTo>
                    <a:cubicBezTo>
                      <a:pt x="93" y="118"/>
                      <a:pt x="95" y="109"/>
                      <a:pt x="95" y="109"/>
                    </a:cubicBezTo>
                    <a:cubicBezTo>
                      <a:pt x="112" y="113"/>
                      <a:pt x="112" y="113"/>
                      <a:pt x="112" y="113"/>
                    </a:cubicBezTo>
                    <a:cubicBezTo>
                      <a:pt x="118" y="107"/>
                      <a:pt x="118" y="107"/>
                      <a:pt x="118" y="107"/>
                    </a:cubicBezTo>
                    <a:cubicBezTo>
                      <a:pt x="130" y="104"/>
                      <a:pt x="130" y="104"/>
                      <a:pt x="130" y="104"/>
                    </a:cubicBezTo>
                    <a:cubicBezTo>
                      <a:pt x="141" y="109"/>
                      <a:pt x="141" y="109"/>
                      <a:pt x="141" y="109"/>
                    </a:cubicBezTo>
                    <a:cubicBezTo>
                      <a:pt x="155" y="123"/>
                      <a:pt x="155" y="123"/>
                      <a:pt x="155" y="123"/>
                    </a:cubicBezTo>
                    <a:cubicBezTo>
                      <a:pt x="166" y="118"/>
                      <a:pt x="166" y="118"/>
                      <a:pt x="166" y="118"/>
                    </a:cubicBezTo>
                    <a:cubicBezTo>
                      <a:pt x="178" y="115"/>
                      <a:pt x="178" y="115"/>
                      <a:pt x="178" y="115"/>
                    </a:cubicBezTo>
                    <a:cubicBezTo>
                      <a:pt x="184" y="108"/>
                      <a:pt x="184" y="108"/>
                      <a:pt x="184" y="108"/>
                    </a:cubicBezTo>
                    <a:cubicBezTo>
                      <a:pt x="193" y="112"/>
                      <a:pt x="193" y="112"/>
                      <a:pt x="193" y="112"/>
                    </a:cubicBezTo>
                    <a:cubicBezTo>
                      <a:pt x="200" y="105"/>
                      <a:pt x="200" y="105"/>
                      <a:pt x="200" y="105"/>
                    </a:cubicBezTo>
                    <a:cubicBezTo>
                      <a:pt x="207" y="105"/>
                      <a:pt x="207" y="105"/>
                      <a:pt x="207" y="105"/>
                    </a:cubicBezTo>
                    <a:cubicBezTo>
                      <a:pt x="214" y="113"/>
                      <a:pt x="214" y="113"/>
                      <a:pt x="214" y="113"/>
                    </a:cubicBezTo>
                    <a:cubicBezTo>
                      <a:pt x="241" y="86"/>
                      <a:pt x="241" y="86"/>
                      <a:pt x="241" y="86"/>
                    </a:cubicBezTo>
                    <a:cubicBezTo>
                      <a:pt x="255" y="88"/>
                      <a:pt x="255" y="88"/>
                      <a:pt x="255" y="88"/>
                    </a:cubicBezTo>
                    <a:cubicBezTo>
                      <a:pt x="255" y="79"/>
                      <a:pt x="255" y="79"/>
                      <a:pt x="255" y="79"/>
                    </a:cubicBezTo>
                    <a:cubicBezTo>
                      <a:pt x="273" y="73"/>
                      <a:pt x="273" y="73"/>
                      <a:pt x="273" y="73"/>
                    </a:cubicBezTo>
                    <a:cubicBezTo>
                      <a:pt x="286" y="75"/>
                      <a:pt x="286" y="75"/>
                      <a:pt x="286" y="75"/>
                    </a:cubicBezTo>
                    <a:cubicBezTo>
                      <a:pt x="286" y="75"/>
                      <a:pt x="298" y="67"/>
                      <a:pt x="299" y="67"/>
                    </a:cubicBezTo>
                    <a:cubicBezTo>
                      <a:pt x="300" y="66"/>
                      <a:pt x="298" y="53"/>
                      <a:pt x="298" y="53"/>
                    </a:cubicBezTo>
                    <a:cubicBezTo>
                      <a:pt x="320" y="40"/>
                      <a:pt x="320" y="40"/>
                      <a:pt x="320" y="40"/>
                    </a:cubicBezTo>
                    <a:cubicBezTo>
                      <a:pt x="340" y="23"/>
                      <a:pt x="340" y="23"/>
                      <a:pt x="340" y="23"/>
                    </a:cubicBezTo>
                    <a:cubicBezTo>
                      <a:pt x="346" y="26"/>
                      <a:pt x="346" y="26"/>
                      <a:pt x="346" y="26"/>
                    </a:cubicBezTo>
                    <a:cubicBezTo>
                      <a:pt x="354" y="22"/>
                      <a:pt x="354" y="22"/>
                      <a:pt x="354" y="22"/>
                    </a:cubicBezTo>
                    <a:cubicBezTo>
                      <a:pt x="362" y="13"/>
                      <a:pt x="362" y="13"/>
                      <a:pt x="362" y="13"/>
                    </a:cubicBezTo>
                    <a:cubicBezTo>
                      <a:pt x="372" y="11"/>
                      <a:pt x="372" y="11"/>
                      <a:pt x="372" y="11"/>
                    </a:cubicBezTo>
                    <a:cubicBezTo>
                      <a:pt x="381" y="2"/>
                      <a:pt x="381" y="2"/>
                      <a:pt x="381" y="2"/>
                    </a:cubicBezTo>
                    <a:cubicBezTo>
                      <a:pt x="393" y="0"/>
                      <a:pt x="393" y="0"/>
                      <a:pt x="393" y="0"/>
                    </a:cubicBezTo>
                    <a:cubicBezTo>
                      <a:pt x="405" y="6"/>
                      <a:pt x="405" y="6"/>
                      <a:pt x="405" y="6"/>
                    </a:cubicBezTo>
                    <a:cubicBezTo>
                      <a:pt x="401" y="18"/>
                      <a:pt x="401" y="18"/>
                      <a:pt x="401" y="18"/>
                    </a:cubicBezTo>
                    <a:cubicBezTo>
                      <a:pt x="401" y="18"/>
                      <a:pt x="402" y="27"/>
                      <a:pt x="401" y="27"/>
                    </a:cubicBezTo>
                    <a:cubicBezTo>
                      <a:pt x="400" y="27"/>
                      <a:pt x="393" y="39"/>
                      <a:pt x="393" y="39"/>
                    </a:cubicBezTo>
                    <a:cubicBezTo>
                      <a:pt x="393" y="59"/>
                      <a:pt x="393" y="59"/>
                      <a:pt x="393" y="59"/>
                    </a:cubicBezTo>
                    <a:cubicBezTo>
                      <a:pt x="388" y="59"/>
                      <a:pt x="388" y="59"/>
                      <a:pt x="388" y="59"/>
                    </a:cubicBezTo>
                    <a:cubicBezTo>
                      <a:pt x="385" y="68"/>
                      <a:pt x="385" y="68"/>
                      <a:pt x="385" y="68"/>
                    </a:cubicBezTo>
                    <a:cubicBezTo>
                      <a:pt x="392" y="80"/>
                      <a:pt x="392" y="80"/>
                      <a:pt x="392" y="80"/>
                    </a:cubicBezTo>
                    <a:cubicBezTo>
                      <a:pt x="392" y="89"/>
                      <a:pt x="392" y="89"/>
                      <a:pt x="392" y="89"/>
                    </a:cubicBezTo>
                    <a:cubicBezTo>
                      <a:pt x="384" y="93"/>
                      <a:pt x="384" y="93"/>
                      <a:pt x="384" y="93"/>
                    </a:cubicBezTo>
                    <a:cubicBezTo>
                      <a:pt x="379" y="105"/>
                      <a:pt x="379" y="105"/>
                      <a:pt x="379" y="105"/>
                    </a:cubicBezTo>
                    <a:cubicBezTo>
                      <a:pt x="387" y="115"/>
                      <a:pt x="387" y="115"/>
                      <a:pt x="387" y="115"/>
                    </a:cubicBezTo>
                    <a:cubicBezTo>
                      <a:pt x="404" y="117"/>
                      <a:pt x="404" y="117"/>
                      <a:pt x="404" y="117"/>
                    </a:cubicBezTo>
                    <a:cubicBezTo>
                      <a:pt x="409" y="112"/>
                      <a:pt x="409" y="112"/>
                      <a:pt x="409" y="112"/>
                    </a:cubicBezTo>
                    <a:cubicBezTo>
                      <a:pt x="420" y="109"/>
                      <a:pt x="420" y="109"/>
                      <a:pt x="420" y="109"/>
                    </a:cubicBezTo>
                    <a:cubicBezTo>
                      <a:pt x="438" y="134"/>
                      <a:pt x="438" y="134"/>
                      <a:pt x="438" y="134"/>
                    </a:cubicBezTo>
                    <a:cubicBezTo>
                      <a:pt x="446" y="126"/>
                      <a:pt x="446" y="126"/>
                      <a:pt x="446" y="126"/>
                    </a:cubicBezTo>
                    <a:cubicBezTo>
                      <a:pt x="455" y="127"/>
                      <a:pt x="455" y="127"/>
                      <a:pt x="455" y="127"/>
                    </a:cubicBezTo>
                    <a:cubicBezTo>
                      <a:pt x="467" y="109"/>
                      <a:pt x="467" y="109"/>
                      <a:pt x="467" y="109"/>
                    </a:cubicBezTo>
                    <a:cubicBezTo>
                      <a:pt x="480" y="104"/>
                      <a:pt x="480" y="104"/>
                      <a:pt x="480" y="104"/>
                    </a:cubicBezTo>
                    <a:cubicBezTo>
                      <a:pt x="484" y="100"/>
                      <a:pt x="484" y="100"/>
                      <a:pt x="484" y="100"/>
                    </a:cubicBezTo>
                    <a:cubicBezTo>
                      <a:pt x="481" y="87"/>
                      <a:pt x="481" y="87"/>
                      <a:pt x="481" y="87"/>
                    </a:cubicBezTo>
                    <a:cubicBezTo>
                      <a:pt x="485" y="77"/>
                      <a:pt x="485" y="77"/>
                      <a:pt x="485" y="77"/>
                    </a:cubicBezTo>
                    <a:cubicBezTo>
                      <a:pt x="498" y="74"/>
                      <a:pt x="498" y="74"/>
                      <a:pt x="498" y="74"/>
                    </a:cubicBezTo>
                    <a:cubicBezTo>
                      <a:pt x="505" y="67"/>
                      <a:pt x="505" y="67"/>
                      <a:pt x="505" y="67"/>
                    </a:cubicBezTo>
                    <a:cubicBezTo>
                      <a:pt x="512" y="55"/>
                      <a:pt x="512" y="55"/>
                      <a:pt x="512" y="55"/>
                    </a:cubicBezTo>
                    <a:cubicBezTo>
                      <a:pt x="524" y="53"/>
                      <a:pt x="524" y="53"/>
                      <a:pt x="524" y="53"/>
                    </a:cubicBezTo>
                    <a:cubicBezTo>
                      <a:pt x="536" y="65"/>
                      <a:pt x="536" y="65"/>
                      <a:pt x="536" y="65"/>
                    </a:cubicBezTo>
                    <a:cubicBezTo>
                      <a:pt x="539" y="85"/>
                      <a:pt x="539" y="85"/>
                      <a:pt x="539" y="85"/>
                    </a:cubicBezTo>
                    <a:cubicBezTo>
                      <a:pt x="551" y="94"/>
                      <a:pt x="551" y="94"/>
                      <a:pt x="551" y="94"/>
                    </a:cubicBezTo>
                    <a:cubicBezTo>
                      <a:pt x="546" y="110"/>
                      <a:pt x="546" y="110"/>
                      <a:pt x="546" y="110"/>
                    </a:cubicBezTo>
                    <a:cubicBezTo>
                      <a:pt x="525" y="118"/>
                      <a:pt x="525" y="118"/>
                      <a:pt x="525" y="118"/>
                    </a:cubicBezTo>
                    <a:cubicBezTo>
                      <a:pt x="513" y="118"/>
                      <a:pt x="513" y="118"/>
                      <a:pt x="513" y="118"/>
                    </a:cubicBezTo>
                    <a:cubicBezTo>
                      <a:pt x="508" y="125"/>
                      <a:pt x="508" y="125"/>
                      <a:pt x="508" y="125"/>
                    </a:cubicBezTo>
                    <a:cubicBezTo>
                      <a:pt x="521" y="139"/>
                      <a:pt x="521" y="139"/>
                      <a:pt x="521" y="139"/>
                    </a:cubicBezTo>
                    <a:cubicBezTo>
                      <a:pt x="522" y="148"/>
                      <a:pt x="522" y="148"/>
                      <a:pt x="522" y="148"/>
                    </a:cubicBezTo>
                    <a:cubicBezTo>
                      <a:pt x="510" y="161"/>
                      <a:pt x="510" y="161"/>
                      <a:pt x="510" y="161"/>
                    </a:cubicBezTo>
                    <a:cubicBezTo>
                      <a:pt x="509" y="180"/>
                      <a:pt x="509" y="180"/>
                      <a:pt x="509" y="180"/>
                    </a:cubicBezTo>
                    <a:cubicBezTo>
                      <a:pt x="497" y="191"/>
                      <a:pt x="497" y="191"/>
                      <a:pt x="497" y="191"/>
                    </a:cubicBezTo>
                    <a:cubicBezTo>
                      <a:pt x="497" y="200"/>
                      <a:pt x="497" y="200"/>
                      <a:pt x="497" y="200"/>
                    </a:cubicBezTo>
                    <a:cubicBezTo>
                      <a:pt x="487" y="211"/>
                      <a:pt x="487" y="211"/>
                      <a:pt x="487" y="211"/>
                    </a:cubicBezTo>
                    <a:cubicBezTo>
                      <a:pt x="495" y="223"/>
                      <a:pt x="495" y="223"/>
                      <a:pt x="495" y="223"/>
                    </a:cubicBezTo>
                    <a:cubicBezTo>
                      <a:pt x="489" y="234"/>
                      <a:pt x="489" y="234"/>
                      <a:pt x="489" y="234"/>
                    </a:cubicBezTo>
                    <a:cubicBezTo>
                      <a:pt x="492" y="261"/>
                      <a:pt x="492" y="261"/>
                      <a:pt x="492" y="261"/>
                    </a:cubicBezTo>
                    <a:cubicBezTo>
                      <a:pt x="499" y="268"/>
                      <a:pt x="499" y="268"/>
                      <a:pt x="499" y="268"/>
                    </a:cubicBezTo>
                    <a:cubicBezTo>
                      <a:pt x="506" y="268"/>
                      <a:pt x="506" y="268"/>
                      <a:pt x="506" y="268"/>
                    </a:cubicBezTo>
                    <a:cubicBezTo>
                      <a:pt x="513" y="280"/>
                      <a:pt x="513" y="280"/>
                      <a:pt x="513" y="280"/>
                    </a:cubicBezTo>
                    <a:cubicBezTo>
                      <a:pt x="519" y="274"/>
                      <a:pt x="519" y="274"/>
                      <a:pt x="519" y="274"/>
                    </a:cubicBezTo>
                    <a:cubicBezTo>
                      <a:pt x="534" y="276"/>
                      <a:pt x="534" y="276"/>
                      <a:pt x="534" y="276"/>
                    </a:cubicBezTo>
                    <a:cubicBezTo>
                      <a:pt x="536" y="286"/>
                      <a:pt x="536" y="286"/>
                      <a:pt x="536" y="286"/>
                    </a:cubicBezTo>
                    <a:cubicBezTo>
                      <a:pt x="549" y="295"/>
                      <a:pt x="549" y="295"/>
                      <a:pt x="549" y="295"/>
                    </a:cubicBezTo>
                    <a:cubicBezTo>
                      <a:pt x="550" y="305"/>
                      <a:pt x="550" y="305"/>
                      <a:pt x="550" y="305"/>
                    </a:cubicBezTo>
                    <a:cubicBezTo>
                      <a:pt x="556" y="306"/>
                      <a:pt x="556" y="306"/>
                      <a:pt x="556" y="306"/>
                    </a:cubicBezTo>
                    <a:cubicBezTo>
                      <a:pt x="563" y="312"/>
                      <a:pt x="563" y="312"/>
                      <a:pt x="563" y="312"/>
                    </a:cubicBezTo>
                    <a:cubicBezTo>
                      <a:pt x="564" y="328"/>
                      <a:pt x="564" y="328"/>
                      <a:pt x="564" y="328"/>
                    </a:cubicBezTo>
                    <a:cubicBezTo>
                      <a:pt x="557" y="330"/>
                      <a:pt x="557" y="330"/>
                      <a:pt x="557" y="330"/>
                    </a:cubicBezTo>
                    <a:cubicBezTo>
                      <a:pt x="560" y="341"/>
                      <a:pt x="560" y="341"/>
                      <a:pt x="560" y="341"/>
                    </a:cubicBezTo>
                    <a:cubicBezTo>
                      <a:pt x="557" y="349"/>
                      <a:pt x="557" y="349"/>
                      <a:pt x="557" y="349"/>
                    </a:cubicBezTo>
                    <a:cubicBezTo>
                      <a:pt x="558" y="363"/>
                      <a:pt x="558" y="363"/>
                      <a:pt x="558" y="363"/>
                    </a:cubicBezTo>
                    <a:lnTo>
                      <a:pt x="544" y="36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7" name="Freeform 185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 rot="698053">
                <a:off x="8243197" y="4222899"/>
                <a:ext cx="227726" cy="190390"/>
              </a:xfrm>
              <a:custGeom>
                <a:avLst/>
                <a:gdLst>
                  <a:gd name="T0" fmla="*/ 136 w 149"/>
                  <a:gd name="T1" fmla="*/ 23 h 129"/>
                  <a:gd name="T2" fmla="*/ 120 w 149"/>
                  <a:gd name="T3" fmla="*/ 31 h 129"/>
                  <a:gd name="T4" fmla="*/ 116 w 149"/>
                  <a:gd name="T5" fmla="*/ 45 h 129"/>
                  <a:gd name="T6" fmla="*/ 105 w 149"/>
                  <a:gd name="T7" fmla="*/ 62 h 129"/>
                  <a:gd name="T8" fmla="*/ 93 w 149"/>
                  <a:gd name="T9" fmla="*/ 77 h 129"/>
                  <a:gd name="T10" fmla="*/ 99 w 149"/>
                  <a:gd name="T11" fmla="*/ 94 h 129"/>
                  <a:gd name="T12" fmla="*/ 85 w 149"/>
                  <a:gd name="T13" fmla="*/ 105 h 129"/>
                  <a:gd name="T14" fmla="*/ 71 w 149"/>
                  <a:gd name="T15" fmla="*/ 113 h 129"/>
                  <a:gd name="T16" fmla="*/ 59 w 149"/>
                  <a:gd name="T17" fmla="*/ 117 h 129"/>
                  <a:gd name="T18" fmla="*/ 55 w 149"/>
                  <a:gd name="T19" fmla="*/ 129 h 129"/>
                  <a:gd name="T20" fmla="*/ 43 w 149"/>
                  <a:gd name="T21" fmla="*/ 129 h 129"/>
                  <a:gd name="T22" fmla="*/ 30 w 149"/>
                  <a:gd name="T23" fmla="*/ 122 h 129"/>
                  <a:gd name="T24" fmla="*/ 21 w 149"/>
                  <a:gd name="T25" fmla="*/ 119 h 129"/>
                  <a:gd name="T26" fmla="*/ 21 w 149"/>
                  <a:gd name="T27" fmla="*/ 103 h 129"/>
                  <a:gd name="T28" fmla="*/ 10 w 149"/>
                  <a:gd name="T29" fmla="*/ 94 h 129"/>
                  <a:gd name="T30" fmla="*/ 1 w 149"/>
                  <a:gd name="T31" fmla="*/ 85 h 129"/>
                  <a:gd name="T32" fmla="*/ 0 w 149"/>
                  <a:gd name="T33" fmla="*/ 71 h 129"/>
                  <a:gd name="T34" fmla="*/ 3 w 149"/>
                  <a:gd name="T35" fmla="*/ 63 h 129"/>
                  <a:gd name="T36" fmla="*/ 0 w 149"/>
                  <a:gd name="T37" fmla="*/ 52 h 129"/>
                  <a:gd name="T38" fmla="*/ 7 w 149"/>
                  <a:gd name="T39" fmla="*/ 50 h 129"/>
                  <a:gd name="T40" fmla="*/ 14 w 149"/>
                  <a:gd name="T41" fmla="*/ 51 h 129"/>
                  <a:gd name="T42" fmla="*/ 21 w 149"/>
                  <a:gd name="T43" fmla="*/ 40 h 129"/>
                  <a:gd name="T44" fmla="*/ 27 w 149"/>
                  <a:gd name="T45" fmla="*/ 34 h 129"/>
                  <a:gd name="T46" fmla="*/ 26 w 149"/>
                  <a:gd name="T47" fmla="*/ 20 h 129"/>
                  <a:gd name="T48" fmla="*/ 36 w 149"/>
                  <a:gd name="T49" fmla="*/ 19 h 129"/>
                  <a:gd name="T50" fmla="*/ 48 w 149"/>
                  <a:gd name="T51" fmla="*/ 21 h 129"/>
                  <a:gd name="T52" fmla="*/ 63 w 149"/>
                  <a:gd name="T53" fmla="*/ 13 h 129"/>
                  <a:gd name="T54" fmla="*/ 74 w 149"/>
                  <a:gd name="T55" fmla="*/ 19 h 129"/>
                  <a:gd name="T56" fmla="*/ 87 w 149"/>
                  <a:gd name="T57" fmla="*/ 34 h 129"/>
                  <a:gd name="T58" fmla="*/ 95 w 149"/>
                  <a:gd name="T59" fmla="*/ 23 h 129"/>
                  <a:gd name="T60" fmla="*/ 114 w 149"/>
                  <a:gd name="T61" fmla="*/ 19 h 129"/>
                  <a:gd name="T62" fmla="*/ 121 w 149"/>
                  <a:gd name="T63" fmla="*/ 6 h 129"/>
                  <a:gd name="T64" fmla="*/ 134 w 149"/>
                  <a:gd name="T65" fmla="*/ 4 h 129"/>
                  <a:gd name="T66" fmla="*/ 146 w 149"/>
                  <a:gd name="T67" fmla="*/ 0 h 129"/>
                  <a:gd name="T68" fmla="*/ 145 w 149"/>
                  <a:gd name="T69" fmla="*/ 11 h 129"/>
                  <a:gd name="T70" fmla="*/ 149 w 149"/>
                  <a:gd name="T71" fmla="*/ 15 h 129"/>
                  <a:gd name="T72" fmla="*/ 147 w 149"/>
                  <a:gd name="T73" fmla="*/ 23 h 129"/>
                  <a:gd name="T74" fmla="*/ 136 w 149"/>
                  <a:gd name="T75" fmla="*/ 2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9" h="129">
                    <a:moveTo>
                      <a:pt x="136" y="23"/>
                    </a:moveTo>
                    <a:cubicBezTo>
                      <a:pt x="120" y="31"/>
                      <a:pt x="120" y="31"/>
                      <a:pt x="120" y="31"/>
                    </a:cubicBezTo>
                    <a:cubicBezTo>
                      <a:pt x="116" y="45"/>
                      <a:pt x="116" y="45"/>
                      <a:pt x="116" y="45"/>
                    </a:cubicBezTo>
                    <a:cubicBezTo>
                      <a:pt x="105" y="62"/>
                      <a:pt x="105" y="62"/>
                      <a:pt x="105" y="62"/>
                    </a:cubicBezTo>
                    <a:cubicBezTo>
                      <a:pt x="93" y="77"/>
                      <a:pt x="93" y="77"/>
                      <a:pt x="93" y="77"/>
                    </a:cubicBezTo>
                    <a:cubicBezTo>
                      <a:pt x="99" y="94"/>
                      <a:pt x="99" y="94"/>
                      <a:pt x="99" y="94"/>
                    </a:cubicBezTo>
                    <a:cubicBezTo>
                      <a:pt x="85" y="105"/>
                      <a:pt x="85" y="105"/>
                      <a:pt x="85" y="105"/>
                    </a:cubicBezTo>
                    <a:cubicBezTo>
                      <a:pt x="71" y="113"/>
                      <a:pt x="71" y="113"/>
                      <a:pt x="71" y="113"/>
                    </a:cubicBezTo>
                    <a:cubicBezTo>
                      <a:pt x="59" y="117"/>
                      <a:pt x="59" y="117"/>
                      <a:pt x="59" y="117"/>
                    </a:cubicBezTo>
                    <a:cubicBezTo>
                      <a:pt x="55" y="129"/>
                      <a:pt x="55" y="129"/>
                      <a:pt x="55" y="129"/>
                    </a:cubicBezTo>
                    <a:cubicBezTo>
                      <a:pt x="43" y="129"/>
                      <a:pt x="43" y="129"/>
                      <a:pt x="43" y="129"/>
                    </a:cubicBezTo>
                    <a:cubicBezTo>
                      <a:pt x="30" y="122"/>
                      <a:pt x="30" y="122"/>
                      <a:pt x="30" y="122"/>
                    </a:cubicBezTo>
                    <a:cubicBezTo>
                      <a:pt x="21" y="119"/>
                      <a:pt x="21" y="119"/>
                      <a:pt x="21" y="119"/>
                    </a:cubicBezTo>
                    <a:cubicBezTo>
                      <a:pt x="21" y="103"/>
                      <a:pt x="21" y="103"/>
                      <a:pt x="21" y="103"/>
                    </a:cubicBezTo>
                    <a:cubicBezTo>
                      <a:pt x="10" y="94"/>
                      <a:pt x="10" y="94"/>
                      <a:pt x="10" y="94"/>
                    </a:cubicBezTo>
                    <a:cubicBezTo>
                      <a:pt x="1" y="85"/>
                      <a:pt x="1" y="85"/>
                      <a:pt x="1" y="8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7" y="34"/>
                      <a:pt x="27" y="34"/>
                      <a:pt x="27" y="34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48" y="21"/>
                      <a:pt x="48" y="21"/>
                      <a:pt x="48" y="21"/>
                    </a:cubicBezTo>
                    <a:cubicBezTo>
                      <a:pt x="63" y="13"/>
                      <a:pt x="63" y="13"/>
                      <a:pt x="63" y="13"/>
                    </a:cubicBezTo>
                    <a:cubicBezTo>
                      <a:pt x="74" y="19"/>
                      <a:pt x="74" y="19"/>
                      <a:pt x="74" y="19"/>
                    </a:cubicBezTo>
                    <a:cubicBezTo>
                      <a:pt x="87" y="34"/>
                      <a:pt x="87" y="34"/>
                      <a:pt x="87" y="34"/>
                    </a:cubicBezTo>
                    <a:cubicBezTo>
                      <a:pt x="95" y="23"/>
                      <a:pt x="95" y="23"/>
                      <a:pt x="95" y="23"/>
                    </a:cubicBezTo>
                    <a:cubicBezTo>
                      <a:pt x="95" y="23"/>
                      <a:pt x="113" y="19"/>
                      <a:pt x="114" y="19"/>
                    </a:cubicBezTo>
                    <a:cubicBezTo>
                      <a:pt x="115" y="18"/>
                      <a:pt x="121" y="6"/>
                      <a:pt x="121" y="6"/>
                    </a:cubicBezTo>
                    <a:cubicBezTo>
                      <a:pt x="134" y="4"/>
                      <a:pt x="134" y="4"/>
                      <a:pt x="134" y="4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5" y="11"/>
                      <a:pt x="145" y="11"/>
                      <a:pt x="145" y="11"/>
                    </a:cubicBezTo>
                    <a:cubicBezTo>
                      <a:pt x="149" y="15"/>
                      <a:pt x="149" y="15"/>
                      <a:pt x="149" y="15"/>
                    </a:cubicBezTo>
                    <a:cubicBezTo>
                      <a:pt x="147" y="23"/>
                      <a:pt x="147" y="23"/>
                      <a:pt x="147" y="23"/>
                    </a:cubicBezTo>
                    <a:lnTo>
                      <a:pt x="136" y="23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58" name="Freeform 186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 rot="698053">
                <a:off x="8414160" y="4156069"/>
                <a:ext cx="283472" cy="691596"/>
              </a:xfrm>
              <a:custGeom>
                <a:avLst/>
                <a:gdLst>
                  <a:gd name="T0" fmla="*/ 342 w 371"/>
                  <a:gd name="T1" fmla="*/ 145 h 935"/>
                  <a:gd name="T2" fmla="*/ 363 w 371"/>
                  <a:gd name="T3" fmla="*/ 225 h 935"/>
                  <a:gd name="T4" fmla="*/ 371 w 371"/>
                  <a:gd name="T5" fmla="*/ 329 h 935"/>
                  <a:gd name="T6" fmla="*/ 363 w 371"/>
                  <a:gd name="T7" fmla="*/ 407 h 935"/>
                  <a:gd name="T8" fmla="*/ 354 w 371"/>
                  <a:gd name="T9" fmla="*/ 519 h 935"/>
                  <a:gd name="T10" fmla="*/ 359 w 371"/>
                  <a:gd name="T11" fmla="*/ 633 h 935"/>
                  <a:gd name="T12" fmla="*/ 332 w 371"/>
                  <a:gd name="T13" fmla="*/ 707 h 935"/>
                  <a:gd name="T14" fmla="*/ 294 w 371"/>
                  <a:gd name="T15" fmla="*/ 781 h 935"/>
                  <a:gd name="T16" fmla="*/ 244 w 371"/>
                  <a:gd name="T17" fmla="*/ 795 h 935"/>
                  <a:gd name="T18" fmla="*/ 196 w 371"/>
                  <a:gd name="T19" fmla="*/ 803 h 935"/>
                  <a:gd name="T20" fmla="*/ 186 w 371"/>
                  <a:gd name="T21" fmla="*/ 775 h 935"/>
                  <a:gd name="T22" fmla="*/ 176 w 371"/>
                  <a:gd name="T23" fmla="*/ 823 h 935"/>
                  <a:gd name="T24" fmla="*/ 148 w 371"/>
                  <a:gd name="T25" fmla="*/ 793 h 935"/>
                  <a:gd name="T26" fmla="*/ 142 w 371"/>
                  <a:gd name="T27" fmla="*/ 841 h 935"/>
                  <a:gd name="T28" fmla="*/ 140 w 371"/>
                  <a:gd name="T29" fmla="*/ 889 h 935"/>
                  <a:gd name="T30" fmla="*/ 130 w 371"/>
                  <a:gd name="T31" fmla="*/ 913 h 935"/>
                  <a:gd name="T32" fmla="*/ 104 w 371"/>
                  <a:gd name="T33" fmla="*/ 933 h 935"/>
                  <a:gd name="T34" fmla="*/ 102 w 371"/>
                  <a:gd name="T35" fmla="*/ 893 h 935"/>
                  <a:gd name="T36" fmla="*/ 118 w 371"/>
                  <a:gd name="T37" fmla="*/ 833 h 935"/>
                  <a:gd name="T38" fmla="*/ 76 w 371"/>
                  <a:gd name="T39" fmla="*/ 773 h 935"/>
                  <a:gd name="T40" fmla="*/ 50 w 371"/>
                  <a:gd name="T41" fmla="*/ 729 h 935"/>
                  <a:gd name="T42" fmla="*/ 0 w 371"/>
                  <a:gd name="T43" fmla="*/ 695 h 935"/>
                  <a:gd name="T44" fmla="*/ 16 w 371"/>
                  <a:gd name="T45" fmla="*/ 653 h 935"/>
                  <a:gd name="T46" fmla="*/ 30 w 371"/>
                  <a:gd name="T47" fmla="*/ 611 h 935"/>
                  <a:gd name="T48" fmla="*/ 70 w 371"/>
                  <a:gd name="T49" fmla="*/ 581 h 935"/>
                  <a:gd name="T50" fmla="*/ 112 w 371"/>
                  <a:gd name="T51" fmla="*/ 569 h 935"/>
                  <a:gd name="T52" fmla="*/ 102 w 371"/>
                  <a:gd name="T53" fmla="*/ 513 h 935"/>
                  <a:gd name="T54" fmla="*/ 100 w 371"/>
                  <a:gd name="T55" fmla="*/ 455 h 935"/>
                  <a:gd name="T56" fmla="*/ 78 w 371"/>
                  <a:gd name="T57" fmla="*/ 399 h 935"/>
                  <a:gd name="T58" fmla="*/ 70 w 371"/>
                  <a:gd name="T59" fmla="*/ 353 h 935"/>
                  <a:gd name="T60" fmla="*/ 96 w 371"/>
                  <a:gd name="T61" fmla="*/ 337 h 935"/>
                  <a:gd name="T62" fmla="*/ 84 w 371"/>
                  <a:gd name="T63" fmla="*/ 297 h 935"/>
                  <a:gd name="T64" fmla="*/ 126 w 371"/>
                  <a:gd name="T65" fmla="*/ 271 h 935"/>
                  <a:gd name="T66" fmla="*/ 150 w 371"/>
                  <a:gd name="T67" fmla="*/ 275 h 935"/>
                  <a:gd name="T68" fmla="*/ 184 w 371"/>
                  <a:gd name="T69" fmla="*/ 271 h 935"/>
                  <a:gd name="T70" fmla="*/ 214 w 371"/>
                  <a:gd name="T71" fmla="*/ 259 h 935"/>
                  <a:gd name="T72" fmla="*/ 234 w 371"/>
                  <a:gd name="T73" fmla="*/ 193 h 935"/>
                  <a:gd name="T74" fmla="*/ 222 w 371"/>
                  <a:gd name="T75" fmla="*/ 167 h 935"/>
                  <a:gd name="T76" fmla="*/ 262 w 371"/>
                  <a:gd name="T77" fmla="*/ 137 h 935"/>
                  <a:gd name="T78" fmla="*/ 256 w 371"/>
                  <a:gd name="T79" fmla="*/ 84 h 935"/>
                  <a:gd name="T80" fmla="*/ 236 w 371"/>
                  <a:gd name="T81" fmla="*/ 98 h 935"/>
                  <a:gd name="T82" fmla="*/ 208 w 371"/>
                  <a:gd name="T83" fmla="*/ 82 h 935"/>
                  <a:gd name="T84" fmla="*/ 178 w 371"/>
                  <a:gd name="T85" fmla="*/ 60 h 935"/>
                  <a:gd name="T86" fmla="*/ 216 w 371"/>
                  <a:gd name="T87" fmla="*/ 2 h 935"/>
                  <a:gd name="T88" fmla="*/ 250 w 371"/>
                  <a:gd name="T89" fmla="*/ 14 h 935"/>
                  <a:gd name="T90" fmla="*/ 284 w 371"/>
                  <a:gd name="T91" fmla="*/ 28 h 935"/>
                  <a:gd name="T92" fmla="*/ 284 w 371"/>
                  <a:gd name="T93" fmla="*/ 58 h 935"/>
                  <a:gd name="T94" fmla="*/ 330 w 371"/>
                  <a:gd name="T95" fmla="*/ 56 h 9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1" h="935">
                    <a:moveTo>
                      <a:pt x="328" y="105"/>
                    </a:moveTo>
                    <a:lnTo>
                      <a:pt x="342" y="145"/>
                    </a:lnTo>
                    <a:lnTo>
                      <a:pt x="354" y="187"/>
                    </a:lnTo>
                    <a:lnTo>
                      <a:pt x="363" y="225"/>
                    </a:lnTo>
                    <a:lnTo>
                      <a:pt x="371" y="277"/>
                    </a:lnTo>
                    <a:lnTo>
                      <a:pt x="371" y="329"/>
                    </a:lnTo>
                    <a:lnTo>
                      <a:pt x="363" y="355"/>
                    </a:lnTo>
                    <a:lnTo>
                      <a:pt x="363" y="407"/>
                    </a:lnTo>
                    <a:lnTo>
                      <a:pt x="363" y="471"/>
                    </a:lnTo>
                    <a:lnTo>
                      <a:pt x="354" y="519"/>
                    </a:lnTo>
                    <a:lnTo>
                      <a:pt x="363" y="569"/>
                    </a:lnTo>
                    <a:lnTo>
                      <a:pt x="359" y="633"/>
                    </a:lnTo>
                    <a:lnTo>
                      <a:pt x="359" y="663"/>
                    </a:lnTo>
                    <a:lnTo>
                      <a:pt x="332" y="707"/>
                    </a:lnTo>
                    <a:lnTo>
                      <a:pt x="314" y="745"/>
                    </a:lnTo>
                    <a:lnTo>
                      <a:pt x="294" y="781"/>
                    </a:lnTo>
                    <a:lnTo>
                      <a:pt x="278" y="781"/>
                    </a:lnTo>
                    <a:lnTo>
                      <a:pt x="244" y="795"/>
                    </a:lnTo>
                    <a:lnTo>
                      <a:pt x="216" y="811"/>
                    </a:lnTo>
                    <a:lnTo>
                      <a:pt x="196" y="803"/>
                    </a:lnTo>
                    <a:lnTo>
                      <a:pt x="196" y="785"/>
                    </a:lnTo>
                    <a:lnTo>
                      <a:pt x="186" y="775"/>
                    </a:lnTo>
                    <a:lnTo>
                      <a:pt x="176" y="797"/>
                    </a:lnTo>
                    <a:lnTo>
                      <a:pt x="176" y="823"/>
                    </a:lnTo>
                    <a:lnTo>
                      <a:pt x="166" y="811"/>
                    </a:lnTo>
                    <a:lnTo>
                      <a:pt x="148" y="793"/>
                    </a:lnTo>
                    <a:lnTo>
                      <a:pt x="148" y="807"/>
                    </a:lnTo>
                    <a:lnTo>
                      <a:pt x="142" y="841"/>
                    </a:lnTo>
                    <a:lnTo>
                      <a:pt x="148" y="863"/>
                    </a:lnTo>
                    <a:lnTo>
                      <a:pt x="140" y="889"/>
                    </a:lnTo>
                    <a:lnTo>
                      <a:pt x="130" y="901"/>
                    </a:lnTo>
                    <a:lnTo>
                      <a:pt x="130" y="913"/>
                    </a:lnTo>
                    <a:lnTo>
                      <a:pt x="130" y="935"/>
                    </a:lnTo>
                    <a:lnTo>
                      <a:pt x="104" y="933"/>
                    </a:lnTo>
                    <a:lnTo>
                      <a:pt x="94" y="923"/>
                    </a:lnTo>
                    <a:lnTo>
                      <a:pt x="102" y="893"/>
                    </a:lnTo>
                    <a:lnTo>
                      <a:pt x="118" y="861"/>
                    </a:lnTo>
                    <a:lnTo>
                      <a:pt x="118" y="833"/>
                    </a:lnTo>
                    <a:lnTo>
                      <a:pt x="104" y="803"/>
                    </a:lnTo>
                    <a:lnTo>
                      <a:pt x="76" y="773"/>
                    </a:lnTo>
                    <a:lnTo>
                      <a:pt x="62" y="759"/>
                    </a:lnTo>
                    <a:lnTo>
                      <a:pt x="50" y="729"/>
                    </a:lnTo>
                    <a:lnTo>
                      <a:pt x="24" y="703"/>
                    </a:lnTo>
                    <a:lnTo>
                      <a:pt x="0" y="695"/>
                    </a:lnTo>
                    <a:lnTo>
                      <a:pt x="0" y="669"/>
                    </a:lnTo>
                    <a:lnTo>
                      <a:pt x="16" y="653"/>
                    </a:lnTo>
                    <a:lnTo>
                      <a:pt x="30" y="637"/>
                    </a:lnTo>
                    <a:lnTo>
                      <a:pt x="30" y="611"/>
                    </a:lnTo>
                    <a:lnTo>
                      <a:pt x="50" y="593"/>
                    </a:lnTo>
                    <a:lnTo>
                      <a:pt x="70" y="581"/>
                    </a:lnTo>
                    <a:lnTo>
                      <a:pt x="92" y="589"/>
                    </a:lnTo>
                    <a:lnTo>
                      <a:pt x="112" y="569"/>
                    </a:lnTo>
                    <a:lnTo>
                      <a:pt x="124" y="545"/>
                    </a:lnTo>
                    <a:lnTo>
                      <a:pt x="102" y="513"/>
                    </a:lnTo>
                    <a:lnTo>
                      <a:pt x="114" y="485"/>
                    </a:lnTo>
                    <a:lnTo>
                      <a:pt x="100" y="455"/>
                    </a:lnTo>
                    <a:lnTo>
                      <a:pt x="98" y="425"/>
                    </a:lnTo>
                    <a:lnTo>
                      <a:pt x="78" y="399"/>
                    </a:lnTo>
                    <a:lnTo>
                      <a:pt x="84" y="377"/>
                    </a:lnTo>
                    <a:lnTo>
                      <a:pt x="70" y="353"/>
                    </a:lnTo>
                    <a:lnTo>
                      <a:pt x="96" y="349"/>
                    </a:lnTo>
                    <a:lnTo>
                      <a:pt x="96" y="337"/>
                    </a:lnTo>
                    <a:lnTo>
                      <a:pt x="80" y="323"/>
                    </a:lnTo>
                    <a:lnTo>
                      <a:pt x="84" y="297"/>
                    </a:lnTo>
                    <a:lnTo>
                      <a:pt x="108" y="265"/>
                    </a:lnTo>
                    <a:lnTo>
                      <a:pt x="126" y="271"/>
                    </a:lnTo>
                    <a:lnTo>
                      <a:pt x="132" y="277"/>
                    </a:lnTo>
                    <a:lnTo>
                      <a:pt x="150" y="275"/>
                    </a:lnTo>
                    <a:lnTo>
                      <a:pt x="156" y="267"/>
                    </a:lnTo>
                    <a:lnTo>
                      <a:pt x="184" y="271"/>
                    </a:lnTo>
                    <a:lnTo>
                      <a:pt x="186" y="263"/>
                    </a:lnTo>
                    <a:lnTo>
                      <a:pt x="214" y="259"/>
                    </a:lnTo>
                    <a:lnTo>
                      <a:pt x="234" y="231"/>
                    </a:lnTo>
                    <a:lnTo>
                      <a:pt x="234" y="193"/>
                    </a:lnTo>
                    <a:lnTo>
                      <a:pt x="218" y="189"/>
                    </a:lnTo>
                    <a:lnTo>
                      <a:pt x="222" y="167"/>
                    </a:lnTo>
                    <a:lnTo>
                      <a:pt x="254" y="155"/>
                    </a:lnTo>
                    <a:lnTo>
                      <a:pt x="262" y="137"/>
                    </a:lnTo>
                    <a:lnTo>
                      <a:pt x="266" y="111"/>
                    </a:lnTo>
                    <a:lnTo>
                      <a:pt x="256" y="84"/>
                    </a:lnTo>
                    <a:lnTo>
                      <a:pt x="244" y="82"/>
                    </a:lnTo>
                    <a:lnTo>
                      <a:pt x="236" y="98"/>
                    </a:lnTo>
                    <a:lnTo>
                      <a:pt x="214" y="100"/>
                    </a:lnTo>
                    <a:lnTo>
                      <a:pt x="208" y="82"/>
                    </a:lnTo>
                    <a:lnTo>
                      <a:pt x="184" y="78"/>
                    </a:lnTo>
                    <a:lnTo>
                      <a:pt x="178" y="60"/>
                    </a:lnTo>
                    <a:lnTo>
                      <a:pt x="206" y="38"/>
                    </a:lnTo>
                    <a:lnTo>
                      <a:pt x="216" y="2"/>
                    </a:lnTo>
                    <a:lnTo>
                      <a:pt x="232" y="0"/>
                    </a:lnTo>
                    <a:lnTo>
                      <a:pt x="250" y="14"/>
                    </a:lnTo>
                    <a:lnTo>
                      <a:pt x="264" y="28"/>
                    </a:lnTo>
                    <a:lnTo>
                      <a:pt x="284" y="28"/>
                    </a:lnTo>
                    <a:lnTo>
                      <a:pt x="292" y="44"/>
                    </a:lnTo>
                    <a:lnTo>
                      <a:pt x="284" y="58"/>
                    </a:lnTo>
                    <a:lnTo>
                      <a:pt x="308" y="74"/>
                    </a:lnTo>
                    <a:lnTo>
                      <a:pt x="330" y="56"/>
                    </a:lnTo>
                    <a:lnTo>
                      <a:pt x="328" y="105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2" name="Freeform 187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 rot="698053">
                <a:off x="8264321" y="2353864"/>
                <a:ext cx="594223" cy="795966"/>
              </a:xfrm>
              <a:custGeom>
                <a:avLst/>
                <a:gdLst>
                  <a:gd name="T0" fmla="*/ 380 w 388"/>
                  <a:gd name="T1" fmla="*/ 134 h 537"/>
                  <a:gd name="T2" fmla="*/ 383 w 388"/>
                  <a:gd name="T3" fmla="*/ 191 h 537"/>
                  <a:gd name="T4" fmla="*/ 366 w 388"/>
                  <a:gd name="T5" fmla="*/ 188 h 537"/>
                  <a:gd name="T6" fmla="*/ 344 w 388"/>
                  <a:gd name="T7" fmla="*/ 160 h 537"/>
                  <a:gd name="T8" fmla="*/ 325 w 388"/>
                  <a:gd name="T9" fmla="*/ 173 h 537"/>
                  <a:gd name="T10" fmla="*/ 301 w 388"/>
                  <a:gd name="T11" fmla="*/ 206 h 537"/>
                  <a:gd name="T12" fmla="*/ 306 w 388"/>
                  <a:gd name="T13" fmla="*/ 252 h 537"/>
                  <a:gd name="T14" fmla="*/ 316 w 388"/>
                  <a:gd name="T15" fmla="*/ 309 h 537"/>
                  <a:gd name="T16" fmla="*/ 331 w 388"/>
                  <a:gd name="T17" fmla="*/ 359 h 537"/>
                  <a:gd name="T18" fmla="*/ 357 w 388"/>
                  <a:gd name="T19" fmla="*/ 360 h 537"/>
                  <a:gd name="T20" fmla="*/ 372 w 388"/>
                  <a:gd name="T21" fmla="*/ 367 h 537"/>
                  <a:gd name="T22" fmla="*/ 341 w 388"/>
                  <a:gd name="T23" fmla="*/ 391 h 537"/>
                  <a:gd name="T24" fmla="*/ 331 w 388"/>
                  <a:gd name="T25" fmla="*/ 430 h 537"/>
                  <a:gd name="T26" fmla="*/ 314 w 388"/>
                  <a:gd name="T27" fmla="*/ 457 h 537"/>
                  <a:gd name="T28" fmla="*/ 310 w 388"/>
                  <a:gd name="T29" fmla="*/ 434 h 537"/>
                  <a:gd name="T30" fmla="*/ 304 w 388"/>
                  <a:gd name="T31" fmla="*/ 430 h 537"/>
                  <a:gd name="T32" fmla="*/ 273 w 388"/>
                  <a:gd name="T33" fmla="*/ 447 h 537"/>
                  <a:gd name="T34" fmla="*/ 244 w 388"/>
                  <a:gd name="T35" fmla="*/ 469 h 537"/>
                  <a:gd name="T36" fmla="*/ 252 w 388"/>
                  <a:gd name="T37" fmla="*/ 499 h 537"/>
                  <a:gd name="T38" fmla="*/ 233 w 388"/>
                  <a:gd name="T39" fmla="*/ 518 h 537"/>
                  <a:gd name="T40" fmla="*/ 211 w 388"/>
                  <a:gd name="T41" fmla="*/ 526 h 537"/>
                  <a:gd name="T42" fmla="*/ 182 w 388"/>
                  <a:gd name="T43" fmla="*/ 517 h 537"/>
                  <a:gd name="T44" fmla="*/ 153 w 388"/>
                  <a:gd name="T45" fmla="*/ 525 h 537"/>
                  <a:gd name="T46" fmla="*/ 136 w 388"/>
                  <a:gd name="T47" fmla="*/ 499 h 537"/>
                  <a:gd name="T48" fmla="*/ 139 w 388"/>
                  <a:gd name="T49" fmla="*/ 469 h 537"/>
                  <a:gd name="T50" fmla="*/ 106 w 388"/>
                  <a:gd name="T51" fmla="*/ 452 h 537"/>
                  <a:gd name="T52" fmla="*/ 56 w 388"/>
                  <a:gd name="T53" fmla="*/ 466 h 537"/>
                  <a:gd name="T54" fmla="*/ 45 w 388"/>
                  <a:gd name="T55" fmla="*/ 435 h 537"/>
                  <a:gd name="T56" fmla="*/ 17 w 388"/>
                  <a:gd name="T57" fmla="*/ 409 h 537"/>
                  <a:gd name="T58" fmla="*/ 1 w 388"/>
                  <a:gd name="T59" fmla="*/ 384 h 537"/>
                  <a:gd name="T60" fmla="*/ 0 w 388"/>
                  <a:gd name="T61" fmla="*/ 359 h 537"/>
                  <a:gd name="T62" fmla="*/ 19 w 388"/>
                  <a:gd name="T63" fmla="*/ 334 h 537"/>
                  <a:gd name="T64" fmla="*/ 21 w 388"/>
                  <a:gd name="T65" fmla="*/ 316 h 537"/>
                  <a:gd name="T66" fmla="*/ 31 w 388"/>
                  <a:gd name="T67" fmla="*/ 300 h 537"/>
                  <a:gd name="T68" fmla="*/ 40 w 388"/>
                  <a:gd name="T69" fmla="*/ 276 h 537"/>
                  <a:gd name="T70" fmla="*/ 65 w 388"/>
                  <a:gd name="T71" fmla="*/ 280 h 537"/>
                  <a:gd name="T72" fmla="*/ 76 w 388"/>
                  <a:gd name="T73" fmla="*/ 247 h 537"/>
                  <a:gd name="T74" fmla="*/ 88 w 388"/>
                  <a:gd name="T75" fmla="*/ 228 h 537"/>
                  <a:gd name="T76" fmla="*/ 62 w 388"/>
                  <a:gd name="T77" fmla="*/ 199 h 537"/>
                  <a:gd name="T78" fmla="*/ 44 w 388"/>
                  <a:gd name="T79" fmla="*/ 159 h 537"/>
                  <a:gd name="T80" fmla="*/ 48 w 388"/>
                  <a:gd name="T81" fmla="*/ 135 h 537"/>
                  <a:gd name="T82" fmla="*/ 51 w 388"/>
                  <a:gd name="T83" fmla="*/ 117 h 537"/>
                  <a:gd name="T84" fmla="*/ 69 w 388"/>
                  <a:gd name="T85" fmla="*/ 100 h 537"/>
                  <a:gd name="T86" fmla="*/ 94 w 388"/>
                  <a:gd name="T87" fmla="*/ 80 h 537"/>
                  <a:gd name="T88" fmla="*/ 88 w 388"/>
                  <a:gd name="T89" fmla="*/ 42 h 537"/>
                  <a:gd name="T90" fmla="*/ 118 w 388"/>
                  <a:gd name="T91" fmla="*/ 54 h 537"/>
                  <a:gd name="T92" fmla="*/ 146 w 388"/>
                  <a:gd name="T93" fmla="*/ 41 h 537"/>
                  <a:gd name="T94" fmla="*/ 190 w 388"/>
                  <a:gd name="T95" fmla="*/ 22 h 537"/>
                  <a:gd name="T96" fmla="*/ 250 w 388"/>
                  <a:gd name="T97" fmla="*/ 2 h 537"/>
                  <a:gd name="T98" fmla="*/ 252 w 388"/>
                  <a:gd name="T99" fmla="*/ 22 h 537"/>
                  <a:gd name="T100" fmla="*/ 286 w 388"/>
                  <a:gd name="T101" fmla="*/ 36 h 537"/>
                  <a:gd name="T102" fmla="*/ 302 w 388"/>
                  <a:gd name="T103" fmla="*/ 62 h 537"/>
                  <a:gd name="T104" fmla="*/ 332 w 388"/>
                  <a:gd name="T105" fmla="*/ 67 h 537"/>
                  <a:gd name="T106" fmla="*/ 347 w 388"/>
                  <a:gd name="T107" fmla="*/ 82 h 537"/>
                  <a:gd name="T108" fmla="*/ 353 w 388"/>
                  <a:gd name="T109" fmla="*/ 89 h 537"/>
                  <a:gd name="T110" fmla="*/ 371 w 388"/>
                  <a:gd name="T111" fmla="*/ 104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88" h="537">
                    <a:moveTo>
                      <a:pt x="371" y="104"/>
                    </a:moveTo>
                    <a:cubicBezTo>
                      <a:pt x="380" y="113"/>
                      <a:pt x="380" y="113"/>
                      <a:pt x="380" y="113"/>
                    </a:cubicBezTo>
                    <a:cubicBezTo>
                      <a:pt x="380" y="134"/>
                      <a:pt x="380" y="134"/>
                      <a:pt x="380" y="134"/>
                    </a:cubicBezTo>
                    <a:cubicBezTo>
                      <a:pt x="386" y="150"/>
                      <a:pt x="386" y="150"/>
                      <a:pt x="386" y="150"/>
                    </a:cubicBezTo>
                    <a:cubicBezTo>
                      <a:pt x="388" y="175"/>
                      <a:pt x="388" y="175"/>
                      <a:pt x="388" y="175"/>
                    </a:cubicBezTo>
                    <a:cubicBezTo>
                      <a:pt x="383" y="191"/>
                      <a:pt x="383" y="191"/>
                      <a:pt x="383" y="191"/>
                    </a:cubicBezTo>
                    <a:cubicBezTo>
                      <a:pt x="378" y="177"/>
                      <a:pt x="378" y="177"/>
                      <a:pt x="378" y="177"/>
                    </a:cubicBezTo>
                    <a:cubicBezTo>
                      <a:pt x="366" y="171"/>
                      <a:pt x="366" y="171"/>
                      <a:pt x="366" y="171"/>
                    </a:cubicBezTo>
                    <a:cubicBezTo>
                      <a:pt x="366" y="188"/>
                      <a:pt x="366" y="188"/>
                      <a:pt x="366" y="188"/>
                    </a:cubicBezTo>
                    <a:cubicBezTo>
                      <a:pt x="356" y="178"/>
                      <a:pt x="356" y="178"/>
                      <a:pt x="356" y="178"/>
                    </a:cubicBezTo>
                    <a:cubicBezTo>
                      <a:pt x="349" y="171"/>
                      <a:pt x="349" y="171"/>
                      <a:pt x="349" y="171"/>
                    </a:cubicBezTo>
                    <a:cubicBezTo>
                      <a:pt x="344" y="160"/>
                      <a:pt x="344" y="160"/>
                      <a:pt x="344" y="160"/>
                    </a:cubicBezTo>
                    <a:cubicBezTo>
                      <a:pt x="325" y="143"/>
                      <a:pt x="325" y="143"/>
                      <a:pt x="325" y="143"/>
                    </a:cubicBezTo>
                    <a:cubicBezTo>
                      <a:pt x="330" y="157"/>
                      <a:pt x="330" y="157"/>
                      <a:pt x="330" y="157"/>
                    </a:cubicBezTo>
                    <a:cubicBezTo>
                      <a:pt x="325" y="173"/>
                      <a:pt x="325" y="173"/>
                      <a:pt x="325" y="173"/>
                    </a:cubicBezTo>
                    <a:cubicBezTo>
                      <a:pt x="307" y="173"/>
                      <a:pt x="307" y="173"/>
                      <a:pt x="307" y="173"/>
                    </a:cubicBezTo>
                    <a:cubicBezTo>
                      <a:pt x="307" y="184"/>
                      <a:pt x="307" y="184"/>
                      <a:pt x="307" y="184"/>
                    </a:cubicBezTo>
                    <a:cubicBezTo>
                      <a:pt x="301" y="206"/>
                      <a:pt x="301" y="206"/>
                      <a:pt x="301" y="206"/>
                    </a:cubicBezTo>
                    <a:cubicBezTo>
                      <a:pt x="294" y="215"/>
                      <a:pt x="294" y="215"/>
                      <a:pt x="294" y="215"/>
                    </a:cubicBezTo>
                    <a:cubicBezTo>
                      <a:pt x="294" y="244"/>
                      <a:pt x="294" y="244"/>
                      <a:pt x="294" y="244"/>
                    </a:cubicBezTo>
                    <a:cubicBezTo>
                      <a:pt x="306" y="252"/>
                      <a:pt x="306" y="252"/>
                      <a:pt x="306" y="252"/>
                    </a:cubicBezTo>
                    <a:cubicBezTo>
                      <a:pt x="304" y="271"/>
                      <a:pt x="304" y="271"/>
                      <a:pt x="304" y="271"/>
                    </a:cubicBezTo>
                    <a:cubicBezTo>
                      <a:pt x="316" y="289"/>
                      <a:pt x="316" y="289"/>
                      <a:pt x="316" y="289"/>
                    </a:cubicBezTo>
                    <a:cubicBezTo>
                      <a:pt x="316" y="309"/>
                      <a:pt x="316" y="309"/>
                      <a:pt x="316" y="309"/>
                    </a:cubicBezTo>
                    <a:cubicBezTo>
                      <a:pt x="320" y="336"/>
                      <a:pt x="320" y="336"/>
                      <a:pt x="320" y="336"/>
                    </a:cubicBezTo>
                    <a:cubicBezTo>
                      <a:pt x="331" y="347"/>
                      <a:pt x="331" y="347"/>
                      <a:pt x="331" y="347"/>
                    </a:cubicBezTo>
                    <a:cubicBezTo>
                      <a:pt x="331" y="359"/>
                      <a:pt x="331" y="359"/>
                      <a:pt x="331" y="359"/>
                    </a:cubicBezTo>
                    <a:cubicBezTo>
                      <a:pt x="340" y="368"/>
                      <a:pt x="340" y="368"/>
                      <a:pt x="340" y="368"/>
                    </a:cubicBezTo>
                    <a:cubicBezTo>
                      <a:pt x="349" y="367"/>
                      <a:pt x="349" y="367"/>
                      <a:pt x="349" y="367"/>
                    </a:cubicBezTo>
                    <a:cubicBezTo>
                      <a:pt x="357" y="360"/>
                      <a:pt x="357" y="360"/>
                      <a:pt x="357" y="360"/>
                    </a:cubicBezTo>
                    <a:cubicBezTo>
                      <a:pt x="362" y="354"/>
                      <a:pt x="362" y="354"/>
                      <a:pt x="362" y="354"/>
                    </a:cubicBezTo>
                    <a:cubicBezTo>
                      <a:pt x="372" y="354"/>
                      <a:pt x="372" y="354"/>
                      <a:pt x="372" y="354"/>
                    </a:cubicBezTo>
                    <a:cubicBezTo>
                      <a:pt x="372" y="367"/>
                      <a:pt x="372" y="367"/>
                      <a:pt x="372" y="367"/>
                    </a:cubicBezTo>
                    <a:cubicBezTo>
                      <a:pt x="361" y="370"/>
                      <a:pt x="361" y="370"/>
                      <a:pt x="361" y="370"/>
                    </a:cubicBezTo>
                    <a:cubicBezTo>
                      <a:pt x="361" y="388"/>
                      <a:pt x="361" y="388"/>
                      <a:pt x="361" y="388"/>
                    </a:cubicBezTo>
                    <a:cubicBezTo>
                      <a:pt x="341" y="391"/>
                      <a:pt x="341" y="391"/>
                      <a:pt x="341" y="391"/>
                    </a:cubicBezTo>
                    <a:cubicBezTo>
                      <a:pt x="346" y="415"/>
                      <a:pt x="346" y="415"/>
                      <a:pt x="346" y="415"/>
                    </a:cubicBezTo>
                    <a:cubicBezTo>
                      <a:pt x="344" y="425"/>
                      <a:pt x="344" y="425"/>
                      <a:pt x="344" y="425"/>
                    </a:cubicBezTo>
                    <a:cubicBezTo>
                      <a:pt x="331" y="430"/>
                      <a:pt x="331" y="430"/>
                      <a:pt x="331" y="430"/>
                    </a:cubicBezTo>
                    <a:cubicBezTo>
                      <a:pt x="331" y="444"/>
                      <a:pt x="331" y="444"/>
                      <a:pt x="331" y="444"/>
                    </a:cubicBezTo>
                    <a:cubicBezTo>
                      <a:pt x="326" y="457"/>
                      <a:pt x="326" y="457"/>
                      <a:pt x="326" y="457"/>
                    </a:cubicBezTo>
                    <a:cubicBezTo>
                      <a:pt x="326" y="457"/>
                      <a:pt x="311" y="460"/>
                      <a:pt x="314" y="457"/>
                    </a:cubicBezTo>
                    <a:cubicBezTo>
                      <a:pt x="317" y="454"/>
                      <a:pt x="308" y="451"/>
                      <a:pt x="308" y="451"/>
                    </a:cubicBezTo>
                    <a:cubicBezTo>
                      <a:pt x="308" y="443"/>
                      <a:pt x="308" y="443"/>
                      <a:pt x="308" y="443"/>
                    </a:cubicBezTo>
                    <a:cubicBezTo>
                      <a:pt x="310" y="434"/>
                      <a:pt x="310" y="434"/>
                      <a:pt x="310" y="434"/>
                    </a:cubicBezTo>
                    <a:cubicBezTo>
                      <a:pt x="321" y="430"/>
                      <a:pt x="321" y="430"/>
                      <a:pt x="321" y="430"/>
                    </a:cubicBezTo>
                    <a:cubicBezTo>
                      <a:pt x="316" y="425"/>
                      <a:pt x="316" y="425"/>
                      <a:pt x="316" y="425"/>
                    </a:cubicBezTo>
                    <a:cubicBezTo>
                      <a:pt x="304" y="430"/>
                      <a:pt x="304" y="430"/>
                      <a:pt x="304" y="430"/>
                    </a:cubicBezTo>
                    <a:cubicBezTo>
                      <a:pt x="292" y="432"/>
                      <a:pt x="292" y="432"/>
                      <a:pt x="292" y="432"/>
                    </a:cubicBezTo>
                    <a:cubicBezTo>
                      <a:pt x="292" y="438"/>
                      <a:pt x="292" y="438"/>
                      <a:pt x="292" y="438"/>
                    </a:cubicBezTo>
                    <a:cubicBezTo>
                      <a:pt x="273" y="447"/>
                      <a:pt x="273" y="447"/>
                      <a:pt x="273" y="447"/>
                    </a:cubicBezTo>
                    <a:cubicBezTo>
                      <a:pt x="264" y="458"/>
                      <a:pt x="264" y="458"/>
                      <a:pt x="264" y="458"/>
                    </a:cubicBezTo>
                    <a:cubicBezTo>
                      <a:pt x="253" y="461"/>
                      <a:pt x="253" y="461"/>
                      <a:pt x="253" y="461"/>
                    </a:cubicBezTo>
                    <a:cubicBezTo>
                      <a:pt x="244" y="469"/>
                      <a:pt x="244" y="469"/>
                      <a:pt x="244" y="469"/>
                    </a:cubicBezTo>
                    <a:cubicBezTo>
                      <a:pt x="241" y="479"/>
                      <a:pt x="241" y="479"/>
                      <a:pt x="241" y="479"/>
                    </a:cubicBezTo>
                    <a:cubicBezTo>
                      <a:pt x="244" y="492"/>
                      <a:pt x="244" y="492"/>
                      <a:pt x="244" y="492"/>
                    </a:cubicBezTo>
                    <a:cubicBezTo>
                      <a:pt x="252" y="499"/>
                      <a:pt x="252" y="499"/>
                      <a:pt x="252" y="499"/>
                    </a:cubicBezTo>
                    <a:cubicBezTo>
                      <a:pt x="243" y="509"/>
                      <a:pt x="243" y="509"/>
                      <a:pt x="243" y="509"/>
                    </a:cubicBezTo>
                    <a:cubicBezTo>
                      <a:pt x="229" y="503"/>
                      <a:pt x="229" y="503"/>
                      <a:pt x="229" y="503"/>
                    </a:cubicBezTo>
                    <a:cubicBezTo>
                      <a:pt x="233" y="518"/>
                      <a:pt x="233" y="518"/>
                      <a:pt x="233" y="518"/>
                    </a:cubicBezTo>
                    <a:cubicBezTo>
                      <a:pt x="223" y="528"/>
                      <a:pt x="223" y="528"/>
                      <a:pt x="223" y="528"/>
                    </a:cubicBezTo>
                    <a:cubicBezTo>
                      <a:pt x="214" y="537"/>
                      <a:pt x="214" y="537"/>
                      <a:pt x="214" y="537"/>
                    </a:cubicBezTo>
                    <a:cubicBezTo>
                      <a:pt x="211" y="526"/>
                      <a:pt x="211" y="526"/>
                      <a:pt x="211" y="526"/>
                    </a:cubicBezTo>
                    <a:cubicBezTo>
                      <a:pt x="196" y="512"/>
                      <a:pt x="196" y="512"/>
                      <a:pt x="196" y="512"/>
                    </a:cubicBezTo>
                    <a:cubicBezTo>
                      <a:pt x="188" y="512"/>
                      <a:pt x="188" y="512"/>
                      <a:pt x="188" y="512"/>
                    </a:cubicBezTo>
                    <a:cubicBezTo>
                      <a:pt x="182" y="517"/>
                      <a:pt x="182" y="517"/>
                      <a:pt x="182" y="517"/>
                    </a:cubicBezTo>
                    <a:cubicBezTo>
                      <a:pt x="174" y="513"/>
                      <a:pt x="174" y="513"/>
                      <a:pt x="174" y="513"/>
                    </a:cubicBezTo>
                    <a:cubicBezTo>
                      <a:pt x="163" y="513"/>
                      <a:pt x="163" y="513"/>
                      <a:pt x="163" y="513"/>
                    </a:cubicBezTo>
                    <a:cubicBezTo>
                      <a:pt x="153" y="525"/>
                      <a:pt x="153" y="525"/>
                      <a:pt x="153" y="525"/>
                    </a:cubicBezTo>
                    <a:cubicBezTo>
                      <a:pt x="144" y="525"/>
                      <a:pt x="144" y="525"/>
                      <a:pt x="144" y="525"/>
                    </a:cubicBezTo>
                    <a:cubicBezTo>
                      <a:pt x="136" y="514"/>
                      <a:pt x="136" y="514"/>
                      <a:pt x="136" y="514"/>
                    </a:cubicBezTo>
                    <a:cubicBezTo>
                      <a:pt x="136" y="499"/>
                      <a:pt x="136" y="499"/>
                      <a:pt x="136" y="499"/>
                    </a:cubicBezTo>
                    <a:cubicBezTo>
                      <a:pt x="149" y="492"/>
                      <a:pt x="149" y="492"/>
                      <a:pt x="149" y="492"/>
                    </a:cubicBezTo>
                    <a:cubicBezTo>
                      <a:pt x="139" y="479"/>
                      <a:pt x="139" y="479"/>
                      <a:pt x="139" y="479"/>
                    </a:cubicBezTo>
                    <a:cubicBezTo>
                      <a:pt x="139" y="469"/>
                      <a:pt x="139" y="469"/>
                      <a:pt x="139" y="469"/>
                    </a:cubicBezTo>
                    <a:cubicBezTo>
                      <a:pt x="130" y="466"/>
                      <a:pt x="130" y="466"/>
                      <a:pt x="130" y="466"/>
                    </a:cubicBezTo>
                    <a:cubicBezTo>
                      <a:pt x="115" y="456"/>
                      <a:pt x="115" y="456"/>
                      <a:pt x="115" y="456"/>
                    </a:cubicBezTo>
                    <a:cubicBezTo>
                      <a:pt x="106" y="452"/>
                      <a:pt x="106" y="452"/>
                      <a:pt x="106" y="452"/>
                    </a:cubicBezTo>
                    <a:cubicBezTo>
                      <a:pt x="80" y="450"/>
                      <a:pt x="80" y="450"/>
                      <a:pt x="80" y="450"/>
                    </a:cubicBezTo>
                    <a:cubicBezTo>
                      <a:pt x="67" y="466"/>
                      <a:pt x="67" y="466"/>
                      <a:pt x="67" y="466"/>
                    </a:cubicBezTo>
                    <a:cubicBezTo>
                      <a:pt x="56" y="466"/>
                      <a:pt x="56" y="466"/>
                      <a:pt x="56" y="466"/>
                    </a:cubicBezTo>
                    <a:cubicBezTo>
                      <a:pt x="58" y="453"/>
                      <a:pt x="58" y="453"/>
                      <a:pt x="58" y="453"/>
                    </a:cubicBezTo>
                    <a:cubicBezTo>
                      <a:pt x="48" y="443"/>
                      <a:pt x="48" y="443"/>
                      <a:pt x="48" y="443"/>
                    </a:cubicBezTo>
                    <a:cubicBezTo>
                      <a:pt x="45" y="435"/>
                      <a:pt x="45" y="435"/>
                      <a:pt x="45" y="435"/>
                    </a:cubicBezTo>
                    <a:cubicBezTo>
                      <a:pt x="37" y="427"/>
                      <a:pt x="37" y="427"/>
                      <a:pt x="37" y="427"/>
                    </a:cubicBezTo>
                    <a:cubicBezTo>
                      <a:pt x="21" y="418"/>
                      <a:pt x="21" y="418"/>
                      <a:pt x="21" y="418"/>
                    </a:cubicBezTo>
                    <a:cubicBezTo>
                      <a:pt x="17" y="409"/>
                      <a:pt x="17" y="409"/>
                      <a:pt x="17" y="409"/>
                    </a:cubicBezTo>
                    <a:cubicBezTo>
                      <a:pt x="6" y="394"/>
                      <a:pt x="6" y="394"/>
                      <a:pt x="6" y="394"/>
                    </a:cubicBezTo>
                    <a:cubicBezTo>
                      <a:pt x="6" y="386"/>
                      <a:pt x="6" y="386"/>
                      <a:pt x="6" y="386"/>
                    </a:cubicBezTo>
                    <a:cubicBezTo>
                      <a:pt x="1" y="384"/>
                      <a:pt x="1" y="384"/>
                      <a:pt x="1" y="384"/>
                    </a:cubicBezTo>
                    <a:cubicBezTo>
                      <a:pt x="3" y="371"/>
                      <a:pt x="3" y="371"/>
                      <a:pt x="3" y="371"/>
                    </a:cubicBezTo>
                    <a:cubicBezTo>
                      <a:pt x="9" y="364"/>
                      <a:pt x="9" y="364"/>
                      <a:pt x="9" y="364"/>
                    </a:cubicBezTo>
                    <a:cubicBezTo>
                      <a:pt x="0" y="359"/>
                      <a:pt x="0" y="359"/>
                      <a:pt x="0" y="359"/>
                    </a:cubicBezTo>
                    <a:cubicBezTo>
                      <a:pt x="2" y="347"/>
                      <a:pt x="2" y="347"/>
                      <a:pt x="2" y="347"/>
                    </a:cubicBezTo>
                    <a:cubicBezTo>
                      <a:pt x="19" y="340"/>
                      <a:pt x="19" y="340"/>
                      <a:pt x="19" y="340"/>
                    </a:cubicBezTo>
                    <a:cubicBezTo>
                      <a:pt x="19" y="334"/>
                      <a:pt x="19" y="334"/>
                      <a:pt x="19" y="334"/>
                    </a:cubicBezTo>
                    <a:cubicBezTo>
                      <a:pt x="33" y="334"/>
                      <a:pt x="33" y="334"/>
                      <a:pt x="33" y="334"/>
                    </a:cubicBezTo>
                    <a:cubicBezTo>
                      <a:pt x="31" y="319"/>
                      <a:pt x="31" y="319"/>
                      <a:pt x="31" y="319"/>
                    </a:cubicBezTo>
                    <a:cubicBezTo>
                      <a:pt x="21" y="316"/>
                      <a:pt x="21" y="316"/>
                      <a:pt x="21" y="316"/>
                    </a:cubicBezTo>
                    <a:cubicBezTo>
                      <a:pt x="15" y="308"/>
                      <a:pt x="15" y="308"/>
                      <a:pt x="15" y="308"/>
                    </a:cubicBezTo>
                    <a:cubicBezTo>
                      <a:pt x="23" y="300"/>
                      <a:pt x="23" y="300"/>
                      <a:pt x="23" y="300"/>
                    </a:cubicBezTo>
                    <a:cubicBezTo>
                      <a:pt x="31" y="300"/>
                      <a:pt x="31" y="300"/>
                      <a:pt x="31" y="300"/>
                    </a:cubicBezTo>
                    <a:cubicBezTo>
                      <a:pt x="31" y="289"/>
                      <a:pt x="31" y="289"/>
                      <a:pt x="31" y="289"/>
                    </a:cubicBezTo>
                    <a:cubicBezTo>
                      <a:pt x="40" y="283"/>
                      <a:pt x="40" y="283"/>
                      <a:pt x="40" y="283"/>
                    </a:cubicBezTo>
                    <a:cubicBezTo>
                      <a:pt x="40" y="276"/>
                      <a:pt x="40" y="276"/>
                      <a:pt x="40" y="276"/>
                    </a:cubicBezTo>
                    <a:cubicBezTo>
                      <a:pt x="50" y="273"/>
                      <a:pt x="50" y="273"/>
                      <a:pt x="50" y="273"/>
                    </a:cubicBezTo>
                    <a:cubicBezTo>
                      <a:pt x="56" y="281"/>
                      <a:pt x="56" y="281"/>
                      <a:pt x="56" y="281"/>
                    </a:cubicBezTo>
                    <a:cubicBezTo>
                      <a:pt x="65" y="280"/>
                      <a:pt x="65" y="280"/>
                      <a:pt x="65" y="280"/>
                    </a:cubicBezTo>
                    <a:cubicBezTo>
                      <a:pt x="70" y="270"/>
                      <a:pt x="70" y="270"/>
                      <a:pt x="70" y="270"/>
                    </a:cubicBezTo>
                    <a:cubicBezTo>
                      <a:pt x="67" y="262"/>
                      <a:pt x="67" y="262"/>
                      <a:pt x="67" y="262"/>
                    </a:cubicBezTo>
                    <a:cubicBezTo>
                      <a:pt x="76" y="247"/>
                      <a:pt x="76" y="247"/>
                      <a:pt x="76" y="247"/>
                    </a:cubicBezTo>
                    <a:cubicBezTo>
                      <a:pt x="79" y="238"/>
                      <a:pt x="79" y="238"/>
                      <a:pt x="79" y="238"/>
                    </a:cubicBezTo>
                    <a:cubicBezTo>
                      <a:pt x="88" y="236"/>
                      <a:pt x="88" y="236"/>
                      <a:pt x="88" y="236"/>
                    </a:cubicBezTo>
                    <a:cubicBezTo>
                      <a:pt x="88" y="228"/>
                      <a:pt x="88" y="228"/>
                      <a:pt x="88" y="228"/>
                    </a:cubicBezTo>
                    <a:cubicBezTo>
                      <a:pt x="83" y="216"/>
                      <a:pt x="83" y="216"/>
                      <a:pt x="83" y="216"/>
                    </a:cubicBezTo>
                    <a:cubicBezTo>
                      <a:pt x="73" y="209"/>
                      <a:pt x="73" y="209"/>
                      <a:pt x="73" y="209"/>
                    </a:cubicBezTo>
                    <a:cubicBezTo>
                      <a:pt x="62" y="199"/>
                      <a:pt x="62" y="199"/>
                      <a:pt x="62" y="199"/>
                    </a:cubicBezTo>
                    <a:cubicBezTo>
                      <a:pt x="61" y="174"/>
                      <a:pt x="61" y="174"/>
                      <a:pt x="61" y="174"/>
                    </a:cubicBezTo>
                    <a:cubicBezTo>
                      <a:pt x="51" y="169"/>
                      <a:pt x="51" y="169"/>
                      <a:pt x="51" y="169"/>
                    </a:cubicBezTo>
                    <a:cubicBezTo>
                      <a:pt x="44" y="159"/>
                      <a:pt x="44" y="159"/>
                      <a:pt x="44" y="159"/>
                    </a:cubicBezTo>
                    <a:cubicBezTo>
                      <a:pt x="44" y="148"/>
                      <a:pt x="44" y="148"/>
                      <a:pt x="44" y="148"/>
                    </a:cubicBezTo>
                    <a:cubicBezTo>
                      <a:pt x="52" y="146"/>
                      <a:pt x="52" y="146"/>
                      <a:pt x="52" y="146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37" y="132"/>
                      <a:pt x="37" y="132"/>
                      <a:pt x="37" y="132"/>
                    </a:cubicBezTo>
                    <a:cubicBezTo>
                      <a:pt x="39" y="122"/>
                      <a:pt x="39" y="122"/>
                      <a:pt x="39" y="122"/>
                    </a:cubicBezTo>
                    <a:cubicBezTo>
                      <a:pt x="51" y="117"/>
                      <a:pt x="51" y="117"/>
                      <a:pt x="51" y="117"/>
                    </a:cubicBezTo>
                    <a:cubicBezTo>
                      <a:pt x="51" y="106"/>
                      <a:pt x="51" y="106"/>
                      <a:pt x="51" y="106"/>
                    </a:cubicBezTo>
                    <a:cubicBezTo>
                      <a:pt x="56" y="100"/>
                      <a:pt x="56" y="100"/>
                      <a:pt x="56" y="100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87" y="87"/>
                      <a:pt x="87" y="87"/>
                      <a:pt x="87" y="87"/>
                    </a:cubicBezTo>
                    <a:cubicBezTo>
                      <a:pt x="94" y="80"/>
                      <a:pt x="94" y="80"/>
                      <a:pt x="94" y="80"/>
                    </a:cubicBezTo>
                    <a:cubicBezTo>
                      <a:pt x="90" y="66"/>
                      <a:pt x="90" y="66"/>
                      <a:pt x="90" y="66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103" y="36"/>
                      <a:pt x="103" y="36"/>
                      <a:pt x="103" y="36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118" y="54"/>
                      <a:pt x="118" y="54"/>
                      <a:pt x="118" y="54"/>
                    </a:cubicBezTo>
                    <a:cubicBezTo>
                      <a:pt x="129" y="54"/>
                      <a:pt x="129" y="54"/>
                      <a:pt x="129" y="54"/>
                    </a:cubicBezTo>
                    <a:cubicBezTo>
                      <a:pt x="142" y="49"/>
                      <a:pt x="142" y="49"/>
                      <a:pt x="142" y="49"/>
                    </a:cubicBezTo>
                    <a:cubicBezTo>
                      <a:pt x="146" y="41"/>
                      <a:pt x="146" y="41"/>
                      <a:pt x="146" y="41"/>
                    </a:cubicBezTo>
                    <a:cubicBezTo>
                      <a:pt x="160" y="44"/>
                      <a:pt x="160" y="44"/>
                      <a:pt x="160" y="44"/>
                    </a:cubicBezTo>
                    <a:cubicBezTo>
                      <a:pt x="176" y="42"/>
                      <a:pt x="176" y="42"/>
                      <a:pt x="176" y="42"/>
                    </a:cubicBezTo>
                    <a:cubicBezTo>
                      <a:pt x="190" y="22"/>
                      <a:pt x="190" y="22"/>
                      <a:pt x="190" y="22"/>
                    </a:cubicBezTo>
                    <a:cubicBezTo>
                      <a:pt x="211" y="26"/>
                      <a:pt x="211" y="26"/>
                      <a:pt x="211" y="26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51" y="9"/>
                      <a:pt x="251" y="9"/>
                      <a:pt x="251" y="9"/>
                    </a:cubicBezTo>
                    <a:cubicBezTo>
                      <a:pt x="255" y="13"/>
                      <a:pt x="255" y="13"/>
                      <a:pt x="255" y="13"/>
                    </a:cubicBezTo>
                    <a:cubicBezTo>
                      <a:pt x="252" y="22"/>
                      <a:pt x="252" y="22"/>
                      <a:pt x="252" y="22"/>
                    </a:cubicBezTo>
                    <a:cubicBezTo>
                      <a:pt x="268" y="29"/>
                      <a:pt x="268" y="29"/>
                      <a:pt x="268" y="29"/>
                    </a:cubicBezTo>
                    <a:cubicBezTo>
                      <a:pt x="270" y="39"/>
                      <a:pt x="270" y="39"/>
                      <a:pt x="270" y="39"/>
                    </a:cubicBezTo>
                    <a:cubicBezTo>
                      <a:pt x="286" y="36"/>
                      <a:pt x="286" y="36"/>
                      <a:pt x="286" y="36"/>
                    </a:cubicBezTo>
                    <a:cubicBezTo>
                      <a:pt x="291" y="48"/>
                      <a:pt x="291" y="48"/>
                      <a:pt x="291" y="48"/>
                    </a:cubicBezTo>
                    <a:cubicBezTo>
                      <a:pt x="302" y="53"/>
                      <a:pt x="302" y="53"/>
                      <a:pt x="302" y="53"/>
                    </a:cubicBezTo>
                    <a:cubicBezTo>
                      <a:pt x="302" y="62"/>
                      <a:pt x="302" y="62"/>
                      <a:pt x="302" y="62"/>
                    </a:cubicBezTo>
                    <a:cubicBezTo>
                      <a:pt x="310" y="70"/>
                      <a:pt x="310" y="70"/>
                      <a:pt x="310" y="70"/>
                    </a:cubicBezTo>
                    <a:cubicBezTo>
                      <a:pt x="320" y="67"/>
                      <a:pt x="320" y="67"/>
                      <a:pt x="320" y="67"/>
                    </a:cubicBezTo>
                    <a:cubicBezTo>
                      <a:pt x="332" y="67"/>
                      <a:pt x="332" y="67"/>
                      <a:pt x="332" y="67"/>
                    </a:cubicBezTo>
                    <a:cubicBezTo>
                      <a:pt x="334" y="75"/>
                      <a:pt x="334" y="75"/>
                      <a:pt x="334" y="75"/>
                    </a:cubicBezTo>
                    <a:cubicBezTo>
                      <a:pt x="341" y="75"/>
                      <a:pt x="341" y="75"/>
                      <a:pt x="341" y="75"/>
                    </a:cubicBezTo>
                    <a:cubicBezTo>
                      <a:pt x="347" y="82"/>
                      <a:pt x="347" y="82"/>
                      <a:pt x="347" y="82"/>
                    </a:cubicBezTo>
                    <a:cubicBezTo>
                      <a:pt x="343" y="96"/>
                      <a:pt x="343" y="96"/>
                      <a:pt x="343" y="96"/>
                    </a:cubicBezTo>
                    <a:cubicBezTo>
                      <a:pt x="349" y="96"/>
                      <a:pt x="349" y="96"/>
                      <a:pt x="349" y="96"/>
                    </a:cubicBezTo>
                    <a:cubicBezTo>
                      <a:pt x="353" y="89"/>
                      <a:pt x="353" y="89"/>
                      <a:pt x="353" y="89"/>
                    </a:cubicBezTo>
                    <a:cubicBezTo>
                      <a:pt x="358" y="94"/>
                      <a:pt x="358" y="94"/>
                      <a:pt x="358" y="94"/>
                    </a:cubicBezTo>
                    <a:cubicBezTo>
                      <a:pt x="358" y="103"/>
                      <a:pt x="358" y="103"/>
                      <a:pt x="358" y="103"/>
                    </a:cubicBezTo>
                    <a:lnTo>
                      <a:pt x="371" y="10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3" name="Freeform 188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 rot="698053">
                <a:off x="4497296" y="2014387"/>
                <a:ext cx="15419" cy="13763"/>
              </a:xfrm>
              <a:custGeom>
                <a:avLst/>
                <a:gdLst>
                  <a:gd name="T0" fmla="*/ 4 w 20"/>
                  <a:gd name="T1" fmla="*/ 0 h 18"/>
                  <a:gd name="T2" fmla="*/ 0 w 20"/>
                  <a:gd name="T3" fmla="*/ 8 h 18"/>
                  <a:gd name="T4" fmla="*/ 8 w 20"/>
                  <a:gd name="T5" fmla="*/ 18 h 18"/>
                  <a:gd name="T6" fmla="*/ 20 w 20"/>
                  <a:gd name="T7" fmla="*/ 8 h 18"/>
                  <a:gd name="T8" fmla="*/ 4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4" y="0"/>
                    </a:moveTo>
                    <a:lnTo>
                      <a:pt x="0" y="8"/>
                    </a:lnTo>
                    <a:lnTo>
                      <a:pt x="8" y="18"/>
                    </a:lnTo>
                    <a:lnTo>
                      <a:pt x="20" y="8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4" name="Freeform 189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 rot="698053">
                <a:off x="4254506" y="2062023"/>
                <a:ext cx="625061" cy="571168"/>
              </a:xfrm>
              <a:custGeom>
                <a:avLst/>
                <a:gdLst>
                  <a:gd name="T0" fmla="*/ 609 w 817"/>
                  <a:gd name="T1" fmla="*/ 163 h 773"/>
                  <a:gd name="T2" fmla="*/ 605 w 817"/>
                  <a:gd name="T3" fmla="*/ 80 h 773"/>
                  <a:gd name="T4" fmla="*/ 529 w 817"/>
                  <a:gd name="T5" fmla="*/ 76 h 773"/>
                  <a:gd name="T6" fmla="*/ 417 w 817"/>
                  <a:gd name="T7" fmla="*/ 66 h 773"/>
                  <a:gd name="T8" fmla="*/ 403 w 817"/>
                  <a:gd name="T9" fmla="*/ 155 h 773"/>
                  <a:gd name="T10" fmla="*/ 339 w 817"/>
                  <a:gd name="T11" fmla="*/ 125 h 773"/>
                  <a:gd name="T12" fmla="*/ 298 w 817"/>
                  <a:gd name="T13" fmla="*/ 0 h 773"/>
                  <a:gd name="T14" fmla="*/ 254 w 817"/>
                  <a:gd name="T15" fmla="*/ 48 h 773"/>
                  <a:gd name="T16" fmla="*/ 262 w 817"/>
                  <a:gd name="T17" fmla="*/ 129 h 773"/>
                  <a:gd name="T18" fmla="*/ 172 w 817"/>
                  <a:gd name="T19" fmla="*/ 95 h 773"/>
                  <a:gd name="T20" fmla="*/ 140 w 817"/>
                  <a:gd name="T21" fmla="*/ 111 h 773"/>
                  <a:gd name="T22" fmla="*/ 116 w 817"/>
                  <a:gd name="T23" fmla="*/ 113 h 773"/>
                  <a:gd name="T24" fmla="*/ 92 w 817"/>
                  <a:gd name="T25" fmla="*/ 161 h 773"/>
                  <a:gd name="T26" fmla="*/ 108 w 817"/>
                  <a:gd name="T27" fmla="*/ 235 h 773"/>
                  <a:gd name="T28" fmla="*/ 78 w 817"/>
                  <a:gd name="T29" fmla="*/ 285 h 773"/>
                  <a:gd name="T30" fmla="*/ 38 w 817"/>
                  <a:gd name="T31" fmla="*/ 335 h 773"/>
                  <a:gd name="T32" fmla="*/ 10 w 817"/>
                  <a:gd name="T33" fmla="*/ 401 h 773"/>
                  <a:gd name="T34" fmla="*/ 22 w 817"/>
                  <a:gd name="T35" fmla="*/ 457 h 773"/>
                  <a:gd name="T36" fmla="*/ 48 w 817"/>
                  <a:gd name="T37" fmla="*/ 497 h 773"/>
                  <a:gd name="T38" fmla="*/ 84 w 817"/>
                  <a:gd name="T39" fmla="*/ 515 h 773"/>
                  <a:gd name="T40" fmla="*/ 126 w 817"/>
                  <a:gd name="T41" fmla="*/ 543 h 773"/>
                  <a:gd name="T42" fmla="*/ 172 w 817"/>
                  <a:gd name="T43" fmla="*/ 561 h 773"/>
                  <a:gd name="T44" fmla="*/ 204 w 817"/>
                  <a:gd name="T45" fmla="*/ 601 h 773"/>
                  <a:gd name="T46" fmla="*/ 238 w 817"/>
                  <a:gd name="T47" fmla="*/ 619 h 773"/>
                  <a:gd name="T48" fmla="*/ 264 w 817"/>
                  <a:gd name="T49" fmla="*/ 613 h 773"/>
                  <a:gd name="T50" fmla="*/ 280 w 817"/>
                  <a:gd name="T51" fmla="*/ 641 h 773"/>
                  <a:gd name="T52" fmla="*/ 306 w 817"/>
                  <a:gd name="T53" fmla="*/ 669 h 773"/>
                  <a:gd name="T54" fmla="*/ 341 w 817"/>
                  <a:gd name="T55" fmla="*/ 649 h 773"/>
                  <a:gd name="T56" fmla="*/ 355 w 817"/>
                  <a:gd name="T57" fmla="*/ 687 h 773"/>
                  <a:gd name="T58" fmla="*/ 381 w 817"/>
                  <a:gd name="T59" fmla="*/ 701 h 773"/>
                  <a:gd name="T60" fmla="*/ 391 w 817"/>
                  <a:gd name="T61" fmla="*/ 729 h 773"/>
                  <a:gd name="T62" fmla="*/ 423 w 817"/>
                  <a:gd name="T63" fmla="*/ 731 h 773"/>
                  <a:gd name="T64" fmla="*/ 435 w 817"/>
                  <a:gd name="T65" fmla="*/ 765 h 773"/>
                  <a:gd name="T66" fmla="*/ 463 w 817"/>
                  <a:gd name="T67" fmla="*/ 757 h 773"/>
                  <a:gd name="T68" fmla="*/ 499 w 817"/>
                  <a:gd name="T69" fmla="*/ 771 h 773"/>
                  <a:gd name="T70" fmla="*/ 537 w 817"/>
                  <a:gd name="T71" fmla="*/ 749 h 773"/>
                  <a:gd name="T72" fmla="*/ 543 w 817"/>
                  <a:gd name="T73" fmla="*/ 705 h 773"/>
                  <a:gd name="T74" fmla="*/ 581 w 817"/>
                  <a:gd name="T75" fmla="*/ 671 h 773"/>
                  <a:gd name="T76" fmla="*/ 627 w 817"/>
                  <a:gd name="T77" fmla="*/ 631 h 773"/>
                  <a:gd name="T78" fmla="*/ 601 w 817"/>
                  <a:gd name="T79" fmla="*/ 609 h 773"/>
                  <a:gd name="T80" fmla="*/ 563 w 817"/>
                  <a:gd name="T81" fmla="*/ 603 h 773"/>
                  <a:gd name="T82" fmla="*/ 535 w 817"/>
                  <a:gd name="T83" fmla="*/ 635 h 773"/>
                  <a:gd name="T84" fmla="*/ 497 w 817"/>
                  <a:gd name="T85" fmla="*/ 613 h 773"/>
                  <a:gd name="T86" fmla="*/ 509 w 817"/>
                  <a:gd name="T87" fmla="*/ 567 h 773"/>
                  <a:gd name="T88" fmla="*/ 535 w 817"/>
                  <a:gd name="T89" fmla="*/ 543 h 773"/>
                  <a:gd name="T90" fmla="*/ 555 w 817"/>
                  <a:gd name="T91" fmla="*/ 515 h 773"/>
                  <a:gd name="T92" fmla="*/ 569 w 817"/>
                  <a:gd name="T93" fmla="*/ 473 h 773"/>
                  <a:gd name="T94" fmla="*/ 559 w 817"/>
                  <a:gd name="T95" fmla="*/ 421 h 773"/>
                  <a:gd name="T96" fmla="*/ 543 w 817"/>
                  <a:gd name="T97" fmla="*/ 367 h 773"/>
                  <a:gd name="T98" fmla="*/ 593 w 817"/>
                  <a:gd name="T99" fmla="*/ 387 h 773"/>
                  <a:gd name="T100" fmla="*/ 647 w 817"/>
                  <a:gd name="T101" fmla="*/ 413 h 773"/>
                  <a:gd name="T102" fmla="*/ 687 w 817"/>
                  <a:gd name="T103" fmla="*/ 447 h 773"/>
                  <a:gd name="T104" fmla="*/ 737 w 817"/>
                  <a:gd name="T105" fmla="*/ 453 h 773"/>
                  <a:gd name="T106" fmla="*/ 775 w 817"/>
                  <a:gd name="T107" fmla="*/ 475 h 773"/>
                  <a:gd name="T108" fmla="*/ 787 w 817"/>
                  <a:gd name="T109" fmla="*/ 433 h 773"/>
                  <a:gd name="T110" fmla="*/ 785 w 817"/>
                  <a:gd name="T111" fmla="*/ 385 h 773"/>
                  <a:gd name="T112" fmla="*/ 777 w 817"/>
                  <a:gd name="T113" fmla="*/ 347 h 773"/>
                  <a:gd name="T114" fmla="*/ 795 w 817"/>
                  <a:gd name="T115" fmla="*/ 319 h 773"/>
                  <a:gd name="T116" fmla="*/ 807 w 817"/>
                  <a:gd name="T117" fmla="*/ 273 h 773"/>
                  <a:gd name="T118" fmla="*/ 755 w 817"/>
                  <a:gd name="T119" fmla="*/ 277 h 773"/>
                  <a:gd name="T120" fmla="*/ 715 w 817"/>
                  <a:gd name="T121" fmla="*/ 241 h 773"/>
                  <a:gd name="T122" fmla="*/ 677 w 817"/>
                  <a:gd name="T123" fmla="*/ 183 h 773"/>
                  <a:gd name="T124" fmla="*/ 649 w 817"/>
                  <a:gd name="T125" fmla="*/ 119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17" h="773">
                    <a:moveTo>
                      <a:pt x="649" y="119"/>
                    </a:moveTo>
                    <a:lnTo>
                      <a:pt x="625" y="143"/>
                    </a:lnTo>
                    <a:lnTo>
                      <a:pt x="609" y="163"/>
                    </a:lnTo>
                    <a:lnTo>
                      <a:pt x="609" y="133"/>
                    </a:lnTo>
                    <a:lnTo>
                      <a:pt x="627" y="115"/>
                    </a:lnTo>
                    <a:lnTo>
                      <a:pt x="605" y="80"/>
                    </a:lnTo>
                    <a:lnTo>
                      <a:pt x="589" y="64"/>
                    </a:lnTo>
                    <a:lnTo>
                      <a:pt x="565" y="64"/>
                    </a:lnTo>
                    <a:lnTo>
                      <a:pt x="529" y="76"/>
                    </a:lnTo>
                    <a:lnTo>
                      <a:pt x="497" y="58"/>
                    </a:lnTo>
                    <a:lnTo>
                      <a:pt x="459" y="72"/>
                    </a:lnTo>
                    <a:lnTo>
                      <a:pt x="417" y="66"/>
                    </a:lnTo>
                    <a:lnTo>
                      <a:pt x="415" y="113"/>
                    </a:lnTo>
                    <a:lnTo>
                      <a:pt x="393" y="133"/>
                    </a:lnTo>
                    <a:lnTo>
                      <a:pt x="403" y="155"/>
                    </a:lnTo>
                    <a:lnTo>
                      <a:pt x="391" y="167"/>
                    </a:lnTo>
                    <a:lnTo>
                      <a:pt x="353" y="155"/>
                    </a:lnTo>
                    <a:lnTo>
                      <a:pt x="339" y="125"/>
                    </a:lnTo>
                    <a:lnTo>
                      <a:pt x="314" y="101"/>
                    </a:lnTo>
                    <a:lnTo>
                      <a:pt x="306" y="60"/>
                    </a:lnTo>
                    <a:lnTo>
                      <a:pt x="298" y="0"/>
                    </a:lnTo>
                    <a:lnTo>
                      <a:pt x="276" y="0"/>
                    </a:lnTo>
                    <a:lnTo>
                      <a:pt x="254" y="24"/>
                    </a:lnTo>
                    <a:lnTo>
                      <a:pt x="254" y="48"/>
                    </a:lnTo>
                    <a:lnTo>
                      <a:pt x="250" y="76"/>
                    </a:lnTo>
                    <a:lnTo>
                      <a:pt x="268" y="95"/>
                    </a:lnTo>
                    <a:lnTo>
                      <a:pt x="262" y="129"/>
                    </a:lnTo>
                    <a:lnTo>
                      <a:pt x="228" y="153"/>
                    </a:lnTo>
                    <a:lnTo>
                      <a:pt x="198" y="123"/>
                    </a:lnTo>
                    <a:lnTo>
                      <a:pt x="172" y="95"/>
                    </a:lnTo>
                    <a:lnTo>
                      <a:pt x="164" y="105"/>
                    </a:lnTo>
                    <a:lnTo>
                      <a:pt x="154" y="119"/>
                    </a:lnTo>
                    <a:lnTo>
                      <a:pt x="140" y="111"/>
                    </a:lnTo>
                    <a:lnTo>
                      <a:pt x="134" y="117"/>
                    </a:lnTo>
                    <a:lnTo>
                      <a:pt x="124" y="103"/>
                    </a:lnTo>
                    <a:lnTo>
                      <a:pt x="116" y="113"/>
                    </a:lnTo>
                    <a:lnTo>
                      <a:pt x="118" y="133"/>
                    </a:lnTo>
                    <a:lnTo>
                      <a:pt x="110" y="151"/>
                    </a:lnTo>
                    <a:lnTo>
                      <a:pt x="92" y="161"/>
                    </a:lnTo>
                    <a:lnTo>
                      <a:pt x="86" y="175"/>
                    </a:lnTo>
                    <a:lnTo>
                      <a:pt x="82" y="209"/>
                    </a:lnTo>
                    <a:lnTo>
                      <a:pt x="108" y="235"/>
                    </a:lnTo>
                    <a:lnTo>
                      <a:pt x="98" y="261"/>
                    </a:lnTo>
                    <a:lnTo>
                      <a:pt x="76" y="267"/>
                    </a:lnTo>
                    <a:lnTo>
                      <a:pt x="78" y="285"/>
                    </a:lnTo>
                    <a:lnTo>
                      <a:pt x="74" y="307"/>
                    </a:lnTo>
                    <a:lnTo>
                      <a:pt x="48" y="333"/>
                    </a:lnTo>
                    <a:lnTo>
                      <a:pt x="38" y="335"/>
                    </a:lnTo>
                    <a:lnTo>
                      <a:pt x="28" y="347"/>
                    </a:lnTo>
                    <a:lnTo>
                      <a:pt x="8" y="387"/>
                    </a:lnTo>
                    <a:lnTo>
                      <a:pt x="10" y="401"/>
                    </a:lnTo>
                    <a:lnTo>
                      <a:pt x="0" y="411"/>
                    </a:lnTo>
                    <a:lnTo>
                      <a:pt x="8" y="447"/>
                    </a:lnTo>
                    <a:lnTo>
                      <a:pt x="22" y="457"/>
                    </a:lnTo>
                    <a:lnTo>
                      <a:pt x="22" y="473"/>
                    </a:lnTo>
                    <a:lnTo>
                      <a:pt x="44" y="485"/>
                    </a:lnTo>
                    <a:lnTo>
                      <a:pt x="48" y="497"/>
                    </a:lnTo>
                    <a:lnTo>
                      <a:pt x="58" y="503"/>
                    </a:lnTo>
                    <a:lnTo>
                      <a:pt x="70" y="515"/>
                    </a:lnTo>
                    <a:lnTo>
                      <a:pt x="84" y="515"/>
                    </a:lnTo>
                    <a:lnTo>
                      <a:pt x="94" y="527"/>
                    </a:lnTo>
                    <a:lnTo>
                      <a:pt x="100" y="541"/>
                    </a:lnTo>
                    <a:lnTo>
                      <a:pt x="126" y="543"/>
                    </a:lnTo>
                    <a:lnTo>
                      <a:pt x="146" y="549"/>
                    </a:lnTo>
                    <a:lnTo>
                      <a:pt x="156" y="557"/>
                    </a:lnTo>
                    <a:lnTo>
                      <a:pt x="172" y="561"/>
                    </a:lnTo>
                    <a:lnTo>
                      <a:pt x="178" y="579"/>
                    </a:lnTo>
                    <a:lnTo>
                      <a:pt x="194" y="595"/>
                    </a:lnTo>
                    <a:lnTo>
                      <a:pt x="204" y="601"/>
                    </a:lnTo>
                    <a:lnTo>
                      <a:pt x="204" y="615"/>
                    </a:lnTo>
                    <a:lnTo>
                      <a:pt x="216" y="619"/>
                    </a:lnTo>
                    <a:lnTo>
                      <a:pt x="238" y="619"/>
                    </a:lnTo>
                    <a:lnTo>
                      <a:pt x="238" y="611"/>
                    </a:lnTo>
                    <a:lnTo>
                      <a:pt x="250" y="613"/>
                    </a:lnTo>
                    <a:lnTo>
                      <a:pt x="264" y="613"/>
                    </a:lnTo>
                    <a:lnTo>
                      <a:pt x="264" y="631"/>
                    </a:lnTo>
                    <a:lnTo>
                      <a:pt x="272" y="641"/>
                    </a:lnTo>
                    <a:lnTo>
                      <a:pt x="280" y="641"/>
                    </a:lnTo>
                    <a:lnTo>
                      <a:pt x="280" y="651"/>
                    </a:lnTo>
                    <a:lnTo>
                      <a:pt x="296" y="659"/>
                    </a:lnTo>
                    <a:lnTo>
                      <a:pt x="306" y="669"/>
                    </a:lnTo>
                    <a:lnTo>
                      <a:pt x="320" y="655"/>
                    </a:lnTo>
                    <a:lnTo>
                      <a:pt x="324" y="643"/>
                    </a:lnTo>
                    <a:lnTo>
                      <a:pt x="341" y="649"/>
                    </a:lnTo>
                    <a:lnTo>
                      <a:pt x="351" y="667"/>
                    </a:lnTo>
                    <a:lnTo>
                      <a:pt x="339" y="679"/>
                    </a:lnTo>
                    <a:lnTo>
                      <a:pt x="355" y="687"/>
                    </a:lnTo>
                    <a:lnTo>
                      <a:pt x="355" y="695"/>
                    </a:lnTo>
                    <a:lnTo>
                      <a:pt x="365" y="695"/>
                    </a:lnTo>
                    <a:lnTo>
                      <a:pt x="381" y="701"/>
                    </a:lnTo>
                    <a:lnTo>
                      <a:pt x="373" y="707"/>
                    </a:lnTo>
                    <a:lnTo>
                      <a:pt x="383" y="721"/>
                    </a:lnTo>
                    <a:lnTo>
                      <a:pt x="391" y="729"/>
                    </a:lnTo>
                    <a:lnTo>
                      <a:pt x="405" y="717"/>
                    </a:lnTo>
                    <a:lnTo>
                      <a:pt x="415" y="719"/>
                    </a:lnTo>
                    <a:lnTo>
                      <a:pt x="423" y="731"/>
                    </a:lnTo>
                    <a:lnTo>
                      <a:pt x="427" y="737"/>
                    </a:lnTo>
                    <a:lnTo>
                      <a:pt x="441" y="749"/>
                    </a:lnTo>
                    <a:lnTo>
                      <a:pt x="435" y="765"/>
                    </a:lnTo>
                    <a:lnTo>
                      <a:pt x="447" y="771"/>
                    </a:lnTo>
                    <a:lnTo>
                      <a:pt x="465" y="765"/>
                    </a:lnTo>
                    <a:lnTo>
                      <a:pt x="463" y="757"/>
                    </a:lnTo>
                    <a:lnTo>
                      <a:pt x="475" y="759"/>
                    </a:lnTo>
                    <a:lnTo>
                      <a:pt x="495" y="759"/>
                    </a:lnTo>
                    <a:lnTo>
                      <a:pt x="499" y="771"/>
                    </a:lnTo>
                    <a:lnTo>
                      <a:pt x="511" y="773"/>
                    </a:lnTo>
                    <a:lnTo>
                      <a:pt x="523" y="759"/>
                    </a:lnTo>
                    <a:lnTo>
                      <a:pt x="537" y="749"/>
                    </a:lnTo>
                    <a:lnTo>
                      <a:pt x="547" y="731"/>
                    </a:lnTo>
                    <a:lnTo>
                      <a:pt x="533" y="715"/>
                    </a:lnTo>
                    <a:lnTo>
                      <a:pt x="543" y="705"/>
                    </a:lnTo>
                    <a:lnTo>
                      <a:pt x="559" y="695"/>
                    </a:lnTo>
                    <a:lnTo>
                      <a:pt x="561" y="683"/>
                    </a:lnTo>
                    <a:lnTo>
                      <a:pt x="581" y="671"/>
                    </a:lnTo>
                    <a:lnTo>
                      <a:pt x="599" y="653"/>
                    </a:lnTo>
                    <a:lnTo>
                      <a:pt x="611" y="647"/>
                    </a:lnTo>
                    <a:lnTo>
                      <a:pt x="627" y="631"/>
                    </a:lnTo>
                    <a:lnTo>
                      <a:pt x="617" y="619"/>
                    </a:lnTo>
                    <a:lnTo>
                      <a:pt x="615" y="601"/>
                    </a:lnTo>
                    <a:lnTo>
                      <a:pt x="601" y="609"/>
                    </a:lnTo>
                    <a:lnTo>
                      <a:pt x="593" y="599"/>
                    </a:lnTo>
                    <a:lnTo>
                      <a:pt x="581" y="599"/>
                    </a:lnTo>
                    <a:lnTo>
                      <a:pt x="563" y="603"/>
                    </a:lnTo>
                    <a:lnTo>
                      <a:pt x="557" y="621"/>
                    </a:lnTo>
                    <a:lnTo>
                      <a:pt x="547" y="617"/>
                    </a:lnTo>
                    <a:lnTo>
                      <a:pt x="535" y="635"/>
                    </a:lnTo>
                    <a:lnTo>
                      <a:pt x="525" y="623"/>
                    </a:lnTo>
                    <a:lnTo>
                      <a:pt x="511" y="619"/>
                    </a:lnTo>
                    <a:lnTo>
                      <a:pt x="497" y="613"/>
                    </a:lnTo>
                    <a:lnTo>
                      <a:pt x="495" y="589"/>
                    </a:lnTo>
                    <a:lnTo>
                      <a:pt x="511" y="581"/>
                    </a:lnTo>
                    <a:lnTo>
                      <a:pt x="509" y="567"/>
                    </a:lnTo>
                    <a:lnTo>
                      <a:pt x="515" y="561"/>
                    </a:lnTo>
                    <a:lnTo>
                      <a:pt x="521" y="547"/>
                    </a:lnTo>
                    <a:lnTo>
                      <a:pt x="535" y="543"/>
                    </a:lnTo>
                    <a:lnTo>
                      <a:pt x="555" y="547"/>
                    </a:lnTo>
                    <a:lnTo>
                      <a:pt x="557" y="535"/>
                    </a:lnTo>
                    <a:lnTo>
                      <a:pt x="555" y="515"/>
                    </a:lnTo>
                    <a:lnTo>
                      <a:pt x="545" y="505"/>
                    </a:lnTo>
                    <a:lnTo>
                      <a:pt x="551" y="485"/>
                    </a:lnTo>
                    <a:lnTo>
                      <a:pt x="569" y="473"/>
                    </a:lnTo>
                    <a:lnTo>
                      <a:pt x="569" y="453"/>
                    </a:lnTo>
                    <a:lnTo>
                      <a:pt x="573" y="435"/>
                    </a:lnTo>
                    <a:lnTo>
                      <a:pt x="559" y="421"/>
                    </a:lnTo>
                    <a:lnTo>
                      <a:pt x="545" y="401"/>
                    </a:lnTo>
                    <a:lnTo>
                      <a:pt x="545" y="385"/>
                    </a:lnTo>
                    <a:lnTo>
                      <a:pt x="543" y="367"/>
                    </a:lnTo>
                    <a:lnTo>
                      <a:pt x="559" y="367"/>
                    </a:lnTo>
                    <a:lnTo>
                      <a:pt x="577" y="381"/>
                    </a:lnTo>
                    <a:lnTo>
                      <a:pt x="593" y="387"/>
                    </a:lnTo>
                    <a:lnTo>
                      <a:pt x="605" y="397"/>
                    </a:lnTo>
                    <a:lnTo>
                      <a:pt x="627" y="403"/>
                    </a:lnTo>
                    <a:lnTo>
                      <a:pt x="647" y="413"/>
                    </a:lnTo>
                    <a:lnTo>
                      <a:pt x="669" y="435"/>
                    </a:lnTo>
                    <a:lnTo>
                      <a:pt x="673" y="455"/>
                    </a:lnTo>
                    <a:lnTo>
                      <a:pt x="687" y="447"/>
                    </a:lnTo>
                    <a:lnTo>
                      <a:pt x="705" y="441"/>
                    </a:lnTo>
                    <a:lnTo>
                      <a:pt x="719" y="449"/>
                    </a:lnTo>
                    <a:lnTo>
                      <a:pt x="737" y="453"/>
                    </a:lnTo>
                    <a:lnTo>
                      <a:pt x="753" y="467"/>
                    </a:lnTo>
                    <a:lnTo>
                      <a:pt x="765" y="467"/>
                    </a:lnTo>
                    <a:lnTo>
                      <a:pt x="775" y="475"/>
                    </a:lnTo>
                    <a:lnTo>
                      <a:pt x="785" y="463"/>
                    </a:lnTo>
                    <a:lnTo>
                      <a:pt x="797" y="443"/>
                    </a:lnTo>
                    <a:lnTo>
                      <a:pt x="787" y="433"/>
                    </a:lnTo>
                    <a:lnTo>
                      <a:pt x="783" y="415"/>
                    </a:lnTo>
                    <a:lnTo>
                      <a:pt x="793" y="397"/>
                    </a:lnTo>
                    <a:lnTo>
                      <a:pt x="785" y="385"/>
                    </a:lnTo>
                    <a:lnTo>
                      <a:pt x="771" y="369"/>
                    </a:lnTo>
                    <a:lnTo>
                      <a:pt x="765" y="357"/>
                    </a:lnTo>
                    <a:lnTo>
                      <a:pt x="777" y="347"/>
                    </a:lnTo>
                    <a:lnTo>
                      <a:pt x="787" y="337"/>
                    </a:lnTo>
                    <a:lnTo>
                      <a:pt x="787" y="327"/>
                    </a:lnTo>
                    <a:lnTo>
                      <a:pt x="795" y="319"/>
                    </a:lnTo>
                    <a:lnTo>
                      <a:pt x="803" y="297"/>
                    </a:lnTo>
                    <a:lnTo>
                      <a:pt x="817" y="283"/>
                    </a:lnTo>
                    <a:lnTo>
                      <a:pt x="807" y="273"/>
                    </a:lnTo>
                    <a:lnTo>
                      <a:pt x="781" y="261"/>
                    </a:lnTo>
                    <a:lnTo>
                      <a:pt x="779" y="269"/>
                    </a:lnTo>
                    <a:lnTo>
                      <a:pt x="755" y="277"/>
                    </a:lnTo>
                    <a:lnTo>
                      <a:pt x="743" y="271"/>
                    </a:lnTo>
                    <a:lnTo>
                      <a:pt x="727" y="253"/>
                    </a:lnTo>
                    <a:lnTo>
                      <a:pt x="715" y="241"/>
                    </a:lnTo>
                    <a:lnTo>
                      <a:pt x="709" y="219"/>
                    </a:lnTo>
                    <a:lnTo>
                      <a:pt x="689" y="197"/>
                    </a:lnTo>
                    <a:lnTo>
                      <a:pt x="677" y="183"/>
                    </a:lnTo>
                    <a:lnTo>
                      <a:pt x="669" y="155"/>
                    </a:lnTo>
                    <a:lnTo>
                      <a:pt x="659" y="133"/>
                    </a:lnTo>
                    <a:lnTo>
                      <a:pt x="649" y="119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5" name="Freeform 190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 rot="698053">
                <a:off x="8538552" y="3701924"/>
                <a:ext cx="532547" cy="561993"/>
              </a:xfrm>
              <a:custGeom>
                <a:avLst/>
                <a:gdLst>
                  <a:gd name="T0" fmla="*/ 4 w 348"/>
                  <a:gd name="T1" fmla="*/ 18 h 380"/>
                  <a:gd name="T2" fmla="*/ 0 w 348"/>
                  <a:gd name="T3" fmla="*/ 0 h 380"/>
                  <a:gd name="T4" fmla="*/ 23 w 348"/>
                  <a:gd name="T5" fmla="*/ 7 h 380"/>
                  <a:gd name="T6" fmla="*/ 35 w 348"/>
                  <a:gd name="T7" fmla="*/ 24 h 380"/>
                  <a:gd name="T8" fmla="*/ 53 w 348"/>
                  <a:gd name="T9" fmla="*/ 37 h 380"/>
                  <a:gd name="T10" fmla="*/ 77 w 348"/>
                  <a:gd name="T11" fmla="*/ 47 h 380"/>
                  <a:gd name="T12" fmla="*/ 90 w 348"/>
                  <a:gd name="T13" fmla="*/ 72 h 380"/>
                  <a:gd name="T14" fmla="*/ 116 w 348"/>
                  <a:gd name="T15" fmla="*/ 99 h 380"/>
                  <a:gd name="T16" fmla="*/ 142 w 348"/>
                  <a:gd name="T17" fmla="*/ 107 h 380"/>
                  <a:gd name="T18" fmla="*/ 176 w 348"/>
                  <a:gd name="T19" fmla="*/ 131 h 380"/>
                  <a:gd name="T20" fmla="*/ 206 w 348"/>
                  <a:gd name="T21" fmla="*/ 151 h 380"/>
                  <a:gd name="T22" fmla="*/ 229 w 348"/>
                  <a:gd name="T23" fmla="*/ 167 h 380"/>
                  <a:gd name="T24" fmla="*/ 243 w 348"/>
                  <a:gd name="T25" fmla="*/ 181 h 380"/>
                  <a:gd name="T26" fmla="*/ 226 w 348"/>
                  <a:gd name="T27" fmla="*/ 190 h 380"/>
                  <a:gd name="T28" fmla="*/ 220 w 348"/>
                  <a:gd name="T29" fmla="*/ 202 h 380"/>
                  <a:gd name="T30" fmla="*/ 218 w 348"/>
                  <a:gd name="T31" fmla="*/ 218 h 380"/>
                  <a:gd name="T32" fmla="*/ 235 w 348"/>
                  <a:gd name="T33" fmla="*/ 245 h 380"/>
                  <a:gd name="T34" fmla="*/ 243 w 348"/>
                  <a:gd name="T35" fmla="*/ 270 h 380"/>
                  <a:gd name="T36" fmla="*/ 264 w 348"/>
                  <a:gd name="T37" fmla="*/ 288 h 380"/>
                  <a:gd name="T38" fmla="*/ 288 w 348"/>
                  <a:gd name="T39" fmla="*/ 297 h 380"/>
                  <a:gd name="T40" fmla="*/ 303 w 348"/>
                  <a:gd name="T41" fmla="*/ 308 h 380"/>
                  <a:gd name="T42" fmla="*/ 324 w 348"/>
                  <a:gd name="T43" fmla="*/ 300 h 380"/>
                  <a:gd name="T44" fmla="*/ 345 w 348"/>
                  <a:gd name="T45" fmla="*/ 319 h 380"/>
                  <a:gd name="T46" fmla="*/ 327 w 348"/>
                  <a:gd name="T47" fmla="*/ 318 h 380"/>
                  <a:gd name="T48" fmla="*/ 305 w 348"/>
                  <a:gd name="T49" fmla="*/ 325 h 380"/>
                  <a:gd name="T50" fmla="*/ 304 w 348"/>
                  <a:gd name="T51" fmla="*/ 348 h 380"/>
                  <a:gd name="T52" fmla="*/ 320 w 348"/>
                  <a:gd name="T53" fmla="*/ 372 h 380"/>
                  <a:gd name="T54" fmla="*/ 303 w 348"/>
                  <a:gd name="T55" fmla="*/ 371 h 380"/>
                  <a:gd name="T56" fmla="*/ 276 w 348"/>
                  <a:gd name="T57" fmla="*/ 345 h 380"/>
                  <a:gd name="T58" fmla="*/ 264 w 348"/>
                  <a:gd name="T59" fmla="*/ 322 h 380"/>
                  <a:gd name="T60" fmla="*/ 246 w 348"/>
                  <a:gd name="T61" fmla="*/ 301 h 380"/>
                  <a:gd name="T62" fmla="*/ 225 w 348"/>
                  <a:gd name="T63" fmla="*/ 272 h 380"/>
                  <a:gd name="T64" fmla="*/ 202 w 348"/>
                  <a:gd name="T65" fmla="*/ 262 h 380"/>
                  <a:gd name="T66" fmla="*/ 170 w 348"/>
                  <a:gd name="T67" fmla="*/ 212 h 380"/>
                  <a:gd name="T68" fmla="*/ 139 w 348"/>
                  <a:gd name="T69" fmla="*/ 180 h 380"/>
                  <a:gd name="T70" fmla="*/ 118 w 348"/>
                  <a:gd name="T71" fmla="*/ 150 h 380"/>
                  <a:gd name="T72" fmla="*/ 79 w 348"/>
                  <a:gd name="T73" fmla="*/ 132 h 380"/>
                  <a:gd name="T74" fmla="*/ 54 w 348"/>
                  <a:gd name="T75" fmla="*/ 112 h 380"/>
                  <a:gd name="T76" fmla="*/ 39 w 348"/>
                  <a:gd name="T77" fmla="*/ 88 h 380"/>
                  <a:gd name="T78" fmla="*/ 15 w 348"/>
                  <a:gd name="T79" fmla="*/ 68 h 380"/>
                  <a:gd name="T80" fmla="*/ 19 w 348"/>
                  <a:gd name="T81" fmla="*/ 48 h 380"/>
                  <a:gd name="T82" fmla="*/ 35 w 348"/>
                  <a:gd name="T83" fmla="*/ 41 h 380"/>
                  <a:gd name="T84" fmla="*/ 27 w 348"/>
                  <a:gd name="T85" fmla="*/ 28 h 380"/>
                  <a:gd name="T86" fmla="*/ 8 w 348"/>
                  <a:gd name="T87" fmla="*/ 17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48" h="380">
                    <a:moveTo>
                      <a:pt x="8" y="17"/>
                    </a:moveTo>
                    <a:cubicBezTo>
                      <a:pt x="4" y="18"/>
                      <a:pt x="4" y="18"/>
                      <a:pt x="4" y="1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49" y="27"/>
                      <a:pt x="49" y="27"/>
                      <a:pt x="49" y="27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77" y="47"/>
                      <a:pt x="77" y="47"/>
                      <a:pt x="77" y="47"/>
                    </a:cubicBezTo>
                    <a:cubicBezTo>
                      <a:pt x="84" y="57"/>
                      <a:pt x="84" y="57"/>
                      <a:pt x="84" y="57"/>
                    </a:cubicBezTo>
                    <a:cubicBezTo>
                      <a:pt x="90" y="72"/>
                      <a:pt x="90" y="72"/>
                      <a:pt x="90" y="72"/>
                    </a:cubicBezTo>
                    <a:cubicBezTo>
                      <a:pt x="99" y="81"/>
                      <a:pt x="99" y="81"/>
                      <a:pt x="99" y="81"/>
                    </a:cubicBezTo>
                    <a:cubicBezTo>
                      <a:pt x="116" y="99"/>
                      <a:pt x="116" y="99"/>
                      <a:pt x="116" y="99"/>
                    </a:cubicBezTo>
                    <a:cubicBezTo>
                      <a:pt x="127" y="102"/>
                      <a:pt x="127" y="102"/>
                      <a:pt x="127" y="102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57" y="120"/>
                      <a:pt x="157" y="120"/>
                      <a:pt x="157" y="120"/>
                    </a:cubicBezTo>
                    <a:cubicBezTo>
                      <a:pt x="176" y="131"/>
                      <a:pt x="176" y="131"/>
                      <a:pt x="176" y="131"/>
                    </a:cubicBezTo>
                    <a:cubicBezTo>
                      <a:pt x="189" y="142"/>
                      <a:pt x="189" y="142"/>
                      <a:pt x="189" y="142"/>
                    </a:cubicBezTo>
                    <a:cubicBezTo>
                      <a:pt x="206" y="151"/>
                      <a:pt x="206" y="151"/>
                      <a:pt x="206" y="151"/>
                    </a:cubicBezTo>
                    <a:cubicBezTo>
                      <a:pt x="220" y="159"/>
                      <a:pt x="220" y="159"/>
                      <a:pt x="220" y="159"/>
                    </a:cubicBezTo>
                    <a:cubicBezTo>
                      <a:pt x="229" y="167"/>
                      <a:pt x="229" y="167"/>
                      <a:pt x="229" y="167"/>
                    </a:cubicBezTo>
                    <a:cubicBezTo>
                      <a:pt x="245" y="173"/>
                      <a:pt x="245" y="173"/>
                      <a:pt x="245" y="173"/>
                    </a:cubicBezTo>
                    <a:cubicBezTo>
                      <a:pt x="243" y="181"/>
                      <a:pt x="243" y="181"/>
                      <a:pt x="243" y="181"/>
                    </a:cubicBezTo>
                    <a:cubicBezTo>
                      <a:pt x="237" y="187"/>
                      <a:pt x="237" y="187"/>
                      <a:pt x="237" y="187"/>
                    </a:cubicBezTo>
                    <a:cubicBezTo>
                      <a:pt x="226" y="190"/>
                      <a:pt x="226" y="190"/>
                      <a:pt x="226" y="190"/>
                    </a:cubicBezTo>
                    <a:cubicBezTo>
                      <a:pt x="218" y="190"/>
                      <a:pt x="218" y="190"/>
                      <a:pt x="218" y="190"/>
                    </a:cubicBezTo>
                    <a:cubicBezTo>
                      <a:pt x="220" y="202"/>
                      <a:pt x="220" y="202"/>
                      <a:pt x="220" y="202"/>
                    </a:cubicBezTo>
                    <a:cubicBezTo>
                      <a:pt x="218" y="211"/>
                      <a:pt x="218" y="211"/>
                      <a:pt x="218" y="211"/>
                    </a:cubicBezTo>
                    <a:cubicBezTo>
                      <a:pt x="218" y="218"/>
                      <a:pt x="218" y="218"/>
                      <a:pt x="218" y="218"/>
                    </a:cubicBezTo>
                    <a:cubicBezTo>
                      <a:pt x="227" y="233"/>
                      <a:pt x="227" y="233"/>
                      <a:pt x="227" y="233"/>
                    </a:cubicBezTo>
                    <a:cubicBezTo>
                      <a:pt x="227" y="233"/>
                      <a:pt x="237" y="243"/>
                      <a:pt x="235" y="245"/>
                    </a:cubicBezTo>
                    <a:cubicBezTo>
                      <a:pt x="233" y="246"/>
                      <a:pt x="236" y="263"/>
                      <a:pt x="236" y="263"/>
                    </a:cubicBezTo>
                    <a:cubicBezTo>
                      <a:pt x="243" y="270"/>
                      <a:pt x="243" y="270"/>
                      <a:pt x="243" y="270"/>
                    </a:cubicBezTo>
                    <a:cubicBezTo>
                      <a:pt x="255" y="282"/>
                      <a:pt x="255" y="282"/>
                      <a:pt x="255" y="282"/>
                    </a:cubicBezTo>
                    <a:cubicBezTo>
                      <a:pt x="264" y="288"/>
                      <a:pt x="264" y="288"/>
                      <a:pt x="264" y="288"/>
                    </a:cubicBezTo>
                    <a:cubicBezTo>
                      <a:pt x="279" y="288"/>
                      <a:pt x="279" y="288"/>
                      <a:pt x="279" y="288"/>
                    </a:cubicBezTo>
                    <a:cubicBezTo>
                      <a:pt x="288" y="297"/>
                      <a:pt x="288" y="297"/>
                      <a:pt x="288" y="297"/>
                    </a:cubicBezTo>
                    <a:cubicBezTo>
                      <a:pt x="298" y="297"/>
                      <a:pt x="298" y="297"/>
                      <a:pt x="298" y="297"/>
                    </a:cubicBezTo>
                    <a:cubicBezTo>
                      <a:pt x="303" y="308"/>
                      <a:pt x="303" y="308"/>
                      <a:pt x="303" y="308"/>
                    </a:cubicBezTo>
                    <a:cubicBezTo>
                      <a:pt x="316" y="308"/>
                      <a:pt x="316" y="308"/>
                      <a:pt x="316" y="308"/>
                    </a:cubicBezTo>
                    <a:cubicBezTo>
                      <a:pt x="324" y="300"/>
                      <a:pt x="324" y="300"/>
                      <a:pt x="324" y="300"/>
                    </a:cubicBezTo>
                    <a:cubicBezTo>
                      <a:pt x="337" y="308"/>
                      <a:pt x="337" y="308"/>
                      <a:pt x="337" y="308"/>
                    </a:cubicBezTo>
                    <a:cubicBezTo>
                      <a:pt x="345" y="319"/>
                      <a:pt x="345" y="319"/>
                      <a:pt x="345" y="319"/>
                    </a:cubicBezTo>
                    <a:cubicBezTo>
                      <a:pt x="345" y="319"/>
                      <a:pt x="348" y="326"/>
                      <a:pt x="345" y="326"/>
                    </a:cubicBezTo>
                    <a:cubicBezTo>
                      <a:pt x="342" y="326"/>
                      <a:pt x="327" y="318"/>
                      <a:pt x="327" y="318"/>
                    </a:cubicBezTo>
                    <a:cubicBezTo>
                      <a:pt x="320" y="325"/>
                      <a:pt x="320" y="325"/>
                      <a:pt x="320" y="325"/>
                    </a:cubicBezTo>
                    <a:cubicBezTo>
                      <a:pt x="305" y="325"/>
                      <a:pt x="305" y="325"/>
                      <a:pt x="305" y="325"/>
                    </a:cubicBezTo>
                    <a:cubicBezTo>
                      <a:pt x="301" y="336"/>
                      <a:pt x="301" y="336"/>
                      <a:pt x="301" y="336"/>
                    </a:cubicBezTo>
                    <a:cubicBezTo>
                      <a:pt x="304" y="348"/>
                      <a:pt x="304" y="348"/>
                      <a:pt x="304" y="348"/>
                    </a:cubicBezTo>
                    <a:cubicBezTo>
                      <a:pt x="313" y="357"/>
                      <a:pt x="313" y="357"/>
                      <a:pt x="313" y="357"/>
                    </a:cubicBezTo>
                    <a:cubicBezTo>
                      <a:pt x="320" y="372"/>
                      <a:pt x="320" y="372"/>
                      <a:pt x="320" y="372"/>
                    </a:cubicBezTo>
                    <a:cubicBezTo>
                      <a:pt x="311" y="380"/>
                      <a:pt x="311" y="380"/>
                      <a:pt x="311" y="380"/>
                    </a:cubicBezTo>
                    <a:cubicBezTo>
                      <a:pt x="303" y="371"/>
                      <a:pt x="303" y="371"/>
                      <a:pt x="303" y="371"/>
                    </a:cubicBezTo>
                    <a:cubicBezTo>
                      <a:pt x="293" y="361"/>
                      <a:pt x="293" y="361"/>
                      <a:pt x="293" y="361"/>
                    </a:cubicBezTo>
                    <a:cubicBezTo>
                      <a:pt x="276" y="345"/>
                      <a:pt x="276" y="345"/>
                      <a:pt x="276" y="345"/>
                    </a:cubicBezTo>
                    <a:cubicBezTo>
                      <a:pt x="276" y="334"/>
                      <a:pt x="276" y="334"/>
                      <a:pt x="276" y="334"/>
                    </a:cubicBezTo>
                    <a:cubicBezTo>
                      <a:pt x="264" y="322"/>
                      <a:pt x="264" y="322"/>
                      <a:pt x="264" y="322"/>
                    </a:cubicBezTo>
                    <a:cubicBezTo>
                      <a:pt x="253" y="311"/>
                      <a:pt x="253" y="311"/>
                      <a:pt x="253" y="311"/>
                    </a:cubicBezTo>
                    <a:cubicBezTo>
                      <a:pt x="246" y="301"/>
                      <a:pt x="246" y="301"/>
                      <a:pt x="246" y="301"/>
                    </a:cubicBezTo>
                    <a:cubicBezTo>
                      <a:pt x="237" y="283"/>
                      <a:pt x="237" y="283"/>
                      <a:pt x="237" y="283"/>
                    </a:cubicBezTo>
                    <a:cubicBezTo>
                      <a:pt x="225" y="272"/>
                      <a:pt x="225" y="272"/>
                      <a:pt x="225" y="272"/>
                    </a:cubicBezTo>
                    <a:cubicBezTo>
                      <a:pt x="213" y="266"/>
                      <a:pt x="213" y="266"/>
                      <a:pt x="213" y="266"/>
                    </a:cubicBezTo>
                    <a:cubicBezTo>
                      <a:pt x="202" y="262"/>
                      <a:pt x="202" y="262"/>
                      <a:pt x="202" y="262"/>
                    </a:cubicBezTo>
                    <a:cubicBezTo>
                      <a:pt x="192" y="241"/>
                      <a:pt x="192" y="241"/>
                      <a:pt x="192" y="241"/>
                    </a:cubicBezTo>
                    <a:cubicBezTo>
                      <a:pt x="170" y="212"/>
                      <a:pt x="170" y="212"/>
                      <a:pt x="170" y="212"/>
                    </a:cubicBezTo>
                    <a:cubicBezTo>
                      <a:pt x="153" y="195"/>
                      <a:pt x="153" y="195"/>
                      <a:pt x="153" y="195"/>
                    </a:cubicBezTo>
                    <a:cubicBezTo>
                      <a:pt x="139" y="180"/>
                      <a:pt x="139" y="180"/>
                      <a:pt x="139" y="180"/>
                    </a:cubicBezTo>
                    <a:cubicBezTo>
                      <a:pt x="126" y="163"/>
                      <a:pt x="126" y="163"/>
                      <a:pt x="126" y="163"/>
                    </a:cubicBezTo>
                    <a:cubicBezTo>
                      <a:pt x="118" y="150"/>
                      <a:pt x="118" y="150"/>
                      <a:pt x="118" y="150"/>
                    </a:cubicBezTo>
                    <a:cubicBezTo>
                      <a:pt x="96" y="140"/>
                      <a:pt x="96" y="140"/>
                      <a:pt x="96" y="140"/>
                    </a:cubicBezTo>
                    <a:cubicBezTo>
                      <a:pt x="79" y="132"/>
                      <a:pt x="79" y="132"/>
                      <a:pt x="79" y="132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54" y="112"/>
                      <a:pt x="54" y="112"/>
                      <a:pt x="54" y="112"/>
                    </a:cubicBezTo>
                    <a:cubicBezTo>
                      <a:pt x="54" y="103"/>
                      <a:pt x="54" y="103"/>
                      <a:pt x="54" y="103"/>
                    </a:cubicBezTo>
                    <a:cubicBezTo>
                      <a:pt x="39" y="88"/>
                      <a:pt x="39" y="88"/>
                      <a:pt x="39" y="88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15" y="68"/>
                      <a:pt x="15" y="68"/>
                      <a:pt x="15" y="68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33" y="52"/>
                      <a:pt x="33" y="52"/>
                      <a:pt x="33" y="52"/>
                    </a:cubicBezTo>
                    <a:cubicBezTo>
                      <a:pt x="35" y="41"/>
                      <a:pt x="35" y="41"/>
                      <a:pt x="35" y="41"/>
                    </a:cubicBezTo>
                    <a:cubicBezTo>
                      <a:pt x="27" y="33"/>
                      <a:pt x="27" y="33"/>
                      <a:pt x="27" y="33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19" y="21"/>
                      <a:pt x="19" y="21"/>
                      <a:pt x="19" y="21"/>
                    </a:cubicBezTo>
                    <a:lnTo>
                      <a:pt x="8" y="17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6" name="Freeform 191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 rot="698053">
                <a:off x="8611812" y="2186416"/>
                <a:ext cx="861090" cy="1184774"/>
              </a:xfrm>
              <a:custGeom>
                <a:avLst/>
                <a:gdLst>
                  <a:gd name="T0" fmla="*/ 357 w 563"/>
                  <a:gd name="T1" fmla="*/ 699 h 800"/>
                  <a:gd name="T2" fmla="*/ 418 w 563"/>
                  <a:gd name="T3" fmla="*/ 729 h 800"/>
                  <a:gd name="T4" fmla="*/ 501 w 563"/>
                  <a:gd name="T5" fmla="*/ 774 h 800"/>
                  <a:gd name="T6" fmla="*/ 556 w 563"/>
                  <a:gd name="T7" fmla="*/ 790 h 800"/>
                  <a:gd name="T8" fmla="*/ 553 w 563"/>
                  <a:gd name="T9" fmla="*/ 741 h 800"/>
                  <a:gd name="T10" fmla="*/ 509 w 563"/>
                  <a:gd name="T11" fmla="*/ 685 h 800"/>
                  <a:gd name="T12" fmla="*/ 522 w 563"/>
                  <a:gd name="T13" fmla="*/ 635 h 800"/>
                  <a:gd name="T14" fmla="*/ 486 w 563"/>
                  <a:gd name="T15" fmla="*/ 613 h 800"/>
                  <a:gd name="T16" fmla="*/ 486 w 563"/>
                  <a:gd name="T17" fmla="*/ 543 h 800"/>
                  <a:gd name="T18" fmla="*/ 453 w 563"/>
                  <a:gd name="T19" fmla="*/ 518 h 800"/>
                  <a:gd name="T20" fmla="*/ 413 w 563"/>
                  <a:gd name="T21" fmla="*/ 466 h 800"/>
                  <a:gd name="T22" fmla="*/ 408 w 563"/>
                  <a:gd name="T23" fmla="*/ 436 h 800"/>
                  <a:gd name="T24" fmla="*/ 363 w 563"/>
                  <a:gd name="T25" fmla="*/ 412 h 800"/>
                  <a:gd name="T26" fmla="*/ 335 w 563"/>
                  <a:gd name="T27" fmla="*/ 417 h 800"/>
                  <a:gd name="T28" fmla="*/ 292 w 563"/>
                  <a:gd name="T29" fmla="*/ 407 h 800"/>
                  <a:gd name="T30" fmla="*/ 265 w 563"/>
                  <a:gd name="T31" fmla="*/ 352 h 800"/>
                  <a:gd name="T32" fmla="*/ 254 w 563"/>
                  <a:gd name="T33" fmla="*/ 303 h 800"/>
                  <a:gd name="T34" fmla="*/ 262 w 563"/>
                  <a:gd name="T35" fmla="*/ 272 h 800"/>
                  <a:gd name="T36" fmla="*/ 285 w 563"/>
                  <a:gd name="T37" fmla="*/ 267 h 800"/>
                  <a:gd name="T38" fmla="*/ 279 w 563"/>
                  <a:gd name="T39" fmla="*/ 211 h 800"/>
                  <a:gd name="T40" fmla="*/ 311 w 563"/>
                  <a:gd name="T41" fmla="*/ 158 h 800"/>
                  <a:gd name="T42" fmla="*/ 316 w 563"/>
                  <a:gd name="T43" fmla="*/ 134 h 800"/>
                  <a:gd name="T44" fmla="*/ 290 w 563"/>
                  <a:gd name="T45" fmla="*/ 56 h 800"/>
                  <a:gd name="T46" fmla="*/ 268 w 563"/>
                  <a:gd name="T47" fmla="*/ 10 h 800"/>
                  <a:gd name="T48" fmla="*/ 236 w 563"/>
                  <a:gd name="T49" fmla="*/ 23 h 800"/>
                  <a:gd name="T50" fmla="*/ 220 w 563"/>
                  <a:gd name="T51" fmla="*/ 85 h 800"/>
                  <a:gd name="T52" fmla="*/ 184 w 563"/>
                  <a:gd name="T53" fmla="*/ 102 h 800"/>
                  <a:gd name="T54" fmla="*/ 145 w 563"/>
                  <a:gd name="T55" fmla="*/ 119 h 800"/>
                  <a:gd name="T56" fmla="*/ 124 w 563"/>
                  <a:gd name="T57" fmla="*/ 81 h 800"/>
                  <a:gd name="T58" fmla="*/ 80 w 563"/>
                  <a:gd name="T59" fmla="*/ 95 h 800"/>
                  <a:gd name="T60" fmla="*/ 55 w 563"/>
                  <a:gd name="T61" fmla="*/ 115 h 800"/>
                  <a:gd name="T62" fmla="*/ 32 w 563"/>
                  <a:gd name="T63" fmla="*/ 145 h 800"/>
                  <a:gd name="T64" fmla="*/ 6 w 563"/>
                  <a:gd name="T65" fmla="*/ 173 h 800"/>
                  <a:gd name="T66" fmla="*/ 22 w 563"/>
                  <a:gd name="T67" fmla="*/ 204 h 800"/>
                  <a:gd name="T68" fmla="*/ 40 w 563"/>
                  <a:gd name="T69" fmla="*/ 231 h 800"/>
                  <a:gd name="T70" fmla="*/ 74 w 563"/>
                  <a:gd name="T71" fmla="*/ 255 h 800"/>
                  <a:gd name="T72" fmla="*/ 104 w 563"/>
                  <a:gd name="T73" fmla="*/ 269 h 800"/>
                  <a:gd name="T74" fmla="*/ 115 w 563"/>
                  <a:gd name="T75" fmla="*/ 298 h 800"/>
                  <a:gd name="T76" fmla="*/ 130 w 563"/>
                  <a:gd name="T77" fmla="*/ 305 h 800"/>
                  <a:gd name="T78" fmla="*/ 157 w 563"/>
                  <a:gd name="T79" fmla="*/ 289 h 800"/>
                  <a:gd name="T80" fmla="*/ 113 w 563"/>
                  <a:gd name="T81" fmla="*/ 259 h 800"/>
                  <a:gd name="T82" fmla="*/ 142 w 563"/>
                  <a:gd name="T83" fmla="*/ 216 h 800"/>
                  <a:gd name="T84" fmla="*/ 148 w 563"/>
                  <a:gd name="T85" fmla="*/ 257 h 800"/>
                  <a:gd name="T86" fmla="*/ 182 w 563"/>
                  <a:gd name="T87" fmla="*/ 279 h 800"/>
                  <a:gd name="T88" fmla="*/ 198 w 563"/>
                  <a:gd name="T89" fmla="*/ 325 h 800"/>
                  <a:gd name="T90" fmla="*/ 210 w 563"/>
                  <a:gd name="T91" fmla="*/ 385 h 800"/>
                  <a:gd name="T92" fmla="*/ 241 w 563"/>
                  <a:gd name="T93" fmla="*/ 461 h 800"/>
                  <a:gd name="T94" fmla="*/ 254 w 563"/>
                  <a:gd name="T95" fmla="*/ 532 h 800"/>
                  <a:gd name="T96" fmla="*/ 244 w 563"/>
                  <a:gd name="T97" fmla="*/ 565 h 800"/>
                  <a:gd name="T98" fmla="*/ 270 w 563"/>
                  <a:gd name="T99" fmla="*/ 605 h 800"/>
                  <a:gd name="T100" fmla="*/ 312 w 563"/>
                  <a:gd name="T101" fmla="*/ 661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3" h="800">
                    <a:moveTo>
                      <a:pt x="312" y="661"/>
                    </a:moveTo>
                    <a:cubicBezTo>
                      <a:pt x="312" y="661"/>
                      <a:pt x="317" y="674"/>
                      <a:pt x="320" y="677"/>
                    </a:cubicBezTo>
                    <a:cubicBezTo>
                      <a:pt x="338" y="689"/>
                      <a:pt x="338" y="689"/>
                      <a:pt x="338" y="689"/>
                    </a:cubicBezTo>
                    <a:cubicBezTo>
                      <a:pt x="357" y="699"/>
                      <a:pt x="357" y="699"/>
                      <a:pt x="357" y="699"/>
                    </a:cubicBezTo>
                    <a:cubicBezTo>
                      <a:pt x="386" y="708"/>
                      <a:pt x="386" y="708"/>
                      <a:pt x="386" y="708"/>
                    </a:cubicBezTo>
                    <a:cubicBezTo>
                      <a:pt x="399" y="711"/>
                      <a:pt x="399" y="711"/>
                      <a:pt x="399" y="711"/>
                    </a:cubicBezTo>
                    <a:cubicBezTo>
                      <a:pt x="411" y="719"/>
                      <a:pt x="411" y="719"/>
                      <a:pt x="411" y="719"/>
                    </a:cubicBezTo>
                    <a:cubicBezTo>
                      <a:pt x="418" y="729"/>
                      <a:pt x="418" y="729"/>
                      <a:pt x="418" y="729"/>
                    </a:cubicBezTo>
                    <a:cubicBezTo>
                      <a:pt x="444" y="742"/>
                      <a:pt x="444" y="742"/>
                      <a:pt x="444" y="742"/>
                    </a:cubicBezTo>
                    <a:cubicBezTo>
                      <a:pt x="466" y="751"/>
                      <a:pt x="466" y="751"/>
                      <a:pt x="466" y="751"/>
                    </a:cubicBezTo>
                    <a:cubicBezTo>
                      <a:pt x="489" y="762"/>
                      <a:pt x="489" y="762"/>
                      <a:pt x="489" y="762"/>
                    </a:cubicBezTo>
                    <a:cubicBezTo>
                      <a:pt x="501" y="774"/>
                      <a:pt x="501" y="774"/>
                      <a:pt x="501" y="774"/>
                    </a:cubicBezTo>
                    <a:cubicBezTo>
                      <a:pt x="514" y="774"/>
                      <a:pt x="514" y="774"/>
                      <a:pt x="514" y="774"/>
                    </a:cubicBezTo>
                    <a:cubicBezTo>
                      <a:pt x="524" y="784"/>
                      <a:pt x="524" y="784"/>
                      <a:pt x="524" y="784"/>
                    </a:cubicBezTo>
                    <a:cubicBezTo>
                      <a:pt x="536" y="790"/>
                      <a:pt x="536" y="790"/>
                      <a:pt x="536" y="790"/>
                    </a:cubicBezTo>
                    <a:cubicBezTo>
                      <a:pt x="556" y="790"/>
                      <a:pt x="556" y="790"/>
                      <a:pt x="556" y="790"/>
                    </a:cubicBezTo>
                    <a:cubicBezTo>
                      <a:pt x="563" y="800"/>
                      <a:pt x="563" y="800"/>
                      <a:pt x="563" y="800"/>
                    </a:cubicBezTo>
                    <a:cubicBezTo>
                      <a:pt x="563" y="787"/>
                      <a:pt x="563" y="787"/>
                      <a:pt x="563" y="787"/>
                    </a:cubicBezTo>
                    <a:cubicBezTo>
                      <a:pt x="560" y="769"/>
                      <a:pt x="560" y="769"/>
                      <a:pt x="560" y="769"/>
                    </a:cubicBezTo>
                    <a:cubicBezTo>
                      <a:pt x="553" y="741"/>
                      <a:pt x="553" y="741"/>
                      <a:pt x="553" y="741"/>
                    </a:cubicBezTo>
                    <a:cubicBezTo>
                      <a:pt x="550" y="719"/>
                      <a:pt x="550" y="719"/>
                      <a:pt x="550" y="719"/>
                    </a:cubicBezTo>
                    <a:cubicBezTo>
                      <a:pt x="538" y="707"/>
                      <a:pt x="538" y="707"/>
                      <a:pt x="538" y="707"/>
                    </a:cubicBezTo>
                    <a:cubicBezTo>
                      <a:pt x="520" y="690"/>
                      <a:pt x="520" y="690"/>
                      <a:pt x="520" y="690"/>
                    </a:cubicBezTo>
                    <a:cubicBezTo>
                      <a:pt x="509" y="685"/>
                      <a:pt x="509" y="685"/>
                      <a:pt x="509" y="685"/>
                    </a:cubicBezTo>
                    <a:cubicBezTo>
                      <a:pt x="502" y="661"/>
                      <a:pt x="502" y="661"/>
                      <a:pt x="502" y="661"/>
                    </a:cubicBezTo>
                    <a:cubicBezTo>
                      <a:pt x="508" y="649"/>
                      <a:pt x="508" y="649"/>
                      <a:pt x="508" y="649"/>
                    </a:cubicBezTo>
                    <a:cubicBezTo>
                      <a:pt x="508" y="637"/>
                      <a:pt x="508" y="637"/>
                      <a:pt x="508" y="637"/>
                    </a:cubicBezTo>
                    <a:cubicBezTo>
                      <a:pt x="522" y="635"/>
                      <a:pt x="522" y="635"/>
                      <a:pt x="522" y="635"/>
                    </a:cubicBezTo>
                    <a:cubicBezTo>
                      <a:pt x="522" y="627"/>
                      <a:pt x="522" y="627"/>
                      <a:pt x="522" y="627"/>
                    </a:cubicBezTo>
                    <a:cubicBezTo>
                      <a:pt x="503" y="623"/>
                      <a:pt x="503" y="623"/>
                      <a:pt x="503" y="623"/>
                    </a:cubicBezTo>
                    <a:cubicBezTo>
                      <a:pt x="497" y="617"/>
                      <a:pt x="497" y="617"/>
                      <a:pt x="497" y="617"/>
                    </a:cubicBezTo>
                    <a:cubicBezTo>
                      <a:pt x="486" y="613"/>
                      <a:pt x="486" y="613"/>
                      <a:pt x="486" y="613"/>
                    </a:cubicBezTo>
                    <a:cubicBezTo>
                      <a:pt x="472" y="592"/>
                      <a:pt x="472" y="592"/>
                      <a:pt x="472" y="592"/>
                    </a:cubicBezTo>
                    <a:cubicBezTo>
                      <a:pt x="468" y="565"/>
                      <a:pt x="468" y="565"/>
                      <a:pt x="468" y="565"/>
                    </a:cubicBezTo>
                    <a:cubicBezTo>
                      <a:pt x="474" y="551"/>
                      <a:pt x="474" y="551"/>
                      <a:pt x="474" y="551"/>
                    </a:cubicBezTo>
                    <a:cubicBezTo>
                      <a:pt x="486" y="543"/>
                      <a:pt x="486" y="543"/>
                      <a:pt x="486" y="543"/>
                    </a:cubicBezTo>
                    <a:cubicBezTo>
                      <a:pt x="494" y="538"/>
                      <a:pt x="494" y="538"/>
                      <a:pt x="494" y="538"/>
                    </a:cubicBezTo>
                    <a:cubicBezTo>
                      <a:pt x="489" y="526"/>
                      <a:pt x="489" y="526"/>
                      <a:pt x="489" y="526"/>
                    </a:cubicBezTo>
                    <a:cubicBezTo>
                      <a:pt x="476" y="515"/>
                      <a:pt x="476" y="515"/>
                      <a:pt x="476" y="515"/>
                    </a:cubicBezTo>
                    <a:cubicBezTo>
                      <a:pt x="453" y="518"/>
                      <a:pt x="453" y="518"/>
                      <a:pt x="453" y="518"/>
                    </a:cubicBezTo>
                    <a:cubicBezTo>
                      <a:pt x="443" y="508"/>
                      <a:pt x="443" y="508"/>
                      <a:pt x="443" y="508"/>
                    </a:cubicBezTo>
                    <a:cubicBezTo>
                      <a:pt x="431" y="505"/>
                      <a:pt x="431" y="505"/>
                      <a:pt x="431" y="505"/>
                    </a:cubicBezTo>
                    <a:cubicBezTo>
                      <a:pt x="417" y="482"/>
                      <a:pt x="417" y="482"/>
                      <a:pt x="417" y="482"/>
                    </a:cubicBezTo>
                    <a:cubicBezTo>
                      <a:pt x="413" y="466"/>
                      <a:pt x="413" y="466"/>
                      <a:pt x="413" y="466"/>
                    </a:cubicBezTo>
                    <a:cubicBezTo>
                      <a:pt x="426" y="462"/>
                      <a:pt x="426" y="462"/>
                      <a:pt x="426" y="462"/>
                    </a:cubicBezTo>
                    <a:cubicBezTo>
                      <a:pt x="432" y="449"/>
                      <a:pt x="432" y="449"/>
                      <a:pt x="432" y="449"/>
                    </a:cubicBezTo>
                    <a:cubicBezTo>
                      <a:pt x="419" y="436"/>
                      <a:pt x="419" y="436"/>
                      <a:pt x="419" y="436"/>
                    </a:cubicBezTo>
                    <a:cubicBezTo>
                      <a:pt x="408" y="436"/>
                      <a:pt x="408" y="436"/>
                      <a:pt x="408" y="436"/>
                    </a:cubicBezTo>
                    <a:cubicBezTo>
                      <a:pt x="401" y="443"/>
                      <a:pt x="401" y="443"/>
                      <a:pt x="401" y="443"/>
                    </a:cubicBezTo>
                    <a:cubicBezTo>
                      <a:pt x="384" y="439"/>
                      <a:pt x="384" y="439"/>
                      <a:pt x="384" y="439"/>
                    </a:cubicBezTo>
                    <a:cubicBezTo>
                      <a:pt x="366" y="427"/>
                      <a:pt x="366" y="427"/>
                      <a:pt x="366" y="427"/>
                    </a:cubicBezTo>
                    <a:cubicBezTo>
                      <a:pt x="363" y="412"/>
                      <a:pt x="363" y="412"/>
                      <a:pt x="363" y="412"/>
                    </a:cubicBezTo>
                    <a:cubicBezTo>
                      <a:pt x="346" y="395"/>
                      <a:pt x="346" y="395"/>
                      <a:pt x="346" y="395"/>
                    </a:cubicBezTo>
                    <a:cubicBezTo>
                      <a:pt x="341" y="405"/>
                      <a:pt x="341" y="405"/>
                      <a:pt x="341" y="405"/>
                    </a:cubicBezTo>
                    <a:cubicBezTo>
                      <a:pt x="335" y="411"/>
                      <a:pt x="335" y="411"/>
                      <a:pt x="335" y="411"/>
                    </a:cubicBezTo>
                    <a:cubicBezTo>
                      <a:pt x="335" y="417"/>
                      <a:pt x="335" y="417"/>
                      <a:pt x="335" y="417"/>
                    </a:cubicBezTo>
                    <a:cubicBezTo>
                      <a:pt x="340" y="428"/>
                      <a:pt x="340" y="428"/>
                      <a:pt x="340" y="428"/>
                    </a:cubicBezTo>
                    <a:cubicBezTo>
                      <a:pt x="321" y="428"/>
                      <a:pt x="321" y="428"/>
                      <a:pt x="321" y="428"/>
                    </a:cubicBezTo>
                    <a:cubicBezTo>
                      <a:pt x="310" y="417"/>
                      <a:pt x="310" y="417"/>
                      <a:pt x="310" y="417"/>
                    </a:cubicBezTo>
                    <a:cubicBezTo>
                      <a:pt x="292" y="407"/>
                      <a:pt x="292" y="407"/>
                      <a:pt x="292" y="407"/>
                    </a:cubicBezTo>
                    <a:cubicBezTo>
                      <a:pt x="290" y="393"/>
                      <a:pt x="290" y="393"/>
                      <a:pt x="290" y="393"/>
                    </a:cubicBezTo>
                    <a:cubicBezTo>
                      <a:pt x="287" y="374"/>
                      <a:pt x="287" y="374"/>
                      <a:pt x="287" y="374"/>
                    </a:cubicBezTo>
                    <a:cubicBezTo>
                      <a:pt x="274" y="361"/>
                      <a:pt x="274" y="361"/>
                      <a:pt x="274" y="361"/>
                    </a:cubicBezTo>
                    <a:cubicBezTo>
                      <a:pt x="265" y="352"/>
                      <a:pt x="265" y="352"/>
                      <a:pt x="265" y="352"/>
                    </a:cubicBezTo>
                    <a:cubicBezTo>
                      <a:pt x="257" y="344"/>
                      <a:pt x="257" y="344"/>
                      <a:pt x="257" y="344"/>
                    </a:cubicBezTo>
                    <a:cubicBezTo>
                      <a:pt x="247" y="327"/>
                      <a:pt x="247" y="327"/>
                      <a:pt x="247" y="327"/>
                    </a:cubicBezTo>
                    <a:cubicBezTo>
                      <a:pt x="254" y="320"/>
                      <a:pt x="254" y="320"/>
                      <a:pt x="254" y="320"/>
                    </a:cubicBezTo>
                    <a:cubicBezTo>
                      <a:pt x="254" y="303"/>
                      <a:pt x="254" y="303"/>
                      <a:pt x="254" y="303"/>
                    </a:cubicBezTo>
                    <a:cubicBezTo>
                      <a:pt x="262" y="303"/>
                      <a:pt x="262" y="303"/>
                      <a:pt x="262" y="303"/>
                    </a:cubicBezTo>
                    <a:cubicBezTo>
                      <a:pt x="275" y="290"/>
                      <a:pt x="275" y="290"/>
                      <a:pt x="275" y="290"/>
                    </a:cubicBezTo>
                    <a:cubicBezTo>
                      <a:pt x="262" y="285"/>
                      <a:pt x="262" y="285"/>
                      <a:pt x="262" y="285"/>
                    </a:cubicBezTo>
                    <a:cubicBezTo>
                      <a:pt x="262" y="272"/>
                      <a:pt x="262" y="272"/>
                      <a:pt x="262" y="272"/>
                    </a:cubicBezTo>
                    <a:cubicBezTo>
                      <a:pt x="255" y="253"/>
                      <a:pt x="255" y="253"/>
                      <a:pt x="255" y="253"/>
                    </a:cubicBezTo>
                    <a:cubicBezTo>
                      <a:pt x="263" y="252"/>
                      <a:pt x="263" y="252"/>
                      <a:pt x="263" y="252"/>
                    </a:cubicBezTo>
                    <a:cubicBezTo>
                      <a:pt x="272" y="261"/>
                      <a:pt x="272" y="261"/>
                      <a:pt x="272" y="261"/>
                    </a:cubicBezTo>
                    <a:cubicBezTo>
                      <a:pt x="285" y="267"/>
                      <a:pt x="285" y="267"/>
                      <a:pt x="285" y="267"/>
                    </a:cubicBezTo>
                    <a:cubicBezTo>
                      <a:pt x="285" y="257"/>
                      <a:pt x="285" y="257"/>
                      <a:pt x="285" y="257"/>
                    </a:cubicBezTo>
                    <a:cubicBezTo>
                      <a:pt x="274" y="239"/>
                      <a:pt x="274" y="239"/>
                      <a:pt x="274" y="239"/>
                    </a:cubicBezTo>
                    <a:cubicBezTo>
                      <a:pt x="274" y="229"/>
                      <a:pt x="274" y="229"/>
                      <a:pt x="274" y="229"/>
                    </a:cubicBezTo>
                    <a:cubicBezTo>
                      <a:pt x="279" y="211"/>
                      <a:pt x="279" y="211"/>
                      <a:pt x="279" y="211"/>
                    </a:cubicBezTo>
                    <a:cubicBezTo>
                      <a:pt x="272" y="203"/>
                      <a:pt x="272" y="203"/>
                      <a:pt x="272" y="203"/>
                    </a:cubicBezTo>
                    <a:cubicBezTo>
                      <a:pt x="286" y="183"/>
                      <a:pt x="286" y="183"/>
                      <a:pt x="286" y="183"/>
                    </a:cubicBezTo>
                    <a:cubicBezTo>
                      <a:pt x="294" y="163"/>
                      <a:pt x="294" y="163"/>
                      <a:pt x="294" y="163"/>
                    </a:cubicBezTo>
                    <a:cubicBezTo>
                      <a:pt x="311" y="158"/>
                      <a:pt x="311" y="158"/>
                      <a:pt x="311" y="158"/>
                    </a:cubicBezTo>
                    <a:cubicBezTo>
                      <a:pt x="323" y="164"/>
                      <a:pt x="323" y="164"/>
                      <a:pt x="323" y="164"/>
                    </a:cubicBezTo>
                    <a:cubicBezTo>
                      <a:pt x="334" y="154"/>
                      <a:pt x="334" y="154"/>
                      <a:pt x="334" y="154"/>
                    </a:cubicBezTo>
                    <a:cubicBezTo>
                      <a:pt x="327" y="147"/>
                      <a:pt x="327" y="147"/>
                      <a:pt x="327" y="147"/>
                    </a:cubicBezTo>
                    <a:cubicBezTo>
                      <a:pt x="316" y="134"/>
                      <a:pt x="316" y="134"/>
                      <a:pt x="316" y="134"/>
                    </a:cubicBezTo>
                    <a:cubicBezTo>
                      <a:pt x="309" y="107"/>
                      <a:pt x="309" y="107"/>
                      <a:pt x="309" y="107"/>
                    </a:cubicBezTo>
                    <a:cubicBezTo>
                      <a:pt x="309" y="88"/>
                      <a:pt x="309" y="88"/>
                      <a:pt x="309" y="88"/>
                    </a:cubicBezTo>
                    <a:cubicBezTo>
                      <a:pt x="296" y="77"/>
                      <a:pt x="296" y="77"/>
                      <a:pt x="296" y="77"/>
                    </a:cubicBezTo>
                    <a:cubicBezTo>
                      <a:pt x="290" y="56"/>
                      <a:pt x="290" y="56"/>
                      <a:pt x="290" y="56"/>
                    </a:cubicBezTo>
                    <a:cubicBezTo>
                      <a:pt x="286" y="35"/>
                      <a:pt x="286" y="35"/>
                      <a:pt x="286" y="35"/>
                    </a:cubicBezTo>
                    <a:cubicBezTo>
                      <a:pt x="280" y="19"/>
                      <a:pt x="280" y="19"/>
                      <a:pt x="280" y="19"/>
                    </a:cubicBezTo>
                    <a:cubicBezTo>
                      <a:pt x="276" y="0"/>
                      <a:pt x="276" y="0"/>
                      <a:pt x="276" y="0"/>
                    </a:cubicBezTo>
                    <a:cubicBezTo>
                      <a:pt x="268" y="10"/>
                      <a:pt x="268" y="10"/>
                      <a:pt x="268" y="10"/>
                    </a:cubicBezTo>
                    <a:cubicBezTo>
                      <a:pt x="257" y="11"/>
                      <a:pt x="257" y="11"/>
                      <a:pt x="257" y="11"/>
                    </a:cubicBezTo>
                    <a:cubicBezTo>
                      <a:pt x="248" y="3"/>
                      <a:pt x="248" y="3"/>
                      <a:pt x="248" y="3"/>
                    </a:cubicBezTo>
                    <a:cubicBezTo>
                      <a:pt x="238" y="6"/>
                      <a:pt x="238" y="6"/>
                      <a:pt x="238" y="6"/>
                    </a:cubicBezTo>
                    <a:cubicBezTo>
                      <a:pt x="236" y="23"/>
                      <a:pt x="236" y="23"/>
                      <a:pt x="236" y="23"/>
                    </a:cubicBezTo>
                    <a:cubicBezTo>
                      <a:pt x="231" y="40"/>
                      <a:pt x="231" y="40"/>
                      <a:pt x="231" y="40"/>
                    </a:cubicBezTo>
                    <a:cubicBezTo>
                      <a:pt x="221" y="56"/>
                      <a:pt x="221" y="56"/>
                      <a:pt x="221" y="56"/>
                    </a:cubicBezTo>
                    <a:cubicBezTo>
                      <a:pt x="221" y="56"/>
                      <a:pt x="226" y="62"/>
                      <a:pt x="226" y="65"/>
                    </a:cubicBezTo>
                    <a:cubicBezTo>
                      <a:pt x="226" y="67"/>
                      <a:pt x="220" y="85"/>
                      <a:pt x="220" y="85"/>
                    </a:cubicBezTo>
                    <a:cubicBezTo>
                      <a:pt x="213" y="100"/>
                      <a:pt x="213" y="100"/>
                      <a:pt x="213" y="100"/>
                    </a:cubicBezTo>
                    <a:cubicBezTo>
                      <a:pt x="202" y="107"/>
                      <a:pt x="202" y="107"/>
                      <a:pt x="202" y="107"/>
                    </a:cubicBezTo>
                    <a:cubicBezTo>
                      <a:pt x="194" y="99"/>
                      <a:pt x="194" y="99"/>
                      <a:pt x="194" y="99"/>
                    </a:cubicBezTo>
                    <a:cubicBezTo>
                      <a:pt x="184" y="102"/>
                      <a:pt x="184" y="102"/>
                      <a:pt x="184" y="102"/>
                    </a:cubicBezTo>
                    <a:cubicBezTo>
                      <a:pt x="175" y="112"/>
                      <a:pt x="175" y="112"/>
                      <a:pt x="175" y="112"/>
                    </a:cubicBezTo>
                    <a:cubicBezTo>
                      <a:pt x="163" y="114"/>
                      <a:pt x="163" y="114"/>
                      <a:pt x="163" y="114"/>
                    </a:cubicBezTo>
                    <a:cubicBezTo>
                      <a:pt x="153" y="127"/>
                      <a:pt x="153" y="127"/>
                      <a:pt x="153" y="127"/>
                    </a:cubicBezTo>
                    <a:cubicBezTo>
                      <a:pt x="145" y="119"/>
                      <a:pt x="145" y="119"/>
                      <a:pt x="145" y="119"/>
                    </a:cubicBezTo>
                    <a:cubicBezTo>
                      <a:pt x="141" y="108"/>
                      <a:pt x="141" y="108"/>
                      <a:pt x="141" y="108"/>
                    </a:cubicBezTo>
                    <a:cubicBezTo>
                      <a:pt x="136" y="97"/>
                      <a:pt x="136" y="97"/>
                      <a:pt x="136" y="97"/>
                    </a:cubicBezTo>
                    <a:cubicBezTo>
                      <a:pt x="132" y="84"/>
                      <a:pt x="132" y="84"/>
                      <a:pt x="132" y="84"/>
                    </a:cubicBezTo>
                    <a:cubicBezTo>
                      <a:pt x="124" y="81"/>
                      <a:pt x="124" y="81"/>
                      <a:pt x="124" y="81"/>
                    </a:cubicBezTo>
                    <a:cubicBezTo>
                      <a:pt x="112" y="89"/>
                      <a:pt x="112" y="89"/>
                      <a:pt x="112" y="89"/>
                    </a:cubicBezTo>
                    <a:cubicBezTo>
                      <a:pt x="105" y="96"/>
                      <a:pt x="105" y="96"/>
                      <a:pt x="105" y="96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80" y="95"/>
                      <a:pt x="80" y="95"/>
                      <a:pt x="80" y="95"/>
                    </a:cubicBezTo>
                    <a:cubicBezTo>
                      <a:pt x="83" y="105"/>
                      <a:pt x="83" y="105"/>
                      <a:pt x="83" y="105"/>
                    </a:cubicBezTo>
                    <a:cubicBezTo>
                      <a:pt x="78" y="112"/>
                      <a:pt x="78" y="112"/>
                      <a:pt x="78" y="112"/>
                    </a:cubicBezTo>
                    <a:cubicBezTo>
                      <a:pt x="71" y="110"/>
                      <a:pt x="71" y="110"/>
                      <a:pt x="71" y="110"/>
                    </a:cubicBezTo>
                    <a:cubicBezTo>
                      <a:pt x="55" y="115"/>
                      <a:pt x="55" y="115"/>
                      <a:pt x="55" y="115"/>
                    </a:cubicBezTo>
                    <a:cubicBezTo>
                      <a:pt x="55" y="127"/>
                      <a:pt x="55" y="127"/>
                      <a:pt x="55" y="127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43" y="146"/>
                      <a:pt x="43" y="146"/>
                      <a:pt x="43" y="146"/>
                    </a:cubicBezTo>
                    <a:cubicBezTo>
                      <a:pt x="32" y="145"/>
                      <a:pt x="32" y="145"/>
                      <a:pt x="32" y="145"/>
                    </a:cubicBezTo>
                    <a:cubicBezTo>
                      <a:pt x="19" y="155"/>
                      <a:pt x="19" y="155"/>
                      <a:pt x="19" y="155"/>
                    </a:cubicBezTo>
                    <a:cubicBezTo>
                      <a:pt x="24" y="160"/>
                      <a:pt x="24" y="160"/>
                      <a:pt x="24" y="160"/>
                    </a:cubicBezTo>
                    <a:cubicBezTo>
                      <a:pt x="17" y="167"/>
                      <a:pt x="17" y="167"/>
                      <a:pt x="17" y="167"/>
                    </a:cubicBezTo>
                    <a:cubicBezTo>
                      <a:pt x="6" y="173"/>
                      <a:pt x="6" y="173"/>
                      <a:pt x="6" y="173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5" y="202"/>
                      <a:pt x="5" y="202"/>
                      <a:pt x="5" y="202"/>
                    </a:cubicBezTo>
                    <a:cubicBezTo>
                      <a:pt x="22" y="204"/>
                      <a:pt x="22" y="204"/>
                      <a:pt x="22" y="204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7" y="215"/>
                      <a:pt x="27" y="215"/>
                      <a:pt x="27" y="215"/>
                    </a:cubicBezTo>
                    <a:cubicBezTo>
                      <a:pt x="24" y="224"/>
                      <a:pt x="24" y="224"/>
                      <a:pt x="24" y="224"/>
                    </a:cubicBezTo>
                    <a:cubicBezTo>
                      <a:pt x="40" y="231"/>
                      <a:pt x="40" y="231"/>
                      <a:pt x="40" y="231"/>
                    </a:cubicBezTo>
                    <a:cubicBezTo>
                      <a:pt x="42" y="241"/>
                      <a:pt x="42" y="241"/>
                      <a:pt x="42" y="241"/>
                    </a:cubicBezTo>
                    <a:cubicBezTo>
                      <a:pt x="58" y="238"/>
                      <a:pt x="58" y="238"/>
                      <a:pt x="58" y="238"/>
                    </a:cubicBezTo>
                    <a:cubicBezTo>
                      <a:pt x="63" y="250"/>
                      <a:pt x="63" y="250"/>
                      <a:pt x="63" y="250"/>
                    </a:cubicBezTo>
                    <a:cubicBezTo>
                      <a:pt x="74" y="255"/>
                      <a:pt x="74" y="255"/>
                      <a:pt x="74" y="255"/>
                    </a:cubicBezTo>
                    <a:cubicBezTo>
                      <a:pt x="74" y="255"/>
                      <a:pt x="74" y="262"/>
                      <a:pt x="74" y="264"/>
                    </a:cubicBezTo>
                    <a:cubicBezTo>
                      <a:pt x="74" y="266"/>
                      <a:pt x="82" y="272"/>
                      <a:pt x="82" y="272"/>
                    </a:cubicBezTo>
                    <a:cubicBezTo>
                      <a:pt x="92" y="269"/>
                      <a:pt x="92" y="269"/>
                      <a:pt x="92" y="269"/>
                    </a:cubicBezTo>
                    <a:cubicBezTo>
                      <a:pt x="104" y="269"/>
                      <a:pt x="104" y="269"/>
                      <a:pt x="104" y="269"/>
                    </a:cubicBezTo>
                    <a:cubicBezTo>
                      <a:pt x="106" y="277"/>
                      <a:pt x="106" y="277"/>
                      <a:pt x="106" y="277"/>
                    </a:cubicBezTo>
                    <a:cubicBezTo>
                      <a:pt x="113" y="277"/>
                      <a:pt x="113" y="277"/>
                      <a:pt x="113" y="277"/>
                    </a:cubicBezTo>
                    <a:cubicBezTo>
                      <a:pt x="119" y="284"/>
                      <a:pt x="119" y="284"/>
                      <a:pt x="119" y="284"/>
                    </a:cubicBezTo>
                    <a:cubicBezTo>
                      <a:pt x="115" y="298"/>
                      <a:pt x="115" y="298"/>
                      <a:pt x="115" y="298"/>
                    </a:cubicBezTo>
                    <a:cubicBezTo>
                      <a:pt x="121" y="298"/>
                      <a:pt x="121" y="298"/>
                      <a:pt x="121" y="298"/>
                    </a:cubicBezTo>
                    <a:cubicBezTo>
                      <a:pt x="125" y="291"/>
                      <a:pt x="125" y="291"/>
                      <a:pt x="125" y="291"/>
                    </a:cubicBezTo>
                    <a:cubicBezTo>
                      <a:pt x="130" y="296"/>
                      <a:pt x="130" y="296"/>
                      <a:pt x="130" y="296"/>
                    </a:cubicBezTo>
                    <a:cubicBezTo>
                      <a:pt x="130" y="305"/>
                      <a:pt x="130" y="305"/>
                      <a:pt x="130" y="305"/>
                    </a:cubicBezTo>
                    <a:cubicBezTo>
                      <a:pt x="143" y="306"/>
                      <a:pt x="143" y="306"/>
                      <a:pt x="143" y="306"/>
                    </a:cubicBezTo>
                    <a:cubicBezTo>
                      <a:pt x="150" y="297"/>
                      <a:pt x="150" y="297"/>
                      <a:pt x="150" y="297"/>
                    </a:cubicBezTo>
                    <a:cubicBezTo>
                      <a:pt x="156" y="298"/>
                      <a:pt x="156" y="298"/>
                      <a:pt x="156" y="298"/>
                    </a:cubicBezTo>
                    <a:cubicBezTo>
                      <a:pt x="157" y="289"/>
                      <a:pt x="157" y="289"/>
                      <a:pt x="157" y="289"/>
                    </a:cubicBezTo>
                    <a:cubicBezTo>
                      <a:pt x="144" y="289"/>
                      <a:pt x="144" y="289"/>
                      <a:pt x="144" y="289"/>
                    </a:cubicBezTo>
                    <a:cubicBezTo>
                      <a:pt x="133" y="278"/>
                      <a:pt x="133" y="278"/>
                      <a:pt x="133" y="278"/>
                    </a:cubicBezTo>
                    <a:cubicBezTo>
                      <a:pt x="121" y="267"/>
                      <a:pt x="121" y="267"/>
                      <a:pt x="121" y="267"/>
                    </a:cubicBezTo>
                    <a:cubicBezTo>
                      <a:pt x="113" y="259"/>
                      <a:pt x="113" y="259"/>
                      <a:pt x="113" y="259"/>
                    </a:cubicBezTo>
                    <a:cubicBezTo>
                      <a:pt x="117" y="249"/>
                      <a:pt x="117" y="249"/>
                      <a:pt x="117" y="249"/>
                    </a:cubicBezTo>
                    <a:cubicBezTo>
                      <a:pt x="117" y="235"/>
                      <a:pt x="117" y="235"/>
                      <a:pt x="117" y="235"/>
                    </a:cubicBezTo>
                    <a:cubicBezTo>
                      <a:pt x="132" y="227"/>
                      <a:pt x="132" y="227"/>
                      <a:pt x="132" y="227"/>
                    </a:cubicBezTo>
                    <a:cubicBezTo>
                      <a:pt x="142" y="216"/>
                      <a:pt x="142" y="216"/>
                      <a:pt x="142" y="216"/>
                    </a:cubicBezTo>
                    <a:cubicBezTo>
                      <a:pt x="146" y="221"/>
                      <a:pt x="146" y="221"/>
                      <a:pt x="146" y="221"/>
                    </a:cubicBezTo>
                    <a:cubicBezTo>
                      <a:pt x="134" y="233"/>
                      <a:pt x="134" y="233"/>
                      <a:pt x="134" y="233"/>
                    </a:cubicBezTo>
                    <a:cubicBezTo>
                      <a:pt x="134" y="248"/>
                      <a:pt x="134" y="248"/>
                      <a:pt x="134" y="248"/>
                    </a:cubicBezTo>
                    <a:cubicBezTo>
                      <a:pt x="148" y="257"/>
                      <a:pt x="148" y="257"/>
                      <a:pt x="148" y="257"/>
                    </a:cubicBezTo>
                    <a:cubicBezTo>
                      <a:pt x="157" y="269"/>
                      <a:pt x="157" y="269"/>
                      <a:pt x="157" y="269"/>
                    </a:cubicBezTo>
                    <a:cubicBezTo>
                      <a:pt x="165" y="276"/>
                      <a:pt x="165" y="276"/>
                      <a:pt x="165" y="276"/>
                    </a:cubicBezTo>
                    <a:cubicBezTo>
                      <a:pt x="173" y="279"/>
                      <a:pt x="173" y="279"/>
                      <a:pt x="173" y="279"/>
                    </a:cubicBezTo>
                    <a:cubicBezTo>
                      <a:pt x="182" y="279"/>
                      <a:pt x="182" y="279"/>
                      <a:pt x="182" y="279"/>
                    </a:cubicBezTo>
                    <a:cubicBezTo>
                      <a:pt x="190" y="296"/>
                      <a:pt x="190" y="296"/>
                      <a:pt x="190" y="296"/>
                    </a:cubicBezTo>
                    <a:cubicBezTo>
                      <a:pt x="198" y="304"/>
                      <a:pt x="198" y="304"/>
                      <a:pt x="198" y="304"/>
                    </a:cubicBezTo>
                    <a:cubicBezTo>
                      <a:pt x="198" y="315"/>
                      <a:pt x="198" y="315"/>
                      <a:pt x="198" y="315"/>
                    </a:cubicBezTo>
                    <a:cubicBezTo>
                      <a:pt x="198" y="325"/>
                      <a:pt x="198" y="325"/>
                      <a:pt x="198" y="325"/>
                    </a:cubicBezTo>
                    <a:cubicBezTo>
                      <a:pt x="194" y="341"/>
                      <a:pt x="194" y="341"/>
                      <a:pt x="194" y="341"/>
                    </a:cubicBezTo>
                    <a:cubicBezTo>
                      <a:pt x="194" y="354"/>
                      <a:pt x="194" y="354"/>
                      <a:pt x="194" y="354"/>
                    </a:cubicBezTo>
                    <a:cubicBezTo>
                      <a:pt x="202" y="361"/>
                      <a:pt x="202" y="361"/>
                      <a:pt x="202" y="361"/>
                    </a:cubicBezTo>
                    <a:cubicBezTo>
                      <a:pt x="210" y="385"/>
                      <a:pt x="210" y="385"/>
                      <a:pt x="210" y="385"/>
                    </a:cubicBezTo>
                    <a:cubicBezTo>
                      <a:pt x="217" y="402"/>
                      <a:pt x="217" y="402"/>
                      <a:pt x="217" y="402"/>
                    </a:cubicBezTo>
                    <a:cubicBezTo>
                      <a:pt x="223" y="423"/>
                      <a:pt x="223" y="423"/>
                      <a:pt x="223" y="423"/>
                    </a:cubicBezTo>
                    <a:cubicBezTo>
                      <a:pt x="228" y="445"/>
                      <a:pt x="228" y="445"/>
                      <a:pt x="228" y="445"/>
                    </a:cubicBezTo>
                    <a:cubicBezTo>
                      <a:pt x="241" y="461"/>
                      <a:pt x="241" y="461"/>
                      <a:pt x="241" y="461"/>
                    </a:cubicBezTo>
                    <a:cubicBezTo>
                      <a:pt x="249" y="486"/>
                      <a:pt x="249" y="486"/>
                      <a:pt x="249" y="486"/>
                    </a:cubicBezTo>
                    <a:cubicBezTo>
                      <a:pt x="252" y="507"/>
                      <a:pt x="252" y="507"/>
                      <a:pt x="252" y="507"/>
                    </a:cubicBezTo>
                    <a:cubicBezTo>
                      <a:pt x="259" y="527"/>
                      <a:pt x="259" y="527"/>
                      <a:pt x="259" y="527"/>
                    </a:cubicBezTo>
                    <a:cubicBezTo>
                      <a:pt x="254" y="532"/>
                      <a:pt x="254" y="532"/>
                      <a:pt x="254" y="532"/>
                    </a:cubicBezTo>
                    <a:cubicBezTo>
                      <a:pt x="248" y="538"/>
                      <a:pt x="248" y="538"/>
                      <a:pt x="248" y="538"/>
                    </a:cubicBezTo>
                    <a:cubicBezTo>
                      <a:pt x="254" y="549"/>
                      <a:pt x="254" y="549"/>
                      <a:pt x="254" y="549"/>
                    </a:cubicBezTo>
                    <a:cubicBezTo>
                      <a:pt x="250" y="559"/>
                      <a:pt x="250" y="559"/>
                      <a:pt x="250" y="559"/>
                    </a:cubicBezTo>
                    <a:cubicBezTo>
                      <a:pt x="244" y="565"/>
                      <a:pt x="244" y="565"/>
                      <a:pt x="244" y="565"/>
                    </a:cubicBezTo>
                    <a:cubicBezTo>
                      <a:pt x="244" y="571"/>
                      <a:pt x="244" y="571"/>
                      <a:pt x="244" y="571"/>
                    </a:cubicBezTo>
                    <a:cubicBezTo>
                      <a:pt x="256" y="573"/>
                      <a:pt x="256" y="573"/>
                      <a:pt x="256" y="573"/>
                    </a:cubicBezTo>
                    <a:cubicBezTo>
                      <a:pt x="268" y="589"/>
                      <a:pt x="268" y="589"/>
                      <a:pt x="268" y="589"/>
                    </a:cubicBezTo>
                    <a:cubicBezTo>
                      <a:pt x="270" y="605"/>
                      <a:pt x="270" y="605"/>
                      <a:pt x="270" y="605"/>
                    </a:cubicBezTo>
                    <a:cubicBezTo>
                      <a:pt x="279" y="614"/>
                      <a:pt x="279" y="614"/>
                      <a:pt x="279" y="614"/>
                    </a:cubicBezTo>
                    <a:cubicBezTo>
                      <a:pt x="279" y="628"/>
                      <a:pt x="279" y="628"/>
                      <a:pt x="279" y="628"/>
                    </a:cubicBezTo>
                    <a:cubicBezTo>
                      <a:pt x="292" y="642"/>
                      <a:pt x="292" y="642"/>
                      <a:pt x="292" y="642"/>
                    </a:cubicBezTo>
                    <a:lnTo>
                      <a:pt x="312" y="661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7" name="Freeform 192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 rot="698053">
                <a:off x="9358545" y="4009514"/>
                <a:ext cx="18977" cy="65375"/>
              </a:xfrm>
              <a:custGeom>
                <a:avLst/>
                <a:gdLst>
                  <a:gd name="T0" fmla="val 16097872"/>
                  <a:gd name="T1" fmla="*/ 84 h 88"/>
                  <a:gd name="T2" fmla="*/ 8 w 26"/>
                  <a:gd name="T3" fmla="*/ 54 h 88"/>
                  <a:gd name="T4" fmla="*/ 0 w 26"/>
                  <a:gd name="T5" fmla="*/ 36 h 88"/>
                  <a:gd name="T6" fmla="*/ 4 w 26"/>
                  <a:gd name="T7" fmla="*/ 16 h 88"/>
                  <a:gd name="T8" fmla="*/ 20 w 26"/>
                  <a:gd name="T9" fmla="*/ 0 h 88"/>
                  <a:gd name="T10" fmla="*/ 24 w 26"/>
                  <a:gd name="T11" fmla="*/ 22 h 88"/>
                  <a:gd name="T12" fmla="*/ 20 w 26"/>
                  <a:gd name="T13" fmla="*/ 44 h 88"/>
                  <a:gd name="T14" fmla="*/ 26 w 26"/>
                  <a:gd name="T15" fmla="*/ 68 h 88"/>
                  <a:gd name="T16" fmla="*/ 18 w 26"/>
                  <a:gd name="T17" fmla="*/ 88 h 88"/>
                  <a:gd name="T18" fmla="val 16097872"/>
                  <a:gd name="T19" fmla="*/ 8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88">
                    <a:moveTo>
                      <a:pt x="2" y="84"/>
                    </a:moveTo>
                    <a:lnTo>
                      <a:pt x="8" y="54"/>
                    </a:lnTo>
                    <a:lnTo>
                      <a:pt x="0" y="36"/>
                    </a:lnTo>
                    <a:lnTo>
                      <a:pt x="4" y="16"/>
                    </a:lnTo>
                    <a:lnTo>
                      <a:pt x="20" y="0"/>
                    </a:lnTo>
                    <a:lnTo>
                      <a:pt x="24" y="22"/>
                    </a:lnTo>
                    <a:lnTo>
                      <a:pt x="20" y="44"/>
                    </a:lnTo>
                    <a:lnTo>
                      <a:pt x="26" y="68"/>
                    </a:lnTo>
                    <a:lnTo>
                      <a:pt x="18" y="88"/>
                    </a:lnTo>
                    <a:lnTo>
                      <a:pt x="2" y="8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8" name="Freeform 193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 rot="698053">
                <a:off x="9248591" y="4272920"/>
                <a:ext cx="17792" cy="40142"/>
              </a:xfrm>
              <a:custGeom>
                <a:avLst/>
                <a:gdLst>
                  <a:gd name="T0" fmla="*/ 0 w 22"/>
                  <a:gd name="T1" fmla="*/ 4 h 54"/>
                  <a:gd name="T2" fmla="*/ 4 w 22"/>
                  <a:gd name="T3" fmla="*/ 28 h 54"/>
                  <a:gd name="T4" fmla="*/ 6 w 22"/>
                  <a:gd name="T5" fmla="*/ 52 h 54"/>
                  <a:gd name="T6" fmla="*/ 16 w 22"/>
                  <a:gd name="T7" fmla="*/ 54 h 54"/>
                  <a:gd name="T8" fmla="*/ 16 w 22"/>
                  <a:gd name="T9" fmla="*/ 36 h 54"/>
                  <a:gd name="T10" fmla="*/ 22 w 22"/>
                  <a:gd name="T11" fmla="*/ 22 h 54"/>
                  <a:gd name="T12" fmla="*/ 22 w 22"/>
                  <a:gd name="T13" fmla="*/ 0 h 54"/>
                  <a:gd name="T14" fmla="*/ 0 w 22"/>
                  <a:gd name="T15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54">
                    <a:moveTo>
                      <a:pt x="0" y="4"/>
                    </a:moveTo>
                    <a:lnTo>
                      <a:pt x="4" y="28"/>
                    </a:lnTo>
                    <a:lnTo>
                      <a:pt x="6" y="52"/>
                    </a:lnTo>
                    <a:lnTo>
                      <a:pt x="16" y="54"/>
                    </a:lnTo>
                    <a:lnTo>
                      <a:pt x="16" y="36"/>
                    </a:lnTo>
                    <a:lnTo>
                      <a:pt x="22" y="22"/>
                    </a:lnTo>
                    <a:lnTo>
                      <a:pt x="2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9" name="Freeform 194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 rot="698053">
                <a:off x="9307899" y="4299115"/>
                <a:ext cx="11861" cy="12616"/>
              </a:xfrm>
              <a:custGeom>
                <a:avLst/>
                <a:gdLst>
                  <a:gd name="T0" fmla="*/ 0 w 16"/>
                  <a:gd name="T1" fmla="*/ 0 h 18"/>
                  <a:gd name="T2" fmla="*/ 0 w 16"/>
                  <a:gd name="T3" fmla="*/ 10 h 18"/>
                  <a:gd name="T4" fmla="*/ 16 w 16"/>
                  <a:gd name="T5" fmla="*/ 18 h 18"/>
                  <a:gd name="T6" fmla="*/ 16 w 16"/>
                  <a:gd name="T7" fmla="*/ 2 h 18"/>
                  <a:gd name="T8" fmla="*/ 0 w 16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8">
                    <a:moveTo>
                      <a:pt x="0" y="0"/>
                    </a:moveTo>
                    <a:lnTo>
                      <a:pt x="0" y="10"/>
                    </a:lnTo>
                    <a:lnTo>
                      <a:pt x="16" y="18"/>
                    </a:lnTo>
                    <a:lnTo>
                      <a:pt x="1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0" name="Freeform 196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 rot="698053">
                <a:off x="9327640" y="4117225"/>
                <a:ext cx="10674" cy="19498"/>
              </a:xfrm>
              <a:custGeom>
                <a:avLst/>
                <a:gdLst>
                  <a:gd name="T0" fmla="*/ 6 w 14"/>
                  <a:gd name="T1" fmla="*/ 0 h 26"/>
                  <a:gd name="T2" fmla="*/ 0 w 14"/>
                  <a:gd name="T3" fmla="*/ 6 h 26"/>
                  <a:gd name="T4" fmla="*/ 6 w 14"/>
                  <a:gd name="T5" fmla="*/ 26 h 26"/>
                  <a:gd name="T6" fmla="*/ 14 w 14"/>
                  <a:gd name="T7" fmla="*/ 12 h 26"/>
                  <a:gd name="T8" fmla="*/ 6 w 14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6">
                    <a:moveTo>
                      <a:pt x="6" y="0"/>
                    </a:moveTo>
                    <a:lnTo>
                      <a:pt x="0" y="6"/>
                    </a:lnTo>
                    <a:lnTo>
                      <a:pt x="6" y="26"/>
                    </a:lnTo>
                    <a:lnTo>
                      <a:pt x="14" y="1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1" name="Freeform 197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 rot="698053">
                <a:off x="9398578" y="3886206"/>
                <a:ext cx="13047" cy="33261"/>
              </a:xfrm>
              <a:custGeom>
                <a:avLst/>
                <a:gdLst>
                  <a:gd name="T0" fmla="*/ 0 w 17"/>
                  <a:gd name="T1" fmla="*/ 0 h 46"/>
                  <a:gd name="T2" fmla="*/ 0 w 17"/>
                  <a:gd name="T3" fmla="*/ 26 h 46"/>
                  <a:gd name="T4" fmla="*/ 0 w 17"/>
                  <a:gd name="T5" fmla="*/ 46 h 46"/>
                  <a:gd name="T6" fmla="*/ 17 w 17"/>
                  <a:gd name="T7" fmla="*/ 46 h 46"/>
                  <a:gd name="T8" fmla="*/ 10 w 17"/>
                  <a:gd name="T9" fmla="*/ 28 h 46"/>
                  <a:gd name="T10" fmla="*/ 10 w 17"/>
                  <a:gd name="T11" fmla="*/ 14 h 46"/>
                  <a:gd name="T12" fmla="*/ 10 w 17"/>
                  <a:gd name="T13" fmla="*/ 0 h 46"/>
                  <a:gd name="T14" fmla="*/ 0 w 17"/>
                  <a:gd name="T1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46">
                    <a:moveTo>
                      <a:pt x="0" y="0"/>
                    </a:moveTo>
                    <a:lnTo>
                      <a:pt x="0" y="26"/>
                    </a:lnTo>
                    <a:lnTo>
                      <a:pt x="0" y="46"/>
                    </a:lnTo>
                    <a:lnTo>
                      <a:pt x="17" y="46"/>
                    </a:lnTo>
                    <a:lnTo>
                      <a:pt x="10" y="28"/>
                    </a:lnTo>
                    <a:lnTo>
                      <a:pt x="10" y="14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2" name="Freeform 198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 rot="698053">
                <a:off x="9344590" y="3485732"/>
                <a:ext cx="41513" cy="88313"/>
              </a:xfrm>
              <a:custGeom>
                <a:avLst/>
                <a:gdLst>
                  <a:gd name="T0" fmla="*/ 18 w 54"/>
                  <a:gd name="T1" fmla="*/ 0 h 120"/>
                  <a:gd name="T2" fmla="*/ 12 w 54"/>
                  <a:gd name="T3" fmla="*/ 22 h 120"/>
                  <a:gd name="T4" fmla="*/ 0 w 54"/>
                  <a:gd name="T5" fmla="*/ 32 h 120"/>
                  <a:gd name="T6" fmla="*/ 12 w 54"/>
                  <a:gd name="T7" fmla="*/ 44 h 120"/>
                  <a:gd name="T8" fmla="*/ 20 w 54"/>
                  <a:gd name="T9" fmla="*/ 60 h 120"/>
                  <a:gd name="T10" fmla="*/ 18 w 54"/>
                  <a:gd name="T11" fmla="*/ 82 h 120"/>
                  <a:gd name="T12" fmla="*/ 16 w 54"/>
                  <a:gd name="T13" fmla="*/ 108 h 120"/>
                  <a:gd name="T14" fmla="*/ 30 w 54"/>
                  <a:gd name="T15" fmla="*/ 120 h 120"/>
                  <a:gd name="T16" fmla="*/ 42 w 54"/>
                  <a:gd name="T17" fmla="*/ 112 h 120"/>
                  <a:gd name="T18" fmla="*/ 42 w 54"/>
                  <a:gd name="T19" fmla="*/ 84 h 120"/>
                  <a:gd name="T20" fmla="*/ 54 w 54"/>
                  <a:gd name="T21" fmla="*/ 72 h 120"/>
                  <a:gd name="T22" fmla="*/ 44 w 54"/>
                  <a:gd name="T23" fmla="*/ 48 h 120"/>
                  <a:gd name="T24" fmla="*/ 28 w 54"/>
                  <a:gd name="T25" fmla="*/ 32 h 120"/>
                  <a:gd name="T26" fmla="*/ 30 w 54"/>
                  <a:gd name="T27" fmla="*/ 12 h 120"/>
                  <a:gd name="T28" fmla="*/ 18 w 54"/>
                  <a:gd name="T2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120">
                    <a:moveTo>
                      <a:pt x="18" y="0"/>
                    </a:moveTo>
                    <a:lnTo>
                      <a:pt x="12" y="22"/>
                    </a:lnTo>
                    <a:lnTo>
                      <a:pt x="0" y="32"/>
                    </a:lnTo>
                    <a:lnTo>
                      <a:pt x="12" y="44"/>
                    </a:lnTo>
                    <a:lnTo>
                      <a:pt x="20" y="60"/>
                    </a:lnTo>
                    <a:lnTo>
                      <a:pt x="18" y="82"/>
                    </a:lnTo>
                    <a:lnTo>
                      <a:pt x="16" y="108"/>
                    </a:lnTo>
                    <a:lnTo>
                      <a:pt x="30" y="120"/>
                    </a:lnTo>
                    <a:lnTo>
                      <a:pt x="42" y="112"/>
                    </a:lnTo>
                    <a:lnTo>
                      <a:pt x="42" y="84"/>
                    </a:lnTo>
                    <a:lnTo>
                      <a:pt x="54" y="72"/>
                    </a:lnTo>
                    <a:lnTo>
                      <a:pt x="44" y="48"/>
                    </a:lnTo>
                    <a:lnTo>
                      <a:pt x="28" y="32"/>
                    </a:lnTo>
                    <a:lnTo>
                      <a:pt x="30" y="1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3" name="Freeform 199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 rot="698053">
                <a:off x="9377521" y="3625220"/>
                <a:ext cx="15419" cy="18352"/>
              </a:xfrm>
              <a:custGeom>
                <a:avLst/>
                <a:gdLst>
                  <a:gd name="T0" fmla="*/ 0 w 20"/>
                  <a:gd name="T1" fmla="*/ 0 h 24"/>
                  <a:gd name="T2" fmla="*/ 0 w 20"/>
                  <a:gd name="T3" fmla="*/ 18 h 24"/>
                  <a:gd name="T4" fmla="*/ 12 w 20"/>
                  <a:gd name="T5" fmla="*/ 24 h 24"/>
                  <a:gd name="T6" fmla="*/ 20 w 20"/>
                  <a:gd name="T7" fmla="*/ 14 h 24"/>
                  <a:gd name="T8" fmla="*/ 0 w 20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0" y="18"/>
                    </a:lnTo>
                    <a:lnTo>
                      <a:pt x="12" y="24"/>
                    </a:lnTo>
                    <a:lnTo>
                      <a:pt x="20" y="1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4" name="Freeform 200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 rot="698053">
                <a:off x="9097427" y="2691139"/>
                <a:ext cx="32024" cy="76844"/>
              </a:xfrm>
              <a:custGeom>
                <a:avLst/>
                <a:gdLst>
                  <a:gd name="T0" fmla="*/ 2 w 42"/>
                  <a:gd name="T1" fmla="*/ 8 h 104"/>
                  <a:gd name="T2" fmla="*/ 2 w 42"/>
                  <a:gd name="T3" fmla="*/ 32 h 104"/>
                  <a:gd name="T4" fmla="*/ 0 w 42"/>
                  <a:gd name="T5" fmla="*/ 56 h 104"/>
                  <a:gd name="T6" fmla="*/ 14 w 42"/>
                  <a:gd name="T7" fmla="*/ 64 h 104"/>
                  <a:gd name="T8" fmla="*/ 22 w 42"/>
                  <a:gd name="T9" fmla="*/ 76 h 104"/>
                  <a:gd name="T10" fmla="*/ 24 w 42"/>
                  <a:gd name="T11" fmla="*/ 98 h 104"/>
                  <a:gd name="T12" fmla="*/ 42 w 42"/>
                  <a:gd name="T13" fmla="*/ 104 h 104"/>
                  <a:gd name="T14" fmla="*/ 38 w 42"/>
                  <a:gd name="T15" fmla="*/ 84 h 104"/>
                  <a:gd name="T16" fmla="*/ 30 w 42"/>
                  <a:gd name="T17" fmla="*/ 68 h 104"/>
                  <a:gd name="T18" fmla="*/ 38 w 42"/>
                  <a:gd name="T19" fmla="*/ 40 h 104"/>
                  <a:gd name="T20" fmla="*/ 38 w 42"/>
                  <a:gd name="T21" fmla="*/ 8 h 104"/>
                  <a:gd name="T22" fmla="*/ 16 w 42"/>
                  <a:gd name="T23" fmla="*/ 0 h 104"/>
                  <a:gd name="T24" fmla="*/ 2 w 42"/>
                  <a:gd name="T25" fmla="*/ 8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104">
                    <a:moveTo>
                      <a:pt x="2" y="8"/>
                    </a:moveTo>
                    <a:lnTo>
                      <a:pt x="2" y="32"/>
                    </a:lnTo>
                    <a:lnTo>
                      <a:pt x="0" y="56"/>
                    </a:lnTo>
                    <a:lnTo>
                      <a:pt x="14" y="64"/>
                    </a:lnTo>
                    <a:lnTo>
                      <a:pt x="22" y="76"/>
                    </a:lnTo>
                    <a:lnTo>
                      <a:pt x="24" y="98"/>
                    </a:lnTo>
                    <a:lnTo>
                      <a:pt x="42" y="104"/>
                    </a:lnTo>
                    <a:lnTo>
                      <a:pt x="38" y="84"/>
                    </a:lnTo>
                    <a:lnTo>
                      <a:pt x="30" y="68"/>
                    </a:lnTo>
                    <a:lnTo>
                      <a:pt x="38" y="40"/>
                    </a:lnTo>
                    <a:lnTo>
                      <a:pt x="38" y="8"/>
                    </a:lnTo>
                    <a:lnTo>
                      <a:pt x="16" y="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5" name="Freeform 201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 rot="698053">
                <a:off x="9410086" y="2860095"/>
                <a:ext cx="62862" cy="17204"/>
              </a:xfrm>
              <a:custGeom>
                <a:avLst/>
                <a:gdLst>
                  <a:gd name="T0" fmla="*/ 16 w 82"/>
                  <a:gd name="T1" fmla="*/ 0 h 24"/>
                  <a:gd name="T2" fmla="*/ 0 w 82"/>
                  <a:gd name="T3" fmla="*/ 6 h 24"/>
                  <a:gd name="T4" fmla="*/ 8 w 82"/>
                  <a:gd name="T5" fmla="*/ 24 h 24"/>
                  <a:gd name="T6" fmla="*/ 36 w 82"/>
                  <a:gd name="T7" fmla="*/ 24 h 24"/>
                  <a:gd name="T8" fmla="*/ 64 w 82"/>
                  <a:gd name="T9" fmla="*/ 24 h 24"/>
                  <a:gd name="T10" fmla="*/ 82 w 82"/>
                  <a:gd name="T11" fmla="*/ 6 h 24"/>
                  <a:gd name="T12" fmla="*/ 60 w 82"/>
                  <a:gd name="T13" fmla="*/ 0 h 24"/>
                  <a:gd name="T14" fmla="*/ 38 w 82"/>
                  <a:gd name="T15" fmla="*/ 8 h 24"/>
                  <a:gd name="T16" fmla="*/ 16 w 82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" h="24">
                    <a:moveTo>
                      <a:pt x="16" y="0"/>
                    </a:moveTo>
                    <a:lnTo>
                      <a:pt x="0" y="6"/>
                    </a:lnTo>
                    <a:lnTo>
                      <a:pt x="8" y="24"/>
                    </a:lnTo>
                    <a:lnTo>
                      <a:pt x="36" y="24"/>
                    </a:lnTo>
                    <a:lnTo>
                      <a:pt x="64" y="24"/>
                    </a:lnTo>
                    <a:lnTo>
                      <a:pt x="82" y="6"/>
                    </a:lnTo>
                    <a:lnTo>
                      <a:pt x="60" y="0"/>
                    </a:lnTo>
                    <a:lnTo>
                      <a:pt x="38" y="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6" name="Freeform 202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 rot="698053">
                <a:off x="9495185" y="2825230"/>
                <a:ext cx="22535" cy="16057"/>
              </a:xfrm>
              <a:custGeom>
                <a:avLst/>
                <a:gdLst>
                  <a:gd name="T0" fmla="*/ 14 w 30"/>
                  <a:gd name="T1" fmla="*/ 4 h 22"/>
                  <a:gd name="T2" fmla="*/ 0 w 30"/>
                  <a:gd name="T3" fmla="*/ 14 h 22"/>
                  <a:gd name="T4" fmla="*/ 8 w 30"/>
                  <a:gd name="T5" fmla="*/ 22 h 22"/>
                  <a:gd name="T6" fmla="*/ 18 w 30"/>
                  <a:gd name="T7" fmla="*/ 12 h 22"/>
                  <a:gd name="T8" fmla="*/ 30 w 30"/>
                  <a:gd name="T9" fmla="*/ 0 h 22"/>
                  <a:gd name="T10" fmla="*/ 14 w 30"/>
                  <a:gd name="T11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22">
                    <a:moveTo>
                      <a:pt x="14" y="4"/>
                    </a:moveTo>
                    <a:lnTo>
                      <a:pt x="0" y="14"/>
                    </a:lnTo>
                    <a:lnTo>
                      <a:pt x="8" y="22"/>
                    </a:lnTo>
                    <a:lnTo>
                      <a:pt x="18" y="12"/>
                    </a:lnTo>
                    <a:lnTo>
                      <a:pt x="30" y="0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7" name="Freeform 203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 rot="698053">
                <a:off x="8376551" y="1607250"/>
                <a:ext cx="829066" cy="898316"/>
              </a:xfrm>
              <a:custGeom>
                <a:avLst/>
                <a:gdLst/>
                <a:ahLst/>
                <a:cxnLst/>
                <a:rect l="l" t="t" r="r" b="b"/>
                <a:pathLst>
                  <a:path w="1075293" h="1215468">
                    <a:moveTo>
                      <a:pt x="731438" y="0"/>
                    </a:moveTo>
                    <a:lnTo>
                      <a:pt x="955316" y="0"/>
                    </a:lnTo>
                    <a:lnTo>
                      <a:pt x="958025" y="6828"/>
                    </a:lnTo>
                    <a:cubicBezTo>
                      <a:pt x="958025" y="6828"/>
                      <a:pt x="958025" y="6828"/>
                      <a:pt x="930198" y="6828"/>
                    </a:cubicBezTo>
                    <a:cubicBezTo>
                      <a:pt x="930198" y="6828"/>
                      <a:pt x="930198" y="6828"/>
                      <a:pt x="930198" y="8331"/>
                    </a:cubicBezTo>
                    <a:lnTo>
                      <a:pt x="930198" y="18854"/>
                    </a:lnTo>
                    <a:cubicBezTo>
                      <a:pt x="930198" y="18854"/>
                      <a:pt x="930198" y="18854"/>
                      <a:pt x="954049" y="24867"/>
                    </a:cubicBezTo>
                    <a:cubicBezTo>
                      <a:pt x="954049" y="24867"/>
                      <a:pt x="954049" y="24867"/>
                      <a:pt x="942124" y="58942"/>
                    </a:cubicBezTo>
                    <a:cubicBezTo>
                      <a:pt x="942124" y="58942"/>
                      <a:pt x="942124" y="58942"/>
                      <a:pt x="910322" y="62950"/>
                    </a:cubicBezTo>
                    <a:cubicBezTo>
                      <a:pt x="910322" y="62950"/>
                      <a:pt x="910322" y="62950"/>
                      <a:pt x="882496" y="93016"/>
                    </a:cubicBezTo>
                    <a:cubicBezTo>
                      <a:pt x="882496" y="93016"/>
                      <a:pt x="882496" y="93016"/>
                      <a:pt x="868583" y="125086"/>
                    </a:cubicBezTo>
                    <a:cubicBezTo>
                      <a:pt x="868583" y="125086"/>
                      <a:pt x="868583" y="125086"/>
                      <a:pt x="840756" y="135108"/>
                    </a:cubicBezTo>
                    <a:cubicBezTo>
                      <a:pt x="840756" y="135108"/>
                      <a:pt x="840756" y="135108"/>
                      <a:pt x="838272" y="134106"/>
                    </a:cubicBezTo>
                    <a:lnTo>
                      <a:pt x="820880" y="127091"/>
                    </a:lnTo>
                    <a:cubicBezTo>
                      <a:pt x="820880" y="127091"/>
                      <a:pt x="820880" y="127091"/>
                      <a:pt x="795041" y="127091"/>
                    </a:cubicBezTo>
                    <a:cubicBezTo>
                      <a:pt x="795041" y="127091"/>
                      <a:pt x="795041" y="127091"/>
                      <a:pt x="773178" y="159161"/>
                    </a:cubicBezTo>
                    <a:cubicBezTo>
                      <a:pt x="773178" y="159161"/>
                      <a:pt x="773178" y="159161"/>
                      <a:pt x="783116" y="179204"/>
                    </a:cubicBezTo>
                    <a:cubicBezTo>
                      <a:pt x="783116" y="179204"/>
                      <a:pt x="783116" y="179204"/>
                      <a:pt x="783116" y="213279"/>
                    </a:cubicBezTo>
                    <a:cubicBezTo>
                      <a:pt x="783116" y="213279"/>
                      <a:pt x="783116" y="213279"/>
                      <a:pt x="761252" y="235327"/>
                    </a:cubicBezTo>
                    <a:cubicBezTo>
                      <a:pt x="761252" y="235327"/>
                      <a:pt x="761252" y="235327"/>
                      <a:pt x="759016" y="233824"/>
                    </a:cubicBezTo>
                    <a:lnTo>
                      <a:pt x="743364" y="223301"/>
                    </a:lnTo>
                    <a:cubicBezTo>
                      <a:pt x="743364" y="223301"/>
                      <a:pt x="743364" y="223301"/>
                      <a:pt x="741376" y="224804"/>
                    </a:cubicBezTo>
                    <a:lnTo>
                      <a:pt x="727463" y="235327"/>
                    </a:lnTo>
                    <a:cubicBezTo>
                      <a:pt x="727463" y="235327"/>
                      <a:pt x="727463" y="235327"/>
                      <a:pt x="701624" y="235327"/>
                    </a:cubicBezTo>
                    <a:cubicBezTo>
                      <a:pt x="701624" y="235327"/>
                      <a:pt x="701624" y="235327"/>
                      <a:pt x="699885" y="233824"/>
                    </a:cubicBezTo>
                    <a:lnTo>
                      <a:pt x="687711" y="223301"/>
                    </a:lnTo>
                    <a:cubicBezTo>
                      <a:pt x="687711" y="223301"/>
                      <a:pt x="687711" y="223301"/>
                      <a:pt x="685972" y="222299"/>
                    </a:cubicBezTo>
                    <a:lnTo>
                      <a:pt x="673797" y="215283"/>
                    </a:lnTo>
                    <a:cubicBezTo>
                      <a:pt x="673797" y="215283"/>
                      <a:pt x="673797" y="215283"/>
                      <a:pt x="673549" y="217037"/>
                    </a:cubicBezTo>
                    <a:lnTo>
                      <a:pt x="671810" y="229314"/>
                    </a:lnTo>
                    <a:cubicBezTo>
                      <a:pt x="671810" y="229314"/>
                      <a:pt x="671810" y="229314"/>
                      <a:pt x="673052" y="230567"/>
                    </a:cubicBezTo>
                    <a:lnTo>
                      <a:pt x="681748" y="239336"/>
                    </a:lnTo>
                    <a:cubicBezTo>
                      <a:pt x="681748" y="239336"/>
                      <a:pt x="681748" y="239336"/>
                      <a:pt x="680257" y="239837"/>
                    </a:cubicBezTo>
                    <a:lnTo>
                      <a:pt x="669822" y="243345"/>
                    </a:lnTo>
                    <a:cubicBezTo>
                      <a:pt x="669822" y="243345"/>
                      <a:pt x="669822" y="243345"/>
                      <a:pt x="668828" y="244347"/>
                    </a:cubicBezTo>
                    <a:lnTo>
                      <a:pt x="661872" y="251362"/>
                    </a:lnTo>
                    <a:cubicBezTo>
                      <a:pt x="661872" y="251362"/>
                      <a:pt x="661872" y="251362"/>
                      <a:pt x="685723" y="255371"/>
                    </a:cubicBezTo>
                    <a:cubicBezTo>
                      <a:pt x="685723" y="255371"/>
                      <a:pt x="685723" y="255371"/>
                      <a:pt x="685723" y="257626"/>
                    </a:cubicBezTo>
                    <a:lnTo>
                      <a:pt x="685723" y="273410"/>
                    </a:lnTo>
                    <a:cubicBezTo>
                      <a:pt x="685723" y="273410"/>
                      <a:pt x="685723" y="273410"/>
                      <a:pt x="687959" y="275665"/>
                    </a:cubicBezTo>
                    <a:lnTo>
                      <a:pt x="703612" y="291450"/>
                    </a:lnTo>
                    <a:cubicBezTo>
                      <a:pt x="703612" y="291450"/>
                      <a:pt x="703612" y="291450"/>
                      <a:pt x="731438" y="283432"/>
                    </a:cubicBezTo>
                    <a:cubicBezTo>
                      <a:pt x="731438" y="283432"/>
                      <a:pt x="731438" y="283432"/>
                      <a:pt x="733923" y="283432"/>
                    </a:cubicBezTo>
                    <a:lnTo>
                      <a:pt x="751314" y="283432"/>
                    </a:lnTo>
                    <a:cubicBezTo>
                      <a:pt x="751314" y="283432"/>
                      <a:pt x="751314" y="283432"/>
                      <a:pt x="753302" y="309489"/>
                    </a:cubicBezTo>
                    <a:cubicBezTo>
                      <a:pt x="753302" y="309489"/>
                      <a:pt x="753302" y="309489"/>
                      <a:pt x="754792" y="307986"/>
                    </a:cubicBezTo>
                    <a:lnTo>
                      <a:pt x="765227" y="297463"/>
                    </a:lnTo>
                    <a:cubicBezTo>
                      <a:pt x="765227" y="297463"/>
                      <a:pt x="765227" y="297463"/>
                      <a:pt x="785103" y="317507"/>
                    </a:cubicBezTo>
                    <a:cubicBezTo>
                      <a:pt x="785103" y="317507"/>
                      <a:pt x="785103" y="317507"/>
                      <a:pt x="806967" y="339555"/>
                    </a:cubicBezTo>
                    <a:cubicBezTo>
                      <a:pt x="806967" y="339555"/>
                      <a:pt x="806967" y="339555"/>
                      <a:pt x="818892" y="379642"/>
                    </a:cubicBezTo>
                    <a:cubicBezTo>
                      <a:pt x="818892" y="379642"/>
                      <a:pt x="818892" y="379642"/>
                      <a:pt x="822868" y="409708"/>
                    </a:cubicBezTo>
                    <a:cubicBezTo>
                      <a:pt x="822868" y="409708"/>
                      <a:pt x="822868" y="409708"/>
                      <a:pt x="802992" y="443782"/>
                    </a:cubicBezTo>
                    <a:cubicBezTo>
                      <a:pt x="802992" y="443782"/>
                      <a:pt x="802992" y="443782"/>
                      <a:pt x="800507" y="443782"/>
                    </a:cubicBezTo>
                    <a:lnTo>
                      <a:pt x="783116" y="443782"/>
                    </a:lnTo>
                    <a:cubicBezTo>
                      <a:pt x="783116" y="443782"/>
                      <a:pt x="783116" y="443782"/>
                      <a:pt x="755289" y="455809"/>
                    </a:cubicBezTo>
                    <a:cubicBezTo>
                      <a:pt x="755289" y="455809"/>
                      <a:pt x="755289" y="455809"/>
                      <a:pt x="745351" y="477857"/>
                    </a:cubicBezTo>
                    <a:cubicBezTo>
                      <a:pt x="745351" y="477857"/>
                      <a:pt x="745351" y="477857"/>
                      <a:pt x="767215" y="467835"/>
                    </a:cubicBezTo>
                    <a:cubicBezTo>
                      <a:pt x="767215" y="467835"/>
                      <a:pt x="767215" y="467835"/>
                      <a:pt x="769202" y="467835"/>
                    </a:cubicBezTo>
                    <a:lnTo>
                      <a:pt x="783116" y="467835"/>
                    </a:lnTo>
                    <a:cubicBezTo>
                      <a:pt x="783116" y="467835"/>
                      <a:pt x="783116" y="467835"/>
                      <a:pt x="761252" y="493892"/>
                    </a:cubicBezTo>
                    <a:cubicBezTo>
                      <a:pt x="761252" y="493892"/>
                      <a:pt x="761252" y="493892"/>
                      <a:pt x="762991" y="495646"/>
                    </a:cubicBezTo>
                    <a:lnTo>
                      <a:pt x="775165" y="507923"/>
                    </a:lnTo>
                    <a:cubicBezTo>
                      <a:pt x="775165" y="507923"/>
                      <a:pt x="775165" y="507923"/>
                      <a:pt x="777153" y="506920"/>
                    </a:cubicBezTo>
                    <a:lnTo>
                      <a:pt x="791066" y="499905"/>
                    </a:lnTo>
                    <a:cubicBezTo>
                      <a:pt x="791066" y="499905"/>
                      <a:pt x="791066" y="499905"/>
                      <a:pt x="791066" y="475852"/>
                    </a:cubicBezTo>
                    <a:cubicBezTo>
                      <a:pt x="791066" y="475852"/>
                      <a:pt x="791066" y="475852"/>
                      <a:pt x="793054" y="474349"/>
                    </a:cubicBezTo>
                    <a:lnTo>
                      <a:pt x="806967" y="463826"/>
                    </a:lnTo>
                    <a:cubicBezTo>
                      <a:pt x="806967" y="463826"/>
                      <a:pt x="806967" y="463826"/>
                      <a:pt x="836781" y="461822"/>
                    </a:cubicBezTo>
                    <a:cubicBezTo>
                      <a:pt x="836781" y="461822"/>
                      <a:pt x="836781" y="461822"/>
                      <a:pt x="838768" y="459817"/>
                    </a:cubicBezTo>
                    <a:lnTo>
                      <a:pt x="852682" y="445787"/>
                    </a:lnTo>
                    <a:cubicBezTo>
                      <a:pt x="852682" y="445787"/>
                      <a:pt x="852682" y="445787"/>
                      <a:pt x="853676" y="444033"/>
                    </a:cubicBezTo>
                    <a:lnTo>
                      <a:pt x="860632" y="431756"/>
                    </a:lnTo>
                    <a:cubicBezTo>
                      <a:pt x="860632" y="431756"/>
                      <a:pt x="860632" y="431756"/>
                      <a:pt x="863117" y="432007"/>
                    </a:cubicBezTo>
                    <a:lnTo>
                      <a:pt x="880508" y="433761"/>
                    </a:lnTo>
                    <a:cubicBezTo>
                      <a:pt x="880508" y="433761"/>
                      <a:pt x="880508" y="433761"/>
                      <a:pt x="882496" y="433510"/>
                    </a:cubicBezTo>
                    <a:lnTo>
                      <a:pt x="896409" y="431756"/>
                    </a:lnTo>
                    <a:cubicBezTo>
                      <a:pt x="896409" y="431756"/>
                      <a:pt x="896409" y="431756"/>
                      <a:pt x="926223" y="429752"/>
                    </a:cubicBezTo>
                    <a:cubicBezTo>
                      <a:pt x="926223" y="429752"/>
                      <a:pt x="926223" y="429752"/>
                      <a:pt x="926223" y="432007"/>
                    </a:cubicBezTo>
                    <a:lnTo>
                      <a:pt x="926223" y="447791"/>
                    </a:lnTo>
                    <a:cubicBezTo>
                      <a:pt x="926223" y="447791"/>
                      <a:pt x="926223" y="447791"/>
                      <a:pt x="950074" y="447791"/>
                    </a:cubicBezTo>
                    <a:cubicBezTo>
                      <a:pt x="950074" y="447791"/>
                      <a:pt x="950074" y="447791"/>
                      <a:pt x="950820" y="446288"/>
                    </a:cubicBezTo>
                    <a:lnTo>
                      <a:pt x="956037" y="435765"/>
                    </a:lnTo>
                    <a:cubicBezTo>
                      <a:pt x="956037" y="435765"/>
                      <a:pt x="956037" y="435765"/>
                      <a:pt x="979888" y="435765"/>
                    </a:cubicBezTo>
                    <a:cubicBezTo>
                      <a:pt x="979888" y="435765"/>
                      <a:pt x="979888" y="435765"/>
                      <a:pt x="981627" y="434011"/>
                    </a:cubicBezTo>
                    <a:lnTo>
                      <a:pt x="993801" y="421734"/>
                    </a:lnTo>
                    <a:cubicBezTo>
                      <a:pt x="993801" y="421734"/>
                      <a:pt x="993801" y="421734"/>
                      <a:pt x="995789" y="421484"/>
                    </a:cubicBezTo>
                    <a:lnTo>
                      <a:pt x="1009702" y="419730"/>
                    </a:lnTo>
                    <a:cubicBezTo>
                      <a:pt x="1009702" y="419730"/>
                      <a:pt x="1009702" y="419730"/>
                      <a:pt x="1011690" y="421233"/>
                    </a:cubicBezTo>
                    <a:lnTo>
                      <a:pt x="1025603" y="431756"/>
                    </a:lnTo>
                    <a:cubicBezTo>
                      <a:pt x="1025603" y="431756"/>
                      <a:pt x="1025603" y="431756"/>
                      <a:pt x="1028088" y="429752"/>
                    </a:cubicBezTo>
                    <a:lnTo>
                      <a:pt x="1045479" y="415721"/>
                    </a:lnTo>
                    <a:cubicBezTo>
                      <a:pt x="1045479" y="415721"/>
                      <a:pt x="1045479" y="415721"/>
                      <a:pt x="1055417" y="437769"/>
                    </a:cubicBezTo>
                    <a:cubicBezTo>
                      <a:pt x="1055417" y="437769"/>
                      <a:pt x="1055417" y="437769"/>
                      <a:pt x="1075293" y="457813"/>
                    </a:cubicBezTo>
                    <a:cubicBezTo>
                      <a:pt x="1075293" y="457813"/>
                      <a:pt x="1075293" y="457813"/>
                      <a:pt x="1075293" y="485874"/>
                    </a:cubicBezTo>
                    <a:cubicBezTo>
                      <a:pt x="1075293" y="485874"/>
                      <a:pt x="1075293" y="485874"/>
                      <a:pt x="1049454" y="495896"/>
                    </a:cubicBezTo>
                    <a:cubicBezTo>
                      <a:pt x="1049454" y="495896"/>
                      <a:pt x="1049454" y="495896"/>
                      <a:pt x="1031566" y="533979"/>
                    </a:cubicBezTo>
                    <a:cubicBezTo>
                      <a:pt x="1031566" y="533979"/>
                      <a:pt x="1031566" y="533979"/>
                      <a:pt x="1003740" y="533979"/>
                    </a:cubicBezTo>
                    <a:cubicBezTo>
                      <a:pt x="1003740" y="533979"/>
                      <a:pt x="1003740" y="533979"/>
                      <a:pt x="1002746" y="535483"/>
                    </a:cubicBezTo>
                    <a:lnTo>
                      <a:pt x="995789" y="546006"/>
                    </a:lnTo>
                    <a:cubicBezTo>
                      <a:pt x="995789" y="546006"/>
                      <a:pt x="995789" y="546006"/>
                      <a:pt x="1027591" y="566050"/>
                    </a:cubicBezTo>
                    <a:cubicBezTo>
                      <a:pt x="1027591" y="566050"/>
                      <a:pt x="1027591" y="566050"/>
                      <a:pt x="1026348" y="567302"/>
                    </a:cubicBezTo>
                    <a:lnTo>
                      <a:pt x="1017653" y="576071"/>
                    </a:lnTo>
                    <a:cubicBezTo>
                      <a:pt x="1017653" y="576071"/>
                      <a:pt x="1017653" y="576071"/>
                      <a:pt x="1039516" y="612150"/>
                    </a:cubicBezTo>
                    <a:cubicBezTo>
                      <a:pt x="1039516" y="612150"/>
                      <a:pt x="1039516" y="612150"/>
                      <a:pt x="1049454" y="654242"/>
                    </a:cubicBezTo>
                    <a:cubicBezTo>
                      <a:pt x="1049454" y="654242"/>
                      <a:pt x="1049454" y="654242"/>
                      <a:pt x="1049454" y="702347"/>
                    </a:cubicBezTo>
                    <a:lnTo>
                      <a:pt x="1033554" y="722391"/>
                    </a:lnTo>
                    <a:cubicBezTo>
                      <a:pt x="1033554" y="722391"/>
                      <a:pt x="1033554" y="722391"/>
                      <a:pt x="1011690" y="724395"/>
                    </a:cubicBezTo>
                    <a:cubicBezTo>
                      <a:pt x="1011690" y="724395"/>
                      <a:pt x="1011690" y="724395"/>
                      <a:pt x="1009454" y="722391"/>
                    </a:cubicBezTo>
                    <a:lnTo>
                      <a:pt x="993801" y="708360"/>
                    </a:lnTo>
                    <a:cubicBezTo>
                      <a:pt x="993801" y="708360"/>
                      <a:pt x="993801" y="708360"/>
                      <a:pt x="991317" y="709112"/>
                    </a:cubicBezTo>
                    <a:lnTo>
                      <a:pt x="973925" y="714374"/>
                    </a:lnTo>
                    <a:cubicBezTo>
                      <a:pt x="973925" y="714374"/>
                      <a:pt x="973925" y="714374"/>
                      <a:pt x="969950" y="748448"/>
                    </a:cubicBezTo>
                    <a:cubicBezTo>
                      <a:pt x="969950" y="748448"/>
                      <a:pt x="969950" y="748448"/>
                      <a:pt x="960012" y="782522"/>
                    </a:cubicBezTo>
                    <a:cubicBezTo>
                      <a:pt x="960012" y="782522"/>
                      <a:pt x="960012" y="782522"/>
                      <a:pt x="940136" y="814592"/>
                    </a:cubicBezTo>
                    <a:cubicBezTo>
                      <a:pt x="940136" y="814592"/>
                      <a:pt x="940136" y="814592"/>
                      <a:pt x="941378" y="816597"/>
                    </a:cubicBezTo>
                    <a:lnTo>
                      <a:pt x="950074" y="830627"/>
                    </a:lnTo>
                    <a:cubicBezTo>
                      <a:pt x="950074" y="830627"/>
                      <a:pt x="950074" y="830627"/>
                      <a:pt x="938149" y="872719"/>
                    </a:cubicBezTo>
                    <a:cubicBezTo>
                      <a:pt x="938149" y="872719"/>
                      <a:pt x="938149" y="872719"/>
                      <a:pt x="924235" y="902785"/>
                    </a:cubicBezTo>
                    <a:cubicBezTo>
                      <a:pt x="924235" y="902785"/>
                      <a:pt x="924235" y="902785"/>
                      <a:pt x="902372" y="916816"/>
                    </a:cubicBezTo>
                    <a:cubicBezTo>
                      <a:pt x="902372" y="916816"/>
                      <a:pt x="902372" y="916816"/>
                      <a:pt x="900384" y="914811"/>
                    </a:cubicBezTo>
                    <a:lnTo>
                      <a:pt x="886471" y="900781"/>
                    </a:lnTo>
                    <a:cubicBezTo>
                      <a:pt x="886471" y="900781"/>
                      <a:pt x="886471" y="900781"/>
                      <a:pt x="883987" y="901532"/>
                    </a:cubicBezTo>
                    <a:lnTo>
                      <a:pt x="866595" y="906794"/>
                    </a:lnTo>
                    <a:cubicBezTo>
                      <a:pt x="866595" y="906794"/>
                      <a:pt x="866595" y="906794"/>
                      <a:pt x="848707" y="926838"/>
                    </a:cubicBezTo>
                    <a:cubicBezTo>
                      <a:pt x="848707" y="926838"/>
                      <a:pt x="848707" y="926838"/>
                      <a:pt x="826843" y="930846"/>
                    </a:cubicBezTo>
                    <a:cubicBezTo>
                      <a:pt x="826843" y="930846"/>
                      <a:pt x="826843" y="930846"/>
                      <a:pt x="804979" y="956903"/>
                    </a:cubicBezTo>
                    <a:cubicBezTo>
                      <a:pt x="804979" y="956903"/>
                      <a:pt x="804979" y="956903"/>
                      <a:pt x="802992" y="954899"/>
                    </a:cubicBezTo>
                    <a:lnTo>
                      <a:pt x="789078" y="940868"/>
                    </a:lnTo>
                    <a:cubicBezTo>
                      <a:pt x="789078" y="940868"/>
                      <a:pt x="789078" y="940868"/>
                      <a:pt x="781128" y="918820"/>
                    </a:cubicBezTo>
                    <a:cubicBezTo>
                      <a:pt x="781128" y="918820"/>
                      <a:pt x="781128" y="918820"/>
                      <a:pt x="771190" y="896772"/>
                    </a:cubicBezTo>
                    <a:cubicBezTo>
                      <a:pt x="771190" y="896772"/>
                      <a:pt x="771190" y="896772"/>
                      <a:pt x="763240" y="870715"/>
                    </a:cubicBezTo>
                    <a:cubicBezTo>
                      <a:pt x="763240" y="870715"/>
                      <a:pt x="763240" y="870715"/>
                      <a:pt x="761252" y="869963"/>
                    </a:cubicBezTo>
                    <a:lnTo>
                      <a:pt x="747339" y="864702"/>
                    </a:lnTo>
                    <a:cubicBezTo>
                      <a:pt x="747339" y="864702"/>
                      <a:pt x="747339" y="864702"/>
                      <a:pt x="723488" y="880737"/>
                    </a:cubicBezTo>
                    <a:cubicBezTo>
                      <a:pt x="723488" y="880737"/>
                      <a:pt x="723488" y="880737"/>
                      <a:pt x="721749" y="882491"/>
                    </a:cubicBezTo>
                    <a:lnTo>
                      <a:pt x="709574" y="894768"/>
                    </a:lnTo>
                    <a:cubicBezTo>
                      <a:pt x="709574" y="894768"/>
                      <a:pt x="709574" y="894768"/>
                      <a:pt x="707338" y="893765"/>
                    </a:cubicBezTo>
                    <a:lnTo>
                      <a:pt x="691686" y="886750"/>
                    </a:lnTo>
                    <a:cubicBezTo>
                      <a:pt x="691686" y="886750"/>
                      <a:pt x="691686" y="886750"/>
                      <a:pt x="659884" y="890759"/>
                    </a:cubicBezTo>
                    <a:cubicBezTo>
                      <a:pt x="659884" y="890759"/>
                      <a:pt x="659884" y="890759"/>
                      <a:pt x="665847" y="910803"/>
                    </a:cubicBezTo>
                    <a:cubicBezTo>
                      <a:pt x="665847" y="910803"/>
                      <a:pt x="665847" y="910803"/>
                      <a:pt x="664605" y="912807"/>
                    </a:cubicBezTo>
                    <a:lnTo>
                      <a:pt x="655909" y="926838"/>
                    </a:lnTo>
                    <a:cubicBezTo>
                      <a:pt x="655909" y="926838"/>
                      <a:pt x="655909" y="926838"/>
                      <a:pt x="654170" y="926336"/>
                    </a:cubicBezTo>
                    <a:lnTo>
                      <a:pt x="641996" y="922829"/>
                    </a:lnTo>
                    <a:cubicBezTo>
                      <a:pt x="641996" y="922829"/>
                      <a:pt x="641996" y="922829"/>
                      <a:pt x="610194" y="932851"/>
                    </a:cubicBezTo>
                    <a:cubicBezTo>
                      <a:pt x="610194" y="932851"/>
                      <a:pt x="610194" y="932851"/>
                      <a:pt x="610194" y="956903"/>
                    </a:cubicBezTo>
                    <a:cubicBezTo>
                      <a:pt x="610194" y="956903"/>
                      <a:pt x="610194" y="956903"/>
                      <a:pt x="607958" y="958657"/>
                    </a:cubicBezTo>
                    <a:lnTo>
                      <a:pt x="592306" y="970934"/>
                    </a:lnTo>
                    <a:cubicBezTo>
                      <a:pt x="592306" y="970934"/>
                      <a:pt x="592306" y="970934"/>
                      <a:pt x="586343" y="994986"/>
                    </a:cubicBezTo>
                    <a:cubicBezTo>
                      <a:pt x="586343" y="994986"/>
                      <a:pt x="586343" y="994986"/>
                      <a:pt x="564479" y="992982"/>
                    </a:cubicBezTo>
                    <a:cubicBezTo>
                      <a:pt x="564479" y="992982"/>
                      <a:pt x="564479" y="992982"/>
                      <a:pt x="561995" y="994736"/>
                    </a:cubicBezTo>
                    <a:lnTo>
                      <a:pt x="544603" y="1007013"/>
                    </a:lnTo>
                    <a:cubicBezTo>
                      <a:pt x="544603" y="1007013"/>
                      <a:pt x="544603" y="1007013"/>
                      <a:pt x="543858" y="1007764"/>
                    </a:cubicBezTo>
                    <a:lnTo>
                      <a:pt x="538641" y="1013026"/>
                    </a:lnTo>
                    <a:cubicBezTo>
                      <a:pt x="538641" y="1013026"/>
                      <a:pt x="538641" y="1013026"/>
                      <a:pt x="539883" y="1014279"/>
                    </a:cubicBezTo>
                    <a:lnTo>
                      <a:pt x="548579" y="1023048"/>
                    </a:lnTo>
                    <a:cubicBezTo>
                      <a:pt x="548579" y="1023048"/>
                      <a:pt x="548579" y="1023048"/>
                      <a:pt x="546840" y="1024802"/>
                    </a:cubicBezTo>
                    <a:lnTo>
                      <a:pt x="534665" y="1037078"/>
                    </a:lnTo>
                    <a:cubicBezTo>
                      <a:pt x="534665" y="1037078"/>
                      <a:pt x="534665" y="1037078"/>
                      <a:pt x="512802" y="1049105"/>
                    </a:cubicBezTo>
                    <a:cubicBezTo>
                      <a:pt x="512802" y="1049105"/>
                      <a:pt x="512802" y="1049105"/>
                      <a:pt x="500876" y="1073157"/>
                    </a:cubicBezTo>
                    <a:cubicBezTo>
                      <a:pt x="500876" y="1073157"/>
                      <a:pt x="500876" y="1073157"/>
                      <a:pt x="500876" y="1097210"/>
                    </a:cubicBezTo>
                    <a:cubicBezTo>
                      <a:pt x="500876" y="1097210"/>
                      <a:pt x="500876" y="1097210"/>
                      <a:pt x="502118" y="1098463"/>
                    </a:cubicBezTo>
                    <a:lnTo>
                      <a:pt x="510814" y="1107232"/>
                    </a:lnTo>
                    <a:cubicBezTo>
                      <a:pt x="510814" y="1107232"/>
                      <a:pt x="510814" y="1107232"/>
                      <a:pt x="486963" y="1139302"/>
                    </a:cubicBezTo>
                    <a:cubicBezTo>
                      <a:pt x="486963" y="1139302"/>
                      <a:pt x="486963" y="1139302"/>
                      <a:pt x="467087" y="1159345"/>
                    </a:cubicBezTo>
                    <a:cubicBezTo>
                      <a:pt x="467087" y="1159345"/>
                      <a:pt x="467087" y="1159345"/>
                      <a:pt x="425347" y="1151328"/>
                    </a:cubicBezTo>
                    <a:cubicBezTo>
                      <a:pt x="425347" y="1151328"/>
                      <a:pt x="425347" y="1151328"/>
                      <a:pt x="397521" y="1191416"/>
                    </a:cubicBezTo>
                    <a:cubicBezTo>
                      <a:pt x="397521" y="1191416"/>
                      <a:pt x="397521" y="1191416"/>
                      <a:pt x="365719" y="1195424"/>
                    </a:cubicBezTo>
                    <a:cubicBezTo>
                      <a:pt x="365719" y="1195424"/>
                      <a:pt x="365719" y="1195424"/>
                      <a:pt x="337893" y="1189411"/>
                    </a:cubicBezTo>
                    <a:cubicBezTo>
                      <a:pt x="337893" y="1189411"/>
                      <a:pt x="337893" y="1189411"/>
                      <a:pt x="336899" y="1191416"/>
                    </a:cubicBezTo>
                    <a:lnTo>
                      <a:pt x="329942" y="1205446"/>
                    </a:lnTo>
                    <a:cubicBezTo>
                      <a:pt x="329942" y="1205446"/>
                      <a:pt x="329942" y="1205446"/>
                      <a:pt x="304103" y="1215468"/>
                    </a:cubicBezTo>
                    <a:cubicBezTo>
                      <a:pt x="304103" y="1215468"/>
                      <a:pt x="304103" y="1215468"/>
                      <a:pt x="282240" y="1215468"/>
                    </a:cubicBezTo>
                    <a:cubicBezTo>
                      <a:pt x="282240" y="1215468"/>
                      <a:pt x="282240" y="1215468"/>
                      <a:pt x="264351" y="1193420"/>
                    </a:cubicBezTo>
                    <a:cubicBezTo>
                      <a:pt x="264351" y="1193420"/>
                      <a:pt x="264351" y="1193420"/>
                      <a:pt x="262861" y="1191666"/>
                    </a:cubicBezTo>
                    <a:lnTo>
                      <a:pt x="252426" y="1179389"/>
                    </a:lnTo>
                    <a:cubicBezTo>
                      <a:pt x="252426" y="1179389"/>
                      <a:pt x="252426" y="1179389"/>
                      <a:pt x="222612" y="1191416"/>
                    </a:cubicBezTo>
                    <a:cubicBezTo>
                      <a:pt x="222612" y="1191416"/>
                      <a:pt x="222612" y="1191416"/>
                      <a:pt x="220624" y="1191416"/>
                    </a:cubicBezTo>
                    <a:lnTo>
                      <a:pt x="206711" y="1191416"/>
                    </a:lnTo>
                    <a:cubicBezTo>
                      <a:pt x="206711" y="1191416"/>
                      <a:pt x="206711" y="1191416"/>
                      <a:pt x="192798" y="1163354"/>
                    </a:cubicBezTo>
                    <a:cubicBezTo>
                      <a:pt x="192798" y="1163354"/>
                      <a:pt x="192798" y="1163354"/>
                      <a:pt x="190810" y="1161350"/>
                    </a:cubicBezTo>
                    <a:lnTo>
                      <a:pt x="176897" y="1147319"/>
                    </a:lnTo>
                    <a:cubicBezTo>
                      <a:pt x="176897" y="1147319"/>
                      <a:pt x="176897" y="1147319"/>
                      <a:pt x="155033" y="1147319"/>
                    </a:cubicBezTo>
                    <a:cubicBezTo>
                      <a:pt x="155033" y="1147319"/>
                      <a:pt x="155033" y="1147319"/>
                      <a:pt x="127207" y="1157341"/>
                    </a:cubicBezTo>
                    <a:cubicBezTo>
                      <a:pt x="127207" y="1157341"/>
                      <a:pt x="127207" y="1157341"/>
                      <a:pt x="103356" y="1145315"/>
                    </a:cubicBezTo>
                    <a:cubicBezTo>
                      <a:pt x="103356" y="1145315"/>
                      <a:pt x="103356" y="1145315"/>
                      <a:pt x="77517" y="1141306"/>
                    </a:cubicBezTo>
                    <a:cubicBezTo>
                      <a:pt x="77517" y="1141306"/>
                      <a:pt x="77517" y="1141306"/>
                      <a:pt x="77517" y="1111240"/>
                    </a:cubicBezTo>
                    <a:cubicBezTo>
                      <a:pt x="77517" y="1111240"/>
                      <a:pt x="77517" y="1111240"/>
                      <a:pt x="55653" y="1099214"/>
                    </a:cubicBezTo>
                    <a:cubicBezTo>
                      <a:pt x="55653" y="1099214"/>
                      <a:pt x="55653" y="1099214"/>
                      <a:pt x="45715" y="1071153"/>
                    </a:cubicBezTo>
                    <a:cubicBezTo>
                      <a:pt x="45715" y="1071153"/>
                      <a:pt x="45715" y="1071153"/>
                      <a:pt x="61616" y="1047100"/>
                    </a:cubicBezTo>
                    <a:cubicBezTo>
                      <a:pt x="61616" y="1047100"/>
                      <a:pt x="61616" y="1047100"/>
                      <a:pt x="61616" y="1019039"/>
                    </a:cubicBezTo>
                    <a:cubicBezTo>
                      <a:pt x="61616" y="1019039"/>
                      <a:pt x="61616" y="1019039"/>
                      <a:pt x="63852" y="1017536"/>
                    </a:cubicBezTo>
                    <a:lnTo>
                      <a:pt x="79504" y="1007013"/>
                    </a:lnTo>
                    <a:cubicBezTo>
                      <a:pt x="79504" y="1007013"/>
                      <a:pt x="79504" y="1007013"/>
                      <a:pt x="79504" y="980956"/>
                    </a:cubicBezTo>
                    <a:cubicBezTo>
                      <a:pt x="79504" y="980956"/>
                      <a:pt x="79504" y="980956"/>
                      <a:pt x="91430" y="948886"/>
                    </a:cubicBezTo>
                    <a:cubicBezTo>
                      <a:pt x="91430" y="948886"/>
                      <a:pt x="91430" y="948886"/>
                      <a:pt x="119256" y="926838"/>
                    </a:cubicBezTo>
                    <a:cubicBezTo>
                      <a:pt x="119256" y="926838"/>
                      <a:pt x="119256" y="926838"/>
                      <a:pt x="97393" y="892763"/>
                    </a:cubicBezTo>
                    <a:cubicBezTo>
                      <a:pt x="97393" y="892763"/>
                      <a:pt x="97393" y="892763"/>
                      <a:pt x="73542" y="882741"/>
                    </a:cubicBezTo>
                    <a:cubicBezTo>
                      <a:pt x="73542" y="882741"/>
                      <a:pt x="73542" y="882741"/>
                      <a:pt x="72796" y="880737"/>
                    </a:cubicBezTo>
                    <a:lnTo>
                      <a:pt x="67579" y="866706"/>
                    </a:lnTo>
                    <a:cubicBezTo>
                      <a:pt x="67579" y="866706"/>
                      <a:pt x="67579" y="866706"/>
                      <a:pt x="41740" y="862697"/>
                    </a:cubicBezTo>
                    <a:cubicBezTo>
                      <a:pt x="41740" y="862697"/>
                      <a:pt x="41740" y="862697"/>
                      <a:pt x="9938" y="852676"/>
                    </a:cubicBezTo>
                    <a:cubicBezTo>
                      <a:pt x="9938" y="852676"/>
                      <a:pt x="9938" y="852676"/>
                      <a:pt x="8696" y="850671"/>
                    </a:cubicBezTo>
                    <a:lnTo>
                      <a:pt x="0" y="836641"/>
                    </a:lnTo>
                    <a:cubicBezTo>
                      <a:pt x="0" y="836641"/>
                      <a:pt x="0" y="836641"/>
                      <a:pt x="0" y="792544"/>
                    </a:cubicBezTo>
                    <a:cubicBezTo>
                      <a:pt x="0" y="792544"/>
                      <a:pt x="0" y="792544"/>
                      <a:pt x="11926" y="770496"/>
                    </a:cubicBezTo>
                    <a:cubicBezTo>
                      <a:pt x="11926" y="770496"/>
                      <a:pt x="11926" y="770496"/>
                      <a:pt x="14410" y="770496"/>
                    </a:cubicBezTo>
                    <a:lnTo>
                      <a:pt x="31802" y="770496"/>
                    </a:lnTo>
                    <a:cubicBezTo>
                      <a:pt x="31802" y="770496"/>
                      <a:pt x="31802" y="770496"/>
                      <a:pt x="33789" y="768241"/>
                    </a:cubicBezTo>
                    <a:lnTo>
                      <a:pt x="47703" y="752457"/>
                    </a:lnTo>
                    <a:cubicBezTo>
                      <a:pt x="47703" y="752457"/>
                      <a:pt x="47703" y="752457"/>
                      <a:pt x="47703" y="726400"/>
                    </a:cubicBezTo>
                    <a:cubicBezTo>
                      <a:pt x="47703" y="726400"/>
                      <a:pt x="47703" y="726400"/>
                      <a:pt x="81492" y="702347"/>
                    </a:cubicBezTo>
                    <a:cubicBezTo>
                      <a:pt x="81492" y="702347"/>
                      <a:pt x="81492" y="702347"/>
                      <a:pt x="89442" y="670277"/>
                    </a:cubicBezTo>
                    <a:cubicBezTo>
                      <a:pt x="89442" y="670277"/>
                      <a:pt x="89442" y="670277"/>
                      <a:pt x="87703" y="668523"/>
                    </a:cubicBezTo>
                    <a:lnTo>
                      <a:pt x="75529" y="656247"/>
                    </a:lnTo>
                    <a:cubicBezTo>
                      <a:pt x="75529" y="656247"/>
                      <a:pt x="75529" y="656247"/>
                      <a:pt x="76275" y="654242"/>
                    </a:cubicBezTo>
                    <a:lnTo>
                      <a:pt x="81492" y="640212"/>
                    </a:lnTo>
                    <a:cubicBezTo>
                      <a:pt x="81492" y="640212"/>
                      <a:pt x="81492" y="640212"/>
                      <a:pt x="63604" y="614155"/>
                    </a:cubicBezTo>
                    <a:cubicBezTo>
                      <a:pt x="63604" y="614155"/>
                      <a:pt x="63604" y="614155"/>
                      <a:pt x="77517" y="588098"/>
                    </a:cubicBezTo>
                    <a:cubicBezTo>
                      <a:pt x="77517" y="588098"/>
                      <a:pt x="77517" y="588098"/>
                      <a:pt x="79256" y="586344"/>
                    </a:cubicBezTo>
                    <a:lnTo>
                      <a:pt x="91430" y="574067"/>
                    </a:lnTo>
                    <a:cubicBezTo>
                      <a:pt x="91430" y="574067"/>
                      <a:pt x="91430" y="574067"/>
                      <a:pt x="117269" y="598120"/>
                    </a:cubicBezTo>
                    <a:cubicBezTo>
                      <a:pt x="117269" y="598120"/>
                      <a:pt x="117269" y="598120"/>
                      <a:pt x="97393" y="618163"/>
                    </a:cubicBezTo>
                    <a:cubicBezTo>
                      <a:pt x="97393" y="618163"/>
                      <a:pt x="97393" y="618163"/>
                      <a:pt x="117269" y="638207"/>
                    </a:cubicBezTo>
                    <a:cubicBezTo>
                      <a:pt x="117269" y="638207"/>
                      <a:pt x="117269" y="638207"/>
                      <a:pt x="147083" y="638207"/>
                    </a:cubicBezTo>
                    <a:cubicBezTo>
                      <a:pt x="147083" y="638207"/>
                      <a:pt x="147083" y="638207"/>
                      <a:pt x="168946" y="630190"/>
                    </a:cubicBezTo>
                    <a:cubicBezTo>
                      <a:pt x="168946" y="630190"/>
                      <a:pt x="168946" y="630190"/>
                      <a:pt x="198760" y="616159"/>
                    </a:cubicBezTo>
                    <a:cubicBezTo>
                      <a:pt x="198760" y="616159"/>
                      <a:pt x="198760" y="616159"/>
                      <a:pt x="224599" y="610146"/>
                    </a:cubicBezTo>
                    <a:cubicBezTo>
                      <a:pt x="224599" y="610146"/>
                      <a:pt x="224599" y="610146"/>
                      <a:pt x="230562" y="588098"/>
                    </a:cubicBezTo>
                    <a:cubicBezTo>
                      <a:pt x="230562" y="588098"/>
                      <a:pt x="230562" y="588098"/>
                      <a:pt x="222612" y="568054"/>
                    </a:cubicBezTo>
                    <a:cubicBezTo>
                      <a:pt x="222612" y="568054"/>
                      <a:pt x="222612" y="568054"/>
                      <a:pt x="220873" y="567553"/>
                    </a:cubicBezTo>
                    <a:lnTo>
                      <a:pt x="208699" y="564045"/>
                    </a:lnTo>
                    <a:cubicBezTo>
                      <a:pt x="208699" y="564045"/>
                      <a:pt x="208699" y="564045"/>
                      <a:pt x="162984" y="544001"/>
                    </a:cubicBezTo>
                    <a:cubicBezTo>
                      <a:pt x="162984" y="544001"/>
                      <a:pt x="162984" y="544001"/>
                      <a:pt x="131182" y="550014"/>
                    </a:cubicBezTo>
                    <a:cubicBezTo>
                      <a:pt x="131182" y="550014"/>
                      <a:pt x="131182" y="550014"/>
                      <a:pt x="130188" y="547760"/>
                    </a:cubicBezTo>
                    <a:lnTo>
                      <a:pt x="123232" y="531975"/>
                    </a:lnTo>
                    <a:cubicBezTo>
                      <a:pt x="123232" y="531975"/>
                      <a:pt x="123232" y="531975"/>
                      <a:pt x="95405" y="531975"/>
                    </a:cubicBezTo>
                    <a:cubicBezTo>
                      <a:pt x="95405" y="531975"/>
                      <a:pt x="95405" y="531975"/>
                      <a:pt x="95405" y="529971"/>
                    </a:cubicBezTo>
                    <a:lnTo>
                      <a:pt x="95405" y="515940"/>
                    </a:lnTo>
                    <a:cubicBezTo>
                      <a:pt x="95405" y="515940"/>
                      <a:pt x="95405" y="515940"/>
                      <a:pt x="103356" y="491888"/>
                    </a:cubicBezTo>
                    <a:cubicBezTo>
                      <a:pt x="103356" y="491888"/>
                      <a:pt x="103356" y="491888"/>
                      <a:pt x="127207" y="479861"/>
                    </a:cubicBezTo>
                    <a:cubicBezTo>
                      <a:pt x="127207" y="479861"/>
                      <a:pt x="127207" y="479861"/>
                      <a:pt x="129194" y="451800"/>
                    </a:cubicBezTo>
                    <a:cubicBezTo>
                      <a:pt x="129194" y="451800"/>
                      <a:pt x="129194" y="451800"/>
                      <a:pt x="151058" y="439774"/>
                    </a:cubicBezTo>
                    <a:cubicBezTo>
                      <a:pt x="151058" y="439774"/>
                      <a:pt x="151058" y="439774"/>
                      <a:pt x="153294" y="439774"/>
                    </a:cubicBezTo>
                    <a:lnTo>
                      <a:pt x="168946" y="439774"/>
                    </a:lnTo>
                    <a:cubicBezTo>
                      <a:pt x="168946" y="439774"/>
                      <a:pt x="168946" y="439774"/>
                      <a:pt x="160996" y="415721"/>
                    </a:cubicBezTo>
                    <a:cubicBezTo>
                      <a:pt x="160996" y="415721"/>
                      <a:pt x="160996" y="415721"/>
                      <a:pt x="168946" y="391669"/>
                    </a:cubicBezTo>
                    <a:cubicBezTo>
                      <a:pt x="168946" y="391669"/>
                      <a:pt x="168946" y="391669"/>
                      <a:pt x="190810" y="359599"/>
                    </a:cubicBezTo>
                    <a:cubicBezTo>
                      <a:pt x="190810" y="359599"/>
                      <a:pt x="190810" y="359599"/>
                      <a:pt x="202736" y="319511"/>
                    </a:cubicBezTo>
                    <a:cubicBezTo>
                      <a:pt x="202736" y="319511"/>
                      <a:pt x="202736" y="319511"/>
                      <a:pt x="242488" y="281428"/>
                    </a:cubicBezTo>
                    <a:cubicBezTo>
                      <a:pt x="242488" y="281428"/>
                      <a:pt x="242488" y="281428"/>
                      <a:pt x="288203" y="235327"/>
                    </a:cubicBezTo>
                    <a:cubicBezTo>
                      <a:pt x="288203" y="235327"/>
                      <a:pt x="288203" y="235327"/>
                      <a:pt x="308079" y="215283"/>
                    </a:cubicBezTo>
                    <a:cubicBezTo>
                      <a:pt x="308079" y="215283"/>
                      <a:pt x="308079" y="215283"/>
                      <a:pt x="347831" y="197244"/>
                    </a:cubicBezTo>
                    <a:cubicBezTo>
                      <a:pt x="347831" y="197244"/>
                      <a:pt x="347831" y="197244"/>
                      <a:pt x="375657" y="181209"/>
                    </a:cubicBezTo>
                    <a:cubicBezTo>
                      <a:pt x="375657" y="181209"/>
                      <a:pt x="375657" y="181209"/>
                      <a:pt x="403484" y="153148"/>
                    </a:cubicBezTo>
                    <a:cubicBezTo>
                      <a:pt x="403484" y="153148"/>
                      <a:pt x="403484" y="153148"/>
                      <a:pt x="429322" y="127091"/>
                    </a:cubicBezTo>
                    <a:cubicBezTo>
                      <a:pt x="429322" y="127091"/>
                      <a:pt x="429322" y="127091"/>
                      <a:pt x="463112" y="113060"/>
                    </a:cubicBezTo>
                    <a:cubicBezTo>
                      <a:pt x="463112" y="113060"/>
                      <a:pt x="463112" y="113060"/>
                      <a:pt x="486963" y="78986"/>
                    </a:cubicBezTo>
                    <a:cubicBezTo>
                      <a:pt x="486963" y="78986"/>
                      <a:pt x="486963" y="78986"/>
                      <a:pt x="532678" y="64955"/>
                    </a:cubicBezTo>
                    <a:cubicBezTo>
                      <a:pt x="532678" y="64955"/>
                      <a:pt x="532678" y="64955"/>
                      <a:pt x="556529" y="38898"/>
                    </a:cubicBezTo>
                    <a:cubicBezTo>
                      <a:pt x="556529" y="38898"/>
                      <a:pt x="556529" y="38898"/>
                      <a:pt x="584355" y="26872"/>
                    </a:cubicBezTo>
                    <a:cubicBezTo>
                      <a:pt x="584355" y="26872"/>
                      <a:pt x="584355" y="26872"/>
                      <a:pt x="586840" y="25368"/>
                    </a:cubicBezTo>
                    <a:lnTo>
                      <a:pt x="604231" y="14845"/>
                    </a:lnTo>
                    <a:cubicBezTo>
                      <a:pt x="604231" y="14845"/>
                      <a:pt x="604231" y="14845"/>
                      <a:pt x="624107" y="36894"/>
                    </a:cubicBezTo>
                    <a:cubicBezTo>
                      <a:pt x="624107" y="36894"/>
                      <a:pt x="624107" y="36894"/>
                      <a:pt x="655909" y="26872"/>
                    </a:cubicBezTo>
                    <a:cubicBezTo>
                      <a:pt x="655909" y="26872"/>
                      <a:pt x="655909" y="26872"/>
                      <a:pt x="681748" y="48920"/>
                    </a:cubicBezTo>
                    <a:cubicBezTo>
                      <a:pt x="681748" y="48920"/>
                      <a:pt x="681748" y="48920"/>
                      <a:pt x="683984" y="46665"/>
                    </a:cubicBezTo>
                    <a:lnTo>
                      <a:pt x="699636" y="30880"/>
                    </a:lnTo>
                    <a:cubicBezTo>
                      <a:pt x="699636" y="30880"/>
                      <a:pt x="699636" y="30880"/>
                      <a:pt x="731438" y="12841"/>
                    </a:cubicBezTo>
                    <a:cubicBezTo>
                      <a:pt x="731438" y="12841"/>
                      <a:pt x="731438" y="12841"/>
                      <a:pt x="731438" y="10837"/>
                    </a:cubicBezTo>
                    <a:close/>
                    <a:moveTo>
                      <a:pt x="660628" y="0"/>
                    </a:moveTo>
                    <a:lnTo>
                      <a:pt x="714545" y="0"/>
                    </a:lnTo>
                    <a:lnTo>
                      <a:pt x="699636" y="2819"/>
                    </a:lnTo>
                    <a:cubicBezTo>
                      <a:pt x="699636" y="2819"/>
                      <a:pt x="699636" y="2819"/>
                      <a:pt x="663859" y="815"/>
                    </a:cubicBezTo>
                    <a:cubicBezTo>
                      <a:pt x="663859" y="815"/>
                      <a:pt x="663859" y="815"/>
                      <a:pt x="660628" y="0"/>
                    </a:cubicBez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8" name="Freeform 204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 rot="698053">
                <a:off x="3969570" y="2043603"/>
                <a:ext cx="39140" cy="30967"/>
              </a:xfrm>
              <a:custGeom>
                <a:avLst/>
                <a:gdLst>
                  <a:gd name="T0" fmla="*/ 23 w 51"/>
                  <a:gd name="T1" fmla="*/ 42 h 42"/>
                  <a:gd name="T2" fmla="*/ 10 w 51"/>
                  <a:gd name="T3" fmla="*/ 34 h 42"/>
                  <a:gd name="T4" fmla="*/ 0 w 51"/>
                  <a:gd name="T5" fmla="*/ 36 h 42"/>
                  <a:gd name="T6" fmla="*/ 4 w 51"/>
                  <a:gd name="T7" fmla="*/ 22 h 42"/>
                  <a:gd name="T8" fmla="*/ 6 w 51"/>
                  <a:gd name="T9" fmla="*/ 12 h 42"/>
                  <a:gd name="T10" fmla="*/ 6 w 51"/>
                  <a:gd name="T11" fmla="*/ 4 h 42"/>
                  <a:gd name="T12" fmla="*/ 10 w 51"/>
                  <a:gd name="T13" fmla="*/ 0 h 42"/>
                  <a:gd name="T14" fmla="*/ 23 w 51"/>
                  <a:gd name="T15" fmla="*/ 26 h 42"/>
                  <a:gd name="T16" fmla="*/ 39 w 51"/>
                  <a:gd name="T17" fmla="*/ 10 h 42"/>
                  <a:gd name="T18" fmla="*/ 47 w 51"/>
                  <a:gd name="T19" fmla="*/ 0 h 42"/>
                  <a:gd name="T20" fmla="*/ 51 w 51"/>
                  <a:gd name="T21" fmla="*/ 4 h 42"/>
                  <a:gd name="T22" fmla="*/ 51 w 51"/>
                  <a:gd name="T23" fmla="*/ 14 h 42"/>
                  <a:gd name="T24" fmla="*/ 45 w 51"/>
                  <a:gd name="T25" fmla="*/ 22 h 42"/>
                  <a:gd name="T26" fmla="*/ 45 w 51"/>
                  <a:gd name="T27" fmla="*/ 32 h 42"/>
                  <a:gd name="T28" fmla="*/ 33 w 51"/>
                  <a:gd name="T29" fmla="*/ 38 h 42"/>
                  <a:gd name="T30" fmla="*/ 27 w 51"/>
                  <a:gd name="T31" fmla="*/ 38 h 42"/>
                  <a:gd name="T32" fmla="*/ 23 w 51"/>
                  <a:gd name="T33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2">
                    <a:moveTo>
                      <a:pt x="23" y="42"/>
                    </a:moveTo>
                    <a:lnTo>
                      <a:pt x="10" y="34"/>
                    </a:lnTo>
                    <a:lnTo>
                      <a:pt x="0" y="36"/>
                    </a:lnTo>
                    <a:lnTo>
                      <a:pt x="4" y="22"/>
                    </a:lnTo>
                    <a:lnTo>
                      <a:pt x="6" y="12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23" y="26"/>
                    </a:lnTo>
                    <a:lnTo>
                      <a:pt x="39" y="10"/>
                    </a:lnTo>
                    <a:lnTo>
                      <a:pt x="47" y="0"/>
                    </a:lnTo>
                    <a:lnTo>
                      <a:pt x="51" y="4"/>
                    </a:lnTo>
                    <a:lnTo>
                      <a:pt x="51" y="14"/>
                    </a:lnTo>
                    <a:lnTo>
                      <a:pt x="45" y="22"/>
                    </a:lnTo>
                    <a:lnTo>
                      <a:pt x="45" y="32"/>
                    </a:lnTo>
                    <a:lnTo>
                      <a:pt x="33" y="38"/>
                    </a:lnTo>
                    <a:lnTo>
                      <a:pt x="27" y="38"/>
                    </a:lnTo>
                    <a:lnTo>
                      <a:pt x="23" y="4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79" name="Freeform 205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 rot="698053">
                <a:off x="3620131" y="2438822"/>
                <a:ext cx="202818" cy="135337"/>
              </a:xfrm>
              <a:custGeom>
                <a:avLst/>
                <a:gdLst>
                  <a:gd name="T0" fmla="*/ 14 w 266"/>
                  <a:gd name="T1" fmla="*/ 42 h 183"/>
                  <a:gd name="T2" fmla="*/ 0 w 266"/>
                  <a:gd name="T3" fmla="*/ 22 h 183"/>
                  <a:gd name="T4" fmla="*/ 18 w 266"/>
                  <a:gd name="T5" fmla="*/ 18 h 183"/>
                  <a:gd name="T6" fmla="*/ 38 w 266"/>
                  <a:gd name="T7" fmla="*/ 0 h 183"/>
                  <a:gd name="T8" fmla="*/ 56 w 266"/>
                  <a:gd name="T9" fmla="*/ 0 h 183"/>
                  <a:gd name="T10" fmla="*/ 70 w 266"/>
                  <a:gd name="T11" fmla="*/ 12 h 183"/>
                  <a:gd name="T12" fmla="*/ 74 w 266"/>
                  <a:gd name="T13" fmla="*/ 28 h 183"/>
                  <a:gd name="T14" fmla="*/ 92 w 266"/>
                  <a:gd name="T15" fmla="*/ 30 h 183"/>
                  <a:gd name="T16" fmla="*/ 100 w 266"/>
                  <a:gd name="T17" fmla="*/ 24 h 183"/>
                  <a:gd name="T18" fmla="*/ 110 w 266"/>
                  <a:gd name="T19" fmla="*/ 28 h 183"/>
                  <a:gd name="T20" fmla="*/ 128 w 266"/>
                  <a:gd name="T21" fmla="*/ 40 h 183"/>
                  <a:gd name="T22" fmla="*/ 144 w 266"/>
                  <a:gd name="T23" fmla="*/ 30 h 183"/>
                  <a:gd name="T24" fmla="*/ 162 w 266"/>
                  <a:gd name="T25" fmla="*/ 30 h 183"/>
                  <a:gd name="T26" fmla="*/ 188 w 266"/>
                  <a:gd name="T27" fmla="*/ 26 h 183"/>
                  <a:gd name="T28" fmla="*/ 206 w 266"/>
                  <a:gd name="T29" fmla="*/ 30 h 183"/>
                  <a:gd name="T30" fmla="*/ 216 w 266"/>
                  <a:gd name="T31" fmla="*/ 50 h 183"/>
                  <a:gd name="T32" fmla="*/ 228 w 266"/>
                  <a:gd name="T33" fmla="*/ 62 h 183"/>
                  <a:gd name="T34" fmla="*/ 250 w 266"/>
                  <a:gd name="T35" fmla="*/ 62 h 183"/>
                  <a:gd name="T36" fmla="*/ 258 w 266"/>
                  <a:gd name="T37" fmla="*/ 78 h 183"/>
                  <a:gd name="T38" fmla="*/ 266 w 266"/>
                  <a:gd name="T39" fmla="*/ 92 h 183"/>
                  <a:gd name="T40" fmla="*/ 258 w 266"/>
                  <a:gd name="T41" fmla="*/ 106 h 183"/>
                  <a:gd name="T42" fmla="*/ 250 w 266"/>
                  <a:gd name="T43" fmla="*/ 120 h 183"/>
                  <a:gd name="T44" fmla="*/ 250 w 266"/>
                  <a:gd name="T45" fmla="*/ 140 h 183"/>
                  <a:gd name="T46" fmla="*/ 230 w 266"/>
                  <a:gd name="T47" fmla="*/ 154 h 183"/>
                  <a:gd name="T48" fmla="*/ 210 w 266"/>
                  <a:gd name="T49" fmla="*/ 142 h 183"/>
                  <a:gd name="T50" fmla="*/ 204 w 266"/>
                  <a:gd name="T51" fmla="*/ 148 h 183"/>
                  <a:gd name="T52" fmla="*/ 204 w 266"/>
                  <a:gd name="T53" fmla="*/ 164 h 183"/>
                  <a:gd name="T54" fmla="*/ 186 w 266"/>
                  <a:gd name="T55" fmla="*/ 166 h 183"/>
                  <a:gd name="T56" fmla="*/ 170 w 266"/>
                  <a:gd name="T57" fmla="*/ 152 h 183"/>
                  <a:gd name="T58" fmla="*/ 158 w 266"/>
                  <a:gd name="T59" fmla="*/ 144 h 183"/>
                  <a:gd name="T60" fmla="*/ 134 w 266"/>
                  <a:gd name="T61" fmla="*/ 150 h 183"/>
                  <a:gd name="T62" fmla="*/ 124 w 266"/>
                  <a:gd name="T63" fmla="*/ 162 h 183"/>
                  <a:gd name="T64" fmla="*/ 112 w 266"/>
                  <a:gd name="T65" fmla="*/ 156 h 183"/>
                  <a:gd name="T66" fmla="*/ 92 w 266"/>
                  <a:gd name="T67" fmla="*/ 183 h 183"/>
                  <a:gd name="T68" fmla="*/ 64 w 266"/>
                  <a:gd name="T69" fmla="*/ 170 h 183"/>
                  <a:gd name="T70" fmla="*/ 42 w 266"/>
                  <a:gd name="T71" fmla="*/ 170 h 183"/>
                  <a:gd name="T72" fmla="*/ 22 w 266"/>
                  <a:gd name="T73" fmla="*/ 164 h 183"/>
                  <a:gd name="T74" fmla="*/ 20 w 266"/>
                  <a:gd name="T75" fmla="*/ 144 h 183"/>
                  <a:gd name="T76" fmla="*/ 8 w 266"/>
                  <a:gd name="T77" fmla="*/ 132 h 183"/>
                  <a:gd name="T78" fmla="*/ 8 w 266"/>
                  <a:gd name="T79" fmla="*/ 116 h 183"/>
                  <a:gd name="T80" fmla="*/ 18 w 266"/>
                  <a:gd name="T81" fmla="*/ 106 h 183"/>
                  <a:gd name="T82" fmla="*/ 18 w 266"/>
                  <a:gd name="T83" fmla="*/ 86 h 183"/>
                  <a:gd name="T84" fmla="*/ 22 w 266"/>
                  <a:gd name="T85" fmla="*/ 66 h 183"/>
                  <a:gd name="T86" fmla="*/ 12 w 266"/>
                  <a:gd name="T87" fmla="*/ 56 h 183"/>
                  <a:gd name="T88" fmla="*/ 14 w 266"/>
                  <a:gd name="T89" fmla="*/ 42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66" h="183">
                    <a:moveTo>
                      <a:pt x="14" y="42"/>
                    </a:moveTo>
                    <a:lnTo>
                      <a:pt x="0" y="22"/>
                    </a:lnTo>
                    <a:lnTo>
                      <a:pt x="18" y="18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0" y="12"/>
                    </a:lnTo>
                    <a:lnTo>
                      <a:pt x="74" y="28"/>
                    </a:lnTo>
                    <a:lnTo>
                      <a:pt x="92" y="30"/>
                    </a:lnTo>
                    <a:lnTo>
                      <a:pt x="100" y="24"/>
                    </a:lnTo>
                    <a:lnTo>
                      <a:pt x="110" y="28"/>
                    </a:lnTo>
                    <a:lnTo>
                      <a:pt x="128" y="40"/>
                    </a:lnTo>
                    <a:lnTo>
                      <a:pt x="144" y="30"/>
                    </a:lnTo>
                    <a:lnTo>
                      <a:pt x="162" y="30"/>
                    </a:lnTo>
                    <a:lnTo>
                      <a:pt x="188" y="26"/>
                    </a:lnTo>
                    <a:lnTo>
                      <a:pt x="206" y="30"/>
                    </a:lnTo>
                    <a:lnTo>
                      <a:pt x="216" y="50"/>
                    </a:lnTo>
                    <a:lnTo>
                      <a:pt x="228" y="62"/>
                    </a:lnTo>
                    <a:lnTo>
                      <a:pt x="250" y="62"/>
                    </a:lnTo>
                    <a:lnTo>
                      <a:pt x="258" y="78"/>
                    </a:lnTo>
                    <a:lnTo>
                      <a:pt x="266" y="92"/>
                    </a:lnTo>
                    <a:lnTo>
                      <a:pt x="258" y="106"/>
                    </a:lnTo>
                    <a:lnTo>
                      <a:pt x="250" y="120"/>
                    </a:lnTo>
                    <a:lnTo>
                      <a:pt x="250" y="140"/>
                    </a:lnTo>
                    <a:lnTo>
                      <a:pt x="230" y="154"/>
                    </a:lnTo>
                    <a:lnTo>
                      <a:pt x="210" y="142"/>
                    </a:lnTo>
                    <a:lnTo>
                      <a:pt x="204" y="148"/>
                    </a:lnTo>
                    <a:lnTo>
                      <a:pt x="204" y="164"/>
                    </a:lnTo>
                    <a:lnTo>
                      <a:pt x="186" y="166"/>
                    </a:lnTo>
                    <a:lnTo>
                      <a:pt x="170" y="152"/>
                    </a:lnTo>
                    <a:lnTo>
                      <a:pt x="158" y="144"/>
                    </a:lnTo>
                    <a:lnTo>
                      <a:pt x="134" y="150"/>
                    </a:lnTo>
                    <a:lnTo>
                      <a:pt x="124" y="162"/>
                    </a:lnTo>
                    <a:lnTo>
                      <a:pt x="112" y="156"/>
                    </a:lnTo>
                    <a:lnTo>
                      <a:pt x="92" y="183"/>
                    </a:lnTo>
                    <a:lnTo>
                      <a:pt x="64" y="170"/>
                    </a:lnTo>
                    <a:lnTo>
                      <a:pt x="42" y="170"/>
                    </a:lnTo>
                    <a:lnTo>
                      <a:pt x="22" y="164"/>
                    </a:lnTo>
                    <a:lnTo>
                      <a:pt x="20" y="144"/>
                    </a:lnTo>
                    <a:lnTo>
                      <a:pt x="8" y="132"/>
                    </a:lnTo>
                    <a:lnTo>
                      <a:pt x="8" y="116"/>
                    </a:lnTo>
                    <a:lnTo>
                      <a:pt x="18" y="106"/>
                    </a:lnTo>
                    <a:lnTo>
                      <a:pt x="18" y="86"/>
                    </a:lnTo>
                    <a:lnTo>
                      <a:pt x="22" y="66"/>
                    </a:lnTo>
                    <a:lnTo>
                      <a:pt x="12" y="56"/>
                    </a:lnTo>
                    <a:lnTo>
                      <a:pt x="14" y="4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0" name="Freeform 206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 rot="698053">
                <a:off x="3776887" y="2108863"/>
                <a:ext cx="288216" cy="206447"/>
              </a:xfrm>
              <a:custGeom>
                <a:avLst/>
                <a:gdLst>
                  <a:gd name="T0" fmla="*/ 375 w 377"/>
                  <a:gd name="T1" fmla="*/ 270 h 278"/>
                  <a:gd name="T2" fmla="*/ 361 w 377"/>
                  <a:gd name="T3" fmla="*/ 222 h 278"/>
                  <a:gd name="T4" fmla="*/ 347 w 377"/>
                  <a:gd name="T5" fmla="*/ 202 h 278"/>
                  <a:gd name="T6" fmla="*/ 349 w 377"/>
                  <a:gd name="T7" fmla="*/ 166 h 278"/>
                  <a:gd name="T8" fmla="*/ 335 w 377"/>
                  <a:gd name="T9" fmla="*/ 136 h 278"/>
                  <a:gd name="T10" fmla="*/ 327 w 377"/>
                  <a:gd name="T11" fmla="*/ 114 h 278"/>
                  <a:gd name="T12" fmla="*/ 311 w 377"/>
                  <a:gd name="T13" fmla="*/ 90 h 278"/>
                  <a:gd name="T14" fmla="*/ 289 w 377"/>
                  <a:gd name="T15" fmla="*/ 74 h 278"/>
                  <a:gd name="T16" fmla="*/ 263 w 377"/>
                  <a:gd name="T17" fmla="*/ 66 h 278"/>
                  <a:gd name="T18" fmla="*/ 255 w 377"/>
                  <a:gd name="T19" fmla="*/ 30 h 278"/>
                  <a:gd name="T20" fmla="*/ 229 w 377"/>
                  <a:gd name="T21" fmla="*/ 26 h 278"/>
                  <a:gd name="T22" fmla="*/ 194 w 377"/>
                  <a:gd name="T23" fmla="*/ 22 h 278"/>
                  <a:gd name="T24" fmla="*/ 142 w 377"/>
                  <a:gd name="T25" fmla="*/ 20 h 278"/>
                  <a:gd name="T26" fmla="*/ 122 w 377"/>
                  <a:gd name="T27" fmla="*/ 6 h 278"/>
                  <a:gd name="T28" fmla="*/ 94 w 377"/>
                  <a:gd name="T29" fmla="*/ 14 h 278"/>
                  <a:gd name="T30" fmla="*/ 62 w 377"/>
                  <a:gd name="T31" fmla="*/ 26 h 278"/>
                  <a:gd name="T32" fmla="*/ 52 w 377"/>
                  <a:gd name="T33" fmla="*/ 54 h 278"/>
                  <a:gd name="T34" fmla="*/ 70 w 377"/>
                  <a:gd name="T35" fmla="*/ 74 h 278"/>
                  <a:gd name="T36" fmla="*/ 46 w 377"/>
                  <a:gd name="T37" fmla="*/ 102 h 278"/>
                  <a:gd name="T38" fmla="*/ 22 w 377"/>
                  <a:gd name="T39" fmla="*/ 120 h 278"/>
                  <a:gd name="T40" fmla="*/ 10 w 377"/>
                  <a:gd name="T41" fmla="*/ 146 h 278"/>
                  <a:gd name="T42" fmla="*/ 10 w 377"/>
                  <a:gd name="T43" fmla="*/ 168 h 278"/>
                  <a:gd name="T44" fmla="*/ 30 w 377"/>
                  <a:gd name="T45" fmla="*/ 196 h 278"/>
                  <a:gd name="T46" fmla="*/ 66 w 377"/>
                  <a:gd name="T47" fmla="*/ 208 h 278"/>
                  <a:gd name="T48" fmla="*/ 102 w 377"/>
                  <a:gd name="T49" fmla="*/ 216 h 278"/>
                  <a:gd name="T50" fmla="*/ 146 w 377"/>
                  <a:gd name="T51" fmla="*/ 232 h 278"/>
                  <a:gd name="T52" fmla="*/ 174 w 377"/>
                  <a:gd name="T53" fmla="*/ 222 h 278"/>
                  <a:gd name="T54" fmla="*/ 212 w 377"/>
                  <a:gd name="T55" fmla="*/ 208 h 278"/>
                  <a:gd name="T56" fmla="*/ 245 w 377"/>
                  <a:gd name="T57" fmla="*/ 216 h 278"/>
                  <a:gd name="T58" fmla="*/ 261 w 377"/>
                  <a:gd name="T59" fmla="*/ 246 h 278"/>
                  <a:gd name="T60" fmla="*/ 293 w 377"/>
                  <a:gd name="T61" fmla="*/ 262 h 278"/>
                  <a:gd name="T62" fmla="*/ 313 w 377"/>
                  <a:gd name="T63" fmla="*/ 250 h 278"/>
                  <a:gd name="T64" fmla="*/ 343 w 377"/>
                  <a:gd name="T65" fmla="*/ 27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7" h="278">
                    <a:moveTo>
                      <a:pt x="365" y="278"/>
                    </a:moveTo>
                    <a:lnTo>
                      <a:pt x="375" y="270"/>
                    </a:lnTo>
                    <a:lnTo>
                      <a:pt x="377" y="250"/>
                    </a:lnTo>
                    <a:lnTo>
                      <a:pt x="361" y="222"/>
                    </a:lnTo>
                    <a:lnTo>
                      <a:pt x="341" y="214"/>
                    </a:lnTo>
                    <a:lnTo>
                      <a:pt x="347" y="202"/>
                    </a:lnTo>
                    <a:lnTo>
                      <a:pt x="355" y="186"/>
                    </a:lnTo>
                    <a:lnTo>
                      <a:pt x="349" y="166"/>
                    </a:lnTo>
                    <a:lnTo>
                      <a:pt x="345" y="146"/>
                    </a:lnTo>
                    <a:lnTo>
                      <a:pt x="335" y="136"/>
                    </a:lnTo>
                    <a:lnTo>
                      <a:pt x="319" y="130"/>
                    </a:lnTo>
                    <a:lnTo>
                      <a:pt x="327" y="114"/>
                    </a:lnTo>
                    <a:lnTo>
                      <a:pt x="327" y="98"/>
                    </a:lnTo>
                    <a:lnTo>
                      <a:pt x="311" y="90"/>
                    </a:lnTo>
                    <a:lnTo>
                      <a:pt x="309" y="74"/>
                    </a:lnTo>
                    <a:lnTo>
                      <a:pt x="289" y="74"/>
                    </a:lnTo>
                    <a:lnTo>
                      <a:pt x="277" y="84"/>
                    </a:lnTo>
                    <a:lnTo>
                      <a:pt x="263" y="66"/>
                    </a:lnTo>
                    <a:lnTo>
                      <a:pt x="267" y="32"/>
                    </a:lnTo>
                    <a:lnTo>
                      <a:pt x="255" y="30"/>
                    </a:lnTo>
                    <a:lnTo>
                      <a:pt x="243" y="16"/>
                    </a:lnTo>
                    <a:lnTo>
                      <a:pt x="229" y="26"/>
                    </a:lnTo>
                    <a:lnTo>
                      <a:pt x="214" y="30"/>
                    </a:lnTo>
                    <a:lnTo>
                      <a:pt x="194" y="22"/>
                    </a:lnTo>
                    <a:lnTo>
                      <a:pt x="172" y="20"/>
                    </a:lnTo>
                    <a:lnTo>
                      <a:pt x="142" y="20"/>
                    </a:lnTo>
                    <a:lnTo>
                      <a:pt x="132" y="0"/>
                    </a:lnTo>
                    <a:lnTo>
                      <a:pt x="122" y="6"/>
                    </a:lnTo>
                    <a:lnTo>
                      <a:pt x="112" y="16"/>
                    </a:lnTo>
                    <a:lnTo>
                      <a:pt x="94" y="14"/>
                    </a:lnTo>
                    <a:lnTo>
                      <a:pt x="72" y="16"/>
                    </a:lnTo>
                    <a:lnTo>
                      <a:pt x="62" y="26"/>
                    </a:lnTo>
                    <a:lnTo>
                      <a:pt x="62" y="44"/>
                    </a:lnTo>
                    <a:lnTo>
                      <a:pt x="52" y="54"/>
                    </a:lnTo>
                    <a:lnTo>
                      <a:pt x="56" y="64"/>
                    </a:lnTo>
                    <a:lnTo>
                      <a:pt x="70" y="74"/>
                    </a:lnTo>
                    <a:lnTo>
                      <a:pt x="64" y="94"/>
                    </a:lnTo>
                    <a:lnTo>
                      <a:pt x="46" y="102"/>
                    </a:lnTo>
                    <a:lnTo>
                      <a:pt x="34" y="114"/>
                    </a:lnTo>
                    <a:lnTo>
                      <a:pt x="22" y="120"/>
                    </a:lnTo>
                    <a:lnTo>
                      <a:pt x="22" y="140"/>
                    </a:lnTo>
                    <a:lnTo>
                      <a:pt x="10" y="146"/>
                    </a:lnTo>
                    <a:lnTo>
                      <a:pt x="0" y="156"/>
                    </a:lnTo>
                    <a:lnTo>
                      <a:pt x="10" y="168"/>
                    </a:lnTo>
                    <a:lnTo>
                      <a:pt x="18" y="184"/>
                    </a:lnTo>
                    <a:lnTo>
                      <a:pt x="30" y="196"/>
                    </a:lnTo>
                    <a:lnTo>
                      <a:pt x="54" y="196"/>
                    </a:lnTo>
                    <a:lnTo>
                      <a:pt x="66" y="208"/>
                    </a:lnTo>
                    <a:lnTo>
                      <a:pt x="86" y="208"/>
                    </a:lnTo>
                    <a:lnTo>
                      <a:pt x="102" y="216"/>
                    </a:lnTo>
                    <a:lnTo>
                      <a:pt x="130" y="216"/>
                    </a:lnTo>
                    <a:lnTo>
                      <a:pt x="146" y="232"/>
                    </a:lnTo>
                    <a:lnTo>
                      <a:pt x="164" y="234"/>
                    </a:lnTo>
                    <a:lnTo>
                      <a:pt x="174" y="222"/>
                    </a:lnTo>
                    <a:lnTo>
                      <a:pt x="198" y="222"/>
                    </a:lnTo>
                    <a:lnTo>
                      <a:pt x="212" y="208"/>
                    </a:lnTo>
                    <a:lnTo>
                      <a:pt x="231" y="208"/>
                    </a:lnTo>
                    <a:lnTo>
                      <a:pt x="245" y="216"/>
                    </a:lnTo>
                    <a:lnTo>
                      <a:pt x="255" y="226"/>
                    </a:lnTo>
                    <a:lnTo>
                      <a:pt x="261" y="246"/>
                    </a:lnTo>
                    <a:lnTo>
                      <a:pt x="279" y="246"/>
                    </a:lnTo>
                    <a:lnTo>
                      <a:pt x="293" y="262"/>
                    </a:lnTo>
                    <a:lnTo>
                      <a:pt x="309" y="262"/>
                    </a:lnTo>
                    <a:lnTo>
                      <a:pt x="313" y="250"/>
                    </a:lnTo>
                    <a:lnTo>
                      <a:pt x="325" y="262"/>
                    </a:lnTo>
                    <a:lnTo>
                      <a:pt x="343" y="270"/>
                    </a:lnTo>
                    <a:lnTo>
                      <a:pt x="365" y="27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1" name="Freeform 207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 rot="698053">
                <a:off x="3697495" y="2227491"/>
                <a:ext cx="383102" cy="246588"/>
              </a:xfrm>
              <a:custGeom>
                <a:avLst/>
                <a:gdLst>
                  <a:gd name="T0" fmla="*/ 121 w 250"/>
                  <a:gd name="T1" fmla="*/ 136 h 167"/>
                  <a:gd name="T2" fmla="*/ 125 w 250"/>
                  <a:gd name="T3" fmla="*/ 144 h 167"/>
                  <a:gd name="T4" fmla="*/ 141 w 250"/>
                  <a:gd name="T5" fmla="*/ 148 h 167"/>
                  <a:gd name="T6" fmla="*/ 160 w 250"/>
                  <a:gd name="T7" fmla="*/ 152 h 167"/>
                  <a:gd name="T8" fmla="*/ 178 w 250"/>
                  <a:gd name="T9" fmla="*/ 159 h 167"/>
                  <a:gd name="T10" fmla="*/ 196 w 250"/>
                  <a:gd name="T11" fmla="*/ 167 h 167"/>
                  <a:gd name="T12" fmla="*/ 216 w 250"/>
                  <a:gd name="T13" fmla="*/ 151 h 167"/>
                  <a:gd name="T14" fmla="*/ 212 w 250"/>
                  <a:gd name="T15" fmla="*/ 134 h 167"/>
                  <a:gd name="T16" fmla="*/ 216 w 250"/>
                  <a:gd name="T17" fmla="*/ 115 h 167"/>
                  <a:gd name="T18" fmla="*/ 229 w 250"/>
                  <a:gd name="T19" fmla="*/ 107 h 167"/>
                  <a:gd name="T20" fmla="*/ 246 w 250"/>
                  <a:gd name="T21" fmla="*/ 87 h 167"/>
                  <a:gd name="T22" fmla="*/ 250 w 250"/>
                  <a:gd name="T23" fmla="*/ 63 h 167"/>
                  <a:gd name="T24" fmla="*/ 230 w 250"/>
                  <a:gd name="T25" fmla="*/ 62 h 167"/>
                  <a:gd name="T26" fmla="*/ 216 w 250"/>
                  <a:gd name="T27" fmla="*/ 55 h 167"/>
                  <a:gd name="T28" fmla="*/ 196 w 250"/>
                  <a:gd name="T29" fmla="*/ 47 h 167"/>
                  <a:gd name="T30" fmla="*/ 188 w 250"/>
                  <a:gd name="T31" fmla="*/ 47 h 167"/>
                  <a:gd name="T32" fmla="*/ 173 w 250"/>
                  <a:gd name="T33" fmla="*/ 39 h 167"/>
                  <a:gd name="T34" fmla="*/ 161 w 250"/>
                  <a:gd name="T35" fmla="*/ 29 h 167"/>
                  <a:gd name="T36" fmla="*/ 149 w 250"/>
                  <a:gd name="T37" fmla="*/ 20 h 167"/>
                  <a:gd name="T38" fmla="*/ 133 w 250"/>
                  <a:gd name="T39" fmla="*/ 27 h 167"/>
                  <a:gd name="T40" fmla="*/ 116 w 250"/>
                  <a:gd name="T41" fmla="*/ 33 h 167"/>
                  <a:gd name="T42" fmla="*/ 99 w 250"/>
                  <a:gd name="T43" fmla="*/ 24 h 167"/>
                  <a:gd name="T44" fmla="*/ 77 w 250"/>
                  <a:gd name="T45" fmla="*/ 20 h 167"/>
                  <a:gd name="T46" fmla="*/ 61 w 250"/>
                  <a:gd name="T47" fmla="*/ 14 h 167"/>
                  <a:gd name="T48" fmla="*/ 43 w 250"/>
                  <a:gd name="T49" fmla="*/ 8 h 167"/>
                  <a:gd name="T50" fmla="*/ 29 w 250"/>
                  <a:gd name="T51" fmla="*/ 8 h 167"/>
                  <a:gd name="T52" fmla="*/ 22 w 250"/>
                  <a:gd name="T53" fmla="*/ 23 h 167"/>
                  <a:gd name="T54" fmla="*/ 17 w 250"/>
                  <a:gd name="T55" fmla="*/ 45 h 167"/>
                  <a:gd name="T56" fmla="*/ 4 w 250"/>
                  <a:gd name="T57" fmla="*/ 52 h 167"/>
                  <a:gd name="T58" fmla="*/ 1 w 250"/>
                  <a:gd name="T59" fmla="*/ 67 h 167"/>
                  <a:gd name="T60" fmla="*/ 12 w 250"/>
                  <a:gd name="T61" fmla="*/ 86 h 167"/>
                  <a:gd name="T62" fmla="*/ 30 w 250"/>
                  <a:gd name="T63" fmla="*/ 99 h 167"/>
                  <a:gd name="T64" fmla="*/ 49 w 250"/>
                  <a:gd name="T65" fmla="*/ 109 h 167"/>
                  <a:gd name="T66" fmla="*/ 71 w 250"/>
                  <a:gd name="T67" fmla="*/ 109 h 167"/>
                  <a:gd name="T68" fmla="*/ 76 w 250"/>
                  <a:gd name="T69" fmla="*/ 121 h 167"/>
                  <a:gd name="T70" fmla="*/ 89 w 250"/>
                  <a:gd name="T71" fmla="*/ 137 h 167"/>
                  <a:gd name="T72" fmla="*/ 97 w 250"/>
                  <a:gd name="T73" fmla="*/ 139 h 167"/>
                  <a:gd name="T74" fmla="*/ 110 w 250"/>
                  <a:gd name="T75" fmla="*/ 131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0" h="167">
                    <a:moveTo>
                      <a:pt x="121" y="127"/>
                    </a:moveTo>
                    <a:cubicBezTo>
                      <a:pt x="121" y="136"/>
                      <a:pt x="121" y="136"/>
                      <a:pt x="121" y="136"/>
                    </a:cubicBezTo>
                    <a:cubicBezTo>
                      <a:pt x="124" y="136"/>
                      <a:pt x="124" y="136"/>
                      <a:pt x="124" y="136"/>
                    </a:cubicBezTo>
                    <a:cubicBezTo>
                      <a:pt x="125" y="144"/>
                      <a:pt x="125" y="144"/>
                      <a:pt x="125" y="144"/>
                    </a:cubicBezTo>
                    <a:cubicBezTo>
                      <a:pt x="135" y="144"/>
                      <a:pt x="135" y="144"/>
                      <a:pt x="135" y="144"/>
                    </a:cubicBezTo>
                    <a:cubicBezTo>
                      <a:pt x="141" y="148"/>
                      <a:pt x="141" y="148"/>
                      <a:pt x="141" y="148"/>
                    </a:cubicBezTo>
                    <a:cubicBezTo>
                      <a:pt x="149" y="152"/>
                      <a:pt x="149" y="152"/>
                      <a:pt x="149" y="152"/>
                    </a:cubicBezTo>
                    <a:cubicBezTo>
                      <a:pt x="160" y="152"/>
                      <a:pt x="160" y="152"/>
                      <a:pt x="160" y="152"/>
                    </a:cubicBezTo>
                    <a:cubicBezTo>
                      <a:pt x="167" y="159"/>
                      <a:pt x="167" y="159"/>
                      <a:pt x="167" y="159"/>
                    </a:cubicBezTo>
                    <a:cubicBezTo>
                      <a:pt x="178" y="159"/>
                      <a:pt x="178" y="159"/>
                      <a:pt x="178" y="159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96" y="167"/>
                      <a:pt x="196" y="167"/>
                      <a:pt x="196" y="167"/>
                    </a:cubicBezTo>
                    <a:cubicBezTo>
                      <a:pt x="203" y="160"/>
                      <a:pt x="203" y="160"/>
                      <a:pt x="203" y="160"/>
                    </a:cubicBezTo>
                    <a:cubicBezTo>
                      <a:pt x="216" y="151"/>
                      <a:pt x="216" y="151"/>
                      <a:pt x="216" y="151"/>
                    </a:cubicBezTo>
                    <a:cubicBezTo>
                      <a:pt x="212" y="141"/>
                      <a:pt x="212" y="141"/>
                      <a:pt x="212" y="141"/>
                    </a:cubicBezTo>
                    <a:cubicBezTo>
                      <a:pt x="212" y="134"/>
                      <a:pt x="212" y="134"/>
                      <a:pt x="212" y="134"/>
                    </a:cubicBezTo>
                    <a:cubicBezTo>
                      <a:pt x="219" y="127"/>
                      <a:pt x="219" y="127"/>
                      <a:pt x="219" y="127"/>
                    </a:cubicBezTo>
                    <a:cubicBezTo>
                      <a:pt x="216" y="115"/>
                      <a:pt x="216" y="115"/>
                      <a:pt x="216" y="115"/>
                    </a:cubicBezTo>
                    <a:cubicBezTo>
                      <a:pt x="220" y="107"/>
                      <a:pt x="220" y="107"/>
                      <a:pt x="220" y="107"/>
                    </a:cubicBezTo>
                    <a:cubicBezTo>
                      <a:pt x="229" y="107"/>
                      <a:pt x="229" y="107"/>
                      <a:pt x="229" y="107"/>
                    </a:cubicBezTo>
                    <a:cubicBezTo>
                      <a:pt x="233" y="93"/>
                      <a:pt x="233" y="93"/>
                      <a:pt x="233" y="93"/>
                    </a:cubicBezTo>
                    <a:cubicBezTo>
                      <a:pt x="246" y="87"/>
                      <a:pt x="246" y="87"/>
                      <a:pt x="246" y="87"/>
                    </a:cubicBezTo>
                    <a:cubicBezTo>
                      <a:pt x="246" y="74"/>
                      <a:pt x="246" y="74"/>
                      <a:pt x="246" y="74"/>
                    </a:cubicBezTo>
                    <a:cubicBezTo>
                      <a:pt x="250" y="63"/>
                      <a:pt x="250" y="63"/>
                      <a:pt x="250" y="63"/>
                    </a:cubicBezTo>
                    <a:cubicBezTo>
                      <a:pt x="240" y="60"/>
                      <a:pt x="240" y="60"/>
                      <a:pt x="240" y="60"/>
                    </a:cubicBezTo>
                    <a:cubicBezTo>
                      <a:pt x="230" y="62"/>
                      <a:pt x="230" y="62"/>
                      <a:pt x="230" y="62"/>
                    </a:cubicBezTo>
                    <a:cubicBezTo>
                      <a:pt x="222" y="59"/>
                      <a:pt x="222" y="59"/>
                      <a:pt x="222" y="59"/>
                    </a:cubicBezTo>
                    <a:cubicBezTo>
                      <a:pt x="216" y="55"/>
                      <a:pt x="216" y="55"/>
                      <a:pt x="216" y="55"/>
                    </a:cubicBezTo>
                    <a:cubicBezTo>
                      <a:pt x="216" y="55"/>
                      <a:pt x="208" y="51"/>
                      <a:pt x="206" y="51"/>
                    </a:cubicBezTo>
                    <a:cubicBezTo>
                      <a:pt x="205" y="51"/>
                      <a:pt x="196" y="47"/>
                      <a:pt x="196" y="47"/>
                    </a:cubicBezTo>
                    <a:cubicBezTo>
                      <a:pt x="190" y="41"/>
                      <a:pt x="190" y="41"/>
                      <a:pt x="190" y="41"/>
                    </a:cubicBezTo>
                    <a:cubicBezTo>
                      <a:pt x="188" y="47"/>
                      <a:pt x="188" y="47"/>
                      <a:pt x="188" y="47"/>
                    </a:cubicBezTo>
                    <a:cubicBezTo>
                      <a:pt x="180" y="47"/>
                      <a:pt x="180" y="47"/>
                      <a:pt x="180" y="47"/>
                    </a:cubicBezTo>
                    <a:cubicBezTo>
                      <a:pt x="173" y="39"/>
                      <a:pt x="173" y="39"/>
                      <a:pt x="173" y="39"/>
                    </a:cubicBezTo>
                    <a:cubicBezTo>
                      <a:pt x="164" y="39"/>
                      <a:pt x="164" y="39"/>
                      <a:pt x="164" y="39"/>
                    </a:cubicBezTo>
                    <a:cubicBezTo>
                      <a:pt x="164" y="39"/>
                      <a:pt x="163" y="29"/>
                      <a:pt x="161" y="29"/>
                    </a:cubicBezTo>
                    <a:cubicBezTo>
                      <a:pt x="159" y="29"/>
                      <a:pt x="156" y="24"/>
                      <a:pt x="156" y="24"/>
                    </a:cubicBezTo>
                    <a:cubicBezTo>
                      <a:pt x="149" y="20"/>
                      <a:pt x="149" y="20"/>
                      <a:pt x="149" y="20"/>
                    </a:cubicBezTo>
                    <a:cubicBezTo>
                      <a:pt x="140" y="20"/>
                      <a:pt x="140" y="20"/>
                      <a:pt x="140" y="20"/>
                    </a:cubicBezTo>
                    <a:cubicBezTo>
                      <a:pt x="133" y="27"/>
                      <a:pt x="133" y="27"/>
                      <a:pt x="133" y="27"/>
                    </a:cubicBezTo>
                    <a:cubicBezTo>
                      <a:pt x="121" y="27"/>
                      <a:pt x="121" y="27"/>
                      <a:pt x="121" y="27"/>
                    </a:cubicBezTo>
                    <a:cubicBezTo>
                      <a:pt x="116" y="33"/>
                      <a:pt x="116" y="33"/>
                      <a:pt x="116" y="33"/>
                    </a:cubicBezTo>
                    <a:cubicBezTo>
                      <a:pt x="107" y="32"/>
                      <a:pt x="107" y="32"/>
                      <a:pt x="107" y="3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7" y="20"/>
                      <a:pt x="77" y="20"/>
                      <a:pt x="77" y="20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2" y="23"/>
                      <a:pt x="22" y="23"/>
                      <a:pt x="22" y="23"/>
                    </a:cubicBezTo>
                    <a:cubicBezTo>
                      <a:pt x="21" y="37"/>
                      <a:pt x="21" y="37"/>
                      <a:pt x="21" y="37"/>
                    </a:cubicBezTo>
                    <a:cubicBezTo>
                      <a:pt x="17" y="45"/>
                      <a:pt x="17" y="45"/>
                      <a:pt x="17" y="45"/>
                    </a:cubicBezTo>
                    <a:cubicBezTo>
                      <a:pt x="13" y="52"/>
                      <a:pt x="13" y="52"/>
                      <a:pt x="13" y="52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12" y="86"/>
                      <a:pt x="12" y="86"/>
                      <a:pt x="12" y="86"/>
                    </a:cubicBezTo>
                    <a:cubicBezTo>
                      <a:pt x="20" y="94"/>
                      <a:pt x="20" y="94"/>
                      <a:pt x="20" y="94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6" y="105"/>
                      <a:pt x="36" y="105"/>
                      <a:pt x="36" y="105"/>
                    </a:cubicBezTo>
                    <a:cubicBezTo>
                      <a:pt x="49" y="109"/>
                      <a:pt x="49" y="109"/>
                      <a:pt x="49" y="109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71" y="109"/>
                      <a:pt x="71" y="109"/>
                      <a:pt x="71" y="109"/>
                    </a:cubicBezTo>
                    <a:cubicBezTo>
                      <a:pt x="71" y="116"/>
                      <a:pt x="71" y="116"/>
                      <a:pt x="71" y="116"/>
                    </a:cubicBezTo>
                    <a:cubicBezTo>
                      <a:pt x="76" y="121"/>
                      <a:pt x="76" y="121"/>
                      <a:pt x="76" y="121"/>
                    </a:cubicBezTo>
                    <a:cubicBezTo>
                      <a:pt x="81" y="131"/>
                      <a:pt x="81" y="131"/>
                      <a:pt x="81" y="131"/>
                    </a:cubicBezTo>
                    <a:cubicBezTo>
                      <a:pt x="89" y="137"/>
                      <a:pt x="89" y="137"/>
                      <a:pt x="89" y="137"/>
                    </a:cubicBezTo>
                    <a:cubicBezTo>
                      <a:pt x="93" y="144"/>
                      <a:pt x="93" y="144"/>
                      <a:pt x="93" y="144"/>
                    </a:cubicBezTo>
                    <a:cubicBezTo>
                      <a:pt x="97" y="139"/>
                      <a:pt x="97" y="139"/>
                      <a:pt x="97" y="139"/>
                    </a:cubicBezTo>
                    <a:cubicBezTo>
                      <a:pt x="105" y="139"/>
                      <a:pt x="105" y="139"/>
                      <a:pt x="105" y="139"/>
                    </a:cubicBezTo>
                    <a:cubicBezTo>
                      <a:pt x="110" y="131"/>
                      <a:pt x="110" y="131"/>
                      <a:pt x="110" y="131"/>
                    </a:cubicBezTo>
                    <a:lnTo>
                      <a:pt x="121" y="127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2" name="Freeform 208"/>
              <p:cNvSpPr>
                <a:spLocks noEditPoints="1"/>
              </p:cNvSpPr>
              <p:nvPr>
                <p:custDataLst>
                  <p:tags r:id="rId48"/>
                </p:custDataLst>
              </p:nvPr>
            </p:nvSpPr>
            <p:spPr bwMode="auto">
              <a:xfrm rot="698053">
                <a:off x="3760913" y="2415956"/>
                <a:ext cx="202818" cy="240855"/>
              </a:xfrm>
              <a:custGeom>
                <a:avLst/>
                <a:gdLst>
                  <a:gd name="T0" fmla="*/ 116 w 132"/>
                  <a:gd name="T1" fmla="*/ 106 h 163"/>
                  <a:gd name="T2" fmla="*/ 110 w 132"/>
                  <a:gd name="T3" fmla="*/ 95 h 163"/>
                  <a:gd name="T4" fmla="*/ 114 w 132"/>
                  <a:gd name="T5" fmla="*/ 80 h 163"/>
                  <a:gd name="T6" fmla="*/ 119 w 132"/>
                  <a:gd name="T7" fmla="*/ 66 h 163"/>
                  <a:gd name="T8" fmla="*/ 129 w 132"/>
                  <a:gd name="T9" fmla="*/ 54 h 163"/>
                  <a:gd name="T10" fmla="*/ 132 w 132"/>
                  <a:gd name="T11" fmla="*/ 40 h 163"/>
                  <a:gd name="T12" fmla="*/ 114 w 132"/>
                  <a:gd name="T13" fmla="*/ 32 h 163"/>
                  <a:gd name="T14" fmla="*/ 96 w 132"/>
                  <a:gd name="T15" fmla="*/ 25 h 163"/>
                  <a:gd name="T16" fmla="*/ 77 w 132"/>
                  <a:gd name="T17" fmla="*/ 21 h 163"/>
                  <a:gd name="T18" fmla="*/ 61 w 132"/>
                  <a:gd name="T19" fmla="*/ 17 h 163"/>
                  <a:gd name="T20" fmla="*/ 57 w 132"/>
                  <a:gd name="T21" fmla="*/ 9 h 163"/>
                  <a:gd name="T22" fmla="*/ 46 w 132"/>
                  <a:gd name="T23" fmla="*/ 4 h 163"/>
                  <a:gd name="T24" fmla="*/ 33 w 132"/>
                  <a:gd name="T25" fmla="*/ 12 h 163"/>
                  <a:gd name="T26" fmla="*/ 25 w 132"/>
                  <a:gd name="T27" fmla="*/ 28 h 163"/>
                  <a:gd name="T28" fmla="*/ 4 w 132"/>
                  <a:gd name="T29" fmla="*/ 42 h 163"/>
                  <a:gd name="T30" fmla="*/ 9 w 132"/>
                  <a:gd name="T31" fmla="*/ 52 h 163"/>
                  <a:gd name="T32" fmla="*/ 20 w 132"/>
                  <a:gd name="T33" fmla="*/ 68 h 163"/>
                  <a:gd name="T34" fmla="*/ 35 w 132"/>
                  <a:gd name="T35" fmla="*/ 76 h 163"/>
                  <a:gd name="T36" fmla="*/ 31 w 132"/>
                  <a:gd name="T37" fmla="*/ 97 h 163"/>
                  <a:gd name="T38" fmla="*/ 37 w 132"/>
                  <a:gd name="T39" fmla="*/ 117 h 163"/>
                  <a:gd name="T40" fmla="*/ 45 w 132"/>
                  <a:gd name="T41" fmla="*/ 126 h 163"/>
                  <a:gd name="T42" fmla="*/ 45 w 132"/>
                  <a:gd name="T43" fmla="*/ 142 h 163"/>
                  <a:gd name="T44" fmla="*/ 43 w 132"/>
                  <a:gd name="T45" fmla="*/ 163 h 163"/>
                  <a:gd name="T46" fmla="*/ 55 w 132"/>
                  <a:gd name="T47" fmla="*/ 154 h 163"/>
                  <a:gd name="T48" fmla="*/ 65 w 132"/>
                  <a:gd name="T49" fmla="*/ 155 h 163"/>
                  <a:gd name="T50" fmla="*/ 81 w 132"/>
                  <a:gd name="T51" fmla="*/ 151 h 163"/>
                  <a:gd name="T52" fmla="*/ 98 w 132"/>
                  <a:gd name="T53" fmla="*/ 155 h 163"/>
                  <a:gd name="T54" fmla="*/ 108 w 132"/>
                  <a:gd name="T55" fmla="*/ 150 h 163"/>
                  <a:gd name="T56" fmla="*/ 123 w 132"/>
                  <a:gd name="T57" fmla="*/ 151 h 163"/>
                  <a:gd name="T58" fmla="*/ 127 w 132"/>
                  <a:gd name="T59" fmla="*/ 140 h 163"/>
                  <a:gd name="T60" fmla="*/ 131 w 132"/>
                  <a:gd name="T61" fmla="*/ 120 h 163"/>
                  <a:gd name="T62" fmla="*/ 119 w 132"/>
                  <a:gd name="T63" fmla="*/ 112 h 163"/>
                  <a:gd name="T64" fmla="*/ 82 w 132"/>
                  <a:gd name="T65" fmla="*/ 84 h 163"/>
                  <a:gd name="T66" fmla="*/ 74 w 132"/>
                  <a:gd name="T67" fmla="*/ 91 h 163"/>
                  <a:gd name="T68" fmla="*/ 69 w 132"/>
                  <a:gd name="T69" fmla="*/ 86 h 163"/>
                  <a:gd name="T70" fmla="*/ 57 w 132"/>
                  <a:gd name="T71" fmla="*/ 91 h 163"/>
                  <a:gd name="T72" fmla="*/ 60 w 132"/>
                  <a:gd name="T73" fmla="*/ 78 h 163"/>
                  <a:gd name="T74" fmla="*/ 65 w 132"/>
                  <a:gd name="T75" fmla="*/ 72 h 163"/>
                  <a:gd name="T76" fmla="*/ 67 w 132"/>
                  <a:gd name="T77" fmla="*/ 62 h 163"/>
                  <a:gd name="T78" fmla="*/ 78 w 132"/>
                  <a:gd name="T79" fmla="*/ 57 h 163"/>
                  <a:gd name="T80" fmla="*/ 80 w 132"/>
                  <a:gd name="T81" fmla="*/ 66 h 163"/>
                  <a:gd name="T82" fmla="*/ 86 w 132"/>
                  <a:gd name="T83" fmla="*/ 69 h 163"/>
                  <a:gd name="T84" fmla="*/ 86 w 132"/>
                  <a:gd name="T85" fmla="*/ 78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2" h="163">
                    <a:moveTo>
                      <a:pt x="119" y="112"/>
                    </a:move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16" y="97"/>
                      <a:pt x="116" y="97"/>
                      <a:pt x="116" y="97"/>
                    </a:cubicBezTo>
                    <a:cubicBezTo>
                      <a:pt x="110" y="95"/>
                      <a:pt x="110" y="95"/>
                      <a:pt x="110" y="95"/>
                    </a:cubicBezTo>
                    <a:cubicBezTo>
                      <a:pt x="106" y="86"/>
                      <a:pt x="106" y="86"/>
                      <a:pt x="106" y="86"/>
                    </a:cubicBezTo>
                    <a:cubicBezTo>
                      <a:pt x="114" y="80"/>
                      <a:pt x="114" y="80"/>
                      <a:pt x="114" y="80"/>
                    </a:cubicBezTo>
                    <a:cubicBezTo>
                      <a:pt x="113" y="71"/>
                      <a:pt x="113" y="71"/>
                      <a:pt x="113" y="71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21" y="57"/>
                      <a:pt x="121" y="57"/>
                      <a:pt x="121" y="57"/>
                    </a:cubicBezTo>
                    <a:cubicBezTo>
                      <a:pt x="129" y="54"/>
                      <a:pt x="129" y="54"/>
                      <a:pt x="129" y="54"/>
                    </a:cubicBezTo>
                    <a:cubicBezTo>
                      <a:pt x="129" y="54"/>
                      <a:pt x="126" y="46"/>
                      <a:pt x="127" y="46"/>
                    </a:cubicBezTo>
                    <a:cubicBezTo>
                      <a:pt x="127" y="45"/>
                      <a:pt x="132" y="40"/>
                      <a:pt x="132" y="40"/>
                    </a:cubicBezTo>
                    <a:cubicBezTo>
                      <a:pt x="123" y="37"/>
                      <a:pt x="123" y="37"/>
                      <a:pt x="123" y="37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03" y="32"/>
                      <a:pt x="103" y="32"/>
                      <a:pt x="103" y="32"/>
                    </a:cubicBezTo>
                    <a:cubicBezTo>
                      <a:pt x="96" y="25"/>
                      <a:pt x="96" y="25"/>
                      <a:pt x="96" y="25"/>
                    </a:cubicBezTo>
                    <a:cubicBezTo>
                      <a:pt x="85" y="25"/>
                      <a:pt x="85" y="25"/>
                      <a:pt x="85" y="25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71" y="17"/>
                      <a:pt x="71" y="17"/>
                      <a:pt x="71" y="17"/>
                    </a:cubicBezTo>
                    <a:cubicBezTo>
                      <a:pt x="61" y="17"/>
                      <a:pt x="61" y="17"/>
                      <a:pt x="61" y="17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13" y="61"/>
                      <a:pt x="13" y="61"/>
                      <a:pt x="13" y="61"/>
                    </a:cubicBezTo>
                    <a:cubicBezTo>
                      <a:pt x="20" y="68"/>
                      <a:pt x="20" y="68"/>
                      <a:pt x="20" y="68"/>
                    </a:cubicBezTo>
                    <a:cubicBezTo>
                      <a:pt x="31" y="68"/>
                      <a:pt x="31" y="68"/>
                      <a:pt x="31" y="68"/>
                    </a:cubicBezTo>
                    <a:cubicBezTo>
                      <a:pt x="35" y="76"/>
                      <a:pt x="35" y="76"/>
                      <a:pt x="35" y="76"/>
                    </a:cubicBezTo>
                    <a:cubicBezTo>
                      <a:pt x="39" y="83"/>
                      <a:pt x="39" y="83"/>
                      <a:pt x="39" y="83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31" y="107"/>
                      <a:pt x="31" y="107"/>
                      <a:pt x="31" y="107"/>
                    </a:cubicBezTo>
                    <a:cubicBezTo>
                      <a:pt x="37" y="117"/>
                      <a:pt x="37" y="117"/>
                      <a:pt x="37" y="117"/>
                    </a:cubicBezTo>
                    <a:cubicBezTo>
                      <a:pt x="45" y="119"/>
                      <a:pt x="45" y="119"/>
                      <a:pt x="45" y="119"/>
                    </a:cubicBezTo>
                    <a:cubicBezTo>
                      <a:pt x="45" y="126"/>
                      <a:pt x="45" y="126"/>
                      <a:pt x="45" y="126"/>
                    </a:cubicBezTo>
                    <a:cubicBezTo>
                      <a:pt x="43" y="134"/>
                      <a:pt x="43" y="134"/>
                      <a:pt x="43" y="134"/>
                    </a:cubicBezTo>
                    <a:cubicBezTo>
                      <a:pt x="45" y="142"/>
                      <a:pt x="45" y="142"/>
                      <a:pt x="45" y="142"/>
                    </a:cubicBezTo>
                    <a:cubicBezTo>
                      <a:pt x="42" y="153"/>
                      <a:pt x="42" y="153"/>
                      <a:pt x="42" y="153"/>
                    </a:cubicBezTo>
                    <a:cubicBezTo>
                      <a:pt x="43" y="163"/>
                      <a:pt x="43" y="163"/>
                      <a:pt x="43" y="163"/>
                    </a:cubicBezTo>
                    <a:cubicBezTo>
                      <a:pt x="53" y="161"/>
                      <a:pt x="53" y="161"/>
                      <a:pt x="53" y="161"/>
                    </a:cubicBezTo>
                    <a:cubicBezTo>
                      <a:pt x="55" y="154"/>
                      <a:pt x="55" y="154"/>
                      <a:pt x="55" y="154"/>
                    </a:cubicBezTo>
                    <a:cubicBezTo>
                      <a:pt x="63" y="152"/>
                      <a:pt x="63" y="152"/>
                      <a:pt x="63" y="152"/>
                    </a:cubicBezTo>
                    <a:cubicBezTo>
                      <a:pt x="65" y="155"/>
                      <a:pt x="65" y="155"/>
                      <a:pt x="65" y="155"/>
                    </a:cubicBezTo>
                    <a:cubicBezTo>
                      <a:pt x="78" y="154"/>
                      <a:pt x="78" y="154"/>
                      <a:pt x="78" y="154"/>
                    </a:cubicBezTo>
                    <a:cubicBezTo>
                      <a:pt x="81" y="151"/>
                      <a:pt x="81" y="151"/>
                      <a:pt x="81" y="151"/>
                    </a:cubicBezTo>
                    <a:cubicBezTo>
                      <a:pt x="92" y="153"/>
                      <a:pt x="92" y="153"/>
                      <a:pt x="92" y="153"/>
                    </a:cubicBezTo>
                    <a:cubicBezTo>
                      <a:pt x="98" y="155"/>
                      <a:pt x="98" y="155"/>
                      <a:pt x="98" y="155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8" y="150"/>
                      <a:pt x="108" y="150"/>
                      <a:pt x="108" y="150"/>
                    </a:cubicBezTo>
                    <a:cubicBezTo>
                      <a:pt x="115" y="151"/>
                      <a:pt x="115" y="151"/>
                      <a:pt x="115" y="151"/>
                    </a:cubicBezTo>
                    <a:cubicBezTo>
                      <a:pt x="123" y="151"/>
                      <a:pt x="123" y="151"/>
                      <a:pt x="123" y="151"/>
                    </a:cubicBezTo>
                    <a:cubicBezTo>
                      <a:pt x="123" y="142"/>
                      <a:pt x="123" y="142"/>
                      <a:pt x="123" y="142"/>
                    </a:cubicBezTo>
                    <a:cubicBezTo>
                      <a:pt x="127" y="140"/>
                      <a:pt x="127" y="140"/>
                      <a:pt x="127" y="140"/>
                    </a:cubicBezTo>
                    <a:cubicBezTo>
                      <a:pt x="130" y="133"/>
                      <a:pt x="130" y="133"/>
                      <a:pt x="130" y="133"/>
                    </a:cubicBezTo>
                    <a:cubicBezTo>
                      <a:pt x="131" y="120"/>
                      <a:pt x="131" y="120"/>
                      <a:pt x="131" y="120"/>
                    </a:cubicBezTo>
                    <a:cubicBezTo>
                      <a:pt x="125" y="115"/>
                      <a:pt x="125" y="115"/>
                      <a:pt x="125" y="115"/>
                    </a:cubicBezTo>
                    <a:lnTo>
                      <a:pt x="119" y="112"/>
                    </a:lnTo>
                    <a:close/>
                    <a:moveTo>
                      <a:pt x="86" y="78"/>
                    </a:moveTo>
                    <a:cubicBezTo>
                      <a:pt x="82" y="84"/>
                      <a:pt x="82" y="84"/>
                      <a:pt x="82" y="84"/>
                    </a:cubicBezTo>
                    <a:cubicBezTo>
                      <a:pt x="83" y="91"/>
                      <a:pt x="83" y="91"/>
                      <a:pt x="83" y="91"/>
                    </a:cubicBezTo>
                    <a:cubicBezTo>
                      <a:pt x="74" y="91"/>
                      <a:pt x="74" y="91"/>
                      <a:pt x="74" y="91"/>
                    </a:cubicBezTo>
                    <a:cubicBezTo>
                      <a:pt x="72" y="89"/>
                      <a:pt x="72" y="89"/>
                      <a:pt x="72" y="89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64" y="91"/>
                      <a:pt x="64" y="91"/>
                      <a:pt x="64" y="91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60" y="84"/>
                      <a:pt x="60" y="84"/>
                      <a:pt x="60" y="84"/>
                    </a:cubicBezTo>
                    <a:cubicBezTo>
                      <a:pt x="60" y="78"/>
                      <a:pt x="60" y="78"/>
                      <a:pt x="60" y="78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5" y="72"/>
                      <a:pt x="65" y="72"/>
                      <a:pt x="65" y="72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7" y="62"/>
                      <a:pt x="67" y="62"/>
                      <a:pt x="67" y="62"/>
                    </a:cubicBezTo>
                    <a:cubicBezTo>
                      <a:pt x="72" y="58"/>
                      <a:pt x="72" y="58"/>
                      <a:pt x="72" y="58"/>
                    </a:cubicBezTo>
                    <a:cubicBezTo>
                      <a:pt x="78" y="57"/>
                      <a:pt x="78" y="57"/>
                      <a:pt x="78" y="57"/>
                    </a:cubicBezTo>
                    <a:cubicBezTo>
                      <a:pt x="77" y="61"/>
                      <a:pt x="77" y="61"/>
                      <a:pt x="77" y="61"/>
                    </a:cubicBezTo>
                    <a:cubicBezTo>
                      <a:pt x="80" y="66"/>
                      <a:pt x="80" y="66"/>
                      <a:pt x="80" y="66"/>
                    </a:cubicBezTo>
                    <a:cubicBezTo>
                      <a:pt x="80" y="66"/>
                      <a:pt x="80" y="66"/>
                      <a:pt x="80" y="66"/>
                    </a:cubicBezTo>
                    <a:cubicBezTo>
                      <a:pt x="86" y="69"/>
                      <a:pt x="86" y="69"/>
                      <a:pt x="86" y="69"/>
                    </a:cubicBezTo>
                    <a:cubicBezTo>
                      <a:pt x="91" y="74"/>
                      <a:pt x="91" y="74"/>
                      <a:pt x="91" y="74"/>
                    </a:cubicBezTo>
                    <a:lnTo>
                      <a:pt x="86" y="7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3" name="Freeform 209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 rot="698053">
                <a:off x="3849411" y="2502481"/>
                <a:ext cx="53374" cy="50465"/>
              </a:xfrm>
              <a:custGeom>
                <a:avLst/>
                <a:gdLst>
                  <a:gd name="T0" fmla="*/ 46 w 69"/>
                  <a:gd name="T1" fmla="*/ 18 h 68"/>
                  <a:gd name="T2" fmla="*/ 46 w 69"/>
                  <a:gd name="T3" fmla="*/ 18 h 68"/>
                  <a:gd name="T4" fmla="*/ 40 w 69"/>
                  <a:gd name="T5" fmla="*/ 8 h 68"/>
                  <a:gd name="T6" fmla="*/ 42 w 69"/>
                  <a:gd name="T7" fmla="*/ 0 h 68"/>
                  <a:gd name="T8" fmla="*/ 30 w 69"/>
                  <a:gd name="T9" fmla="*/ 2 h 68"/>
                  <a:gd name="T10" fmla="*/ 20 w 69"/>
                  <a:gd name="T11" fmla="*/ 10 h 68"/>
                  <a:gd name="T12" fmla="*/ 24 w 69"/>
                  <a:gd name="T13" fmla="*/ 18 h 68"/>
                  <a:gd name="T14" fmla="*/ 16 w 69"/>
                  <a:gd name="T15" fmla="*/ 30 h 68"/>
                  <a:gd name="T16" fmla="*/ 6 w 69"/>
                  <a:gd name="T17" fmla="*/ 28 h 68"/>
                  <a:gd name="T18" fmla="*/ 6 w 69"/>
                  <a:gd name="T19" fmla="*/ 42 h 68"/>
                  <a:gd name="T20" fmla="*/ 6 w 69"/>
                  <a:gd name="T21" fmla="*/ 54 h 68"/>
                  <a:gd name="T22" fmla="*/ 0 w 69"/>
                  <a:gd name="T23" fmla="*/ 68 h 68"/>
                  <a:gd name="T24" fmla="*/ 14 w 69"/>
                  <a:gd name="T25" fmla="*/ 68 h 68"/>
                  <a:gd name="T26" fmla="*/ 24 w 69"/>
                  <a:gd name="T27" fmla="*/ 58 h 68"/>
                  <a:gd name="T28" fmla="*/ 30 w 69"/>
                  <a:gd name="T29" fmla="*/ 64 h 68"/>
                  <a:gd name="T30" fmla="*/ 34 w 69"/>
                  <a:gd name="T31" fmla="*/ 68 h 68"/>
                  <a:gd name="T32" fmla="*/ 52 w 69"/>
                  <a:gd name="T33" fmla="*/ 68 h 68"/>
                  <a:gd name="T34" fmla="*/ 50 w 69"/>
                  <a:gd name="T35" fmla="*/ 54 h 68"/>
                  <a:gd name="T36" fmla="*/ 59 w 69"/>
                  <a:gd name="T37" fmla="*/ 42 h 68"/>
                  <a:gd name="T38" fmla="*/ 69 w 69"/>
                  <a:gd name="T39" fmla="*/ 34 h 68"/>
                  <a:gd name="T40" fmla="*/ 59 w 69"/>
                  <a:gd name="T41" fmla="*/ 24 h 68"/>
                  <a:gd name="T42" fmla="*/ 46 w 69"/>
                  <a:gd name="T43" fmla="*/ 1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9" h="68">
                    <a:moveTo>
                      <a:pt x="46" y="18"/>
                    </a:moveTo>
                    <a:lnTo>
                      <a:pt x="46" y="18"/>
                    </a:lnTo>
                    <a:lnTo>
                      <a:pt x="40" y="8"/>
                    </a:lnTo>
                    <a:lnTo>
                      <a:pt x="42" y="0"/>
                    </a:lnTo>
                    <a:lnTo>
                      <a:pt x="30" y="2"/>
                    </a:lnTo>
                    <a:lnTo>
                      <a:pt x="20" y="10"/>
                    </a:lnTo>
                    <a:lnTo>
                      <a:pt x="24" y="18"/>
                    </a:lnTo>
                    <a:lnTo>
                      <a:pt x="16" y="30"/>
                    </a:lnTo>
                    <a:lnTo>
                      <a:pt x="6" y="28"/>
                    </a:lnTo>
                    <a:lnTo>
                      <a:pt x="6" y="42"/>
                    </a:lnTo>
                    <a:lnTo>
                      <a:pt x="6" y="54"/>
                    </a:lnTo>
                    <a:lnTo>
                      <a:pt x="0" y="68"/>
                    </a:lnTo>
                    <a:lnTo>
                      <a:pt x="14" y="68"/>
                    </a:lnTo>
                    <a:lnTo>
                      <a:pt x="24" y="58"/>
                    </a:lnTo>
                    <a:lnTo>
                      <a:pt x="30" y="64"/>
                    </a:lnTo>
                    <a:lnTo>
                      <a:pt x="34" y="68"/>
                    </a:lnTo>
                    <a:lnTo>
                      <a:pt x="52" y="68"/>
                    </a:lnTo>
                    <a:lnTo>
                      <a:pt x="50" y="54"/>
                    </a:lnTo>
                    <a:lnTo>
                      <a:pt x="59" y="42"/>
                    </a:lnTo>
                    <a:lnTo>
                      <a:pt x="69" y="34"/>
                    </a:lnTo>
                    <a:lnTo>
                      <a:pt x="59" y="24"/>
                    </a:lnTo>
                    <a:lnTo>
                      <a:pt x="46" y="1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4" name="Freeform 210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 rot="698053">
                <a:off x="4768579" y="2105721"/>
                <a:ext cx="749599" cy="427803"/>
              </a:xfrm>
              <a:custGeom>
                <a:avLst/>
                <a:gdLst>
                  <a:gd name="T0" fmla="*/ 484 w 490"/>
                  <a:gd name="T1" fmla="*/ 197 h 289"/>
                  <a:gd name="T2" fmla="*/ 474 w 490"/>
                  <a:gd name="T3" fmla="*/ 208 h 289"/>
                  <a:gd name="T4" fmla="*/ 482 w 490"/>
                  <a:gd name="T5" fmla="*/ 219 h 289"/>
                  <a:gd name="T6" fmla="*/ 487 w 490"/>
                  <a:gd name="T7" fmla="*/ 231 h 289"/>
                  <a:gd name="T8" fmla="*/ 480 w 490"/>
                  <a:gd name="T9" fmla="*/ 243 h 289"/>
                  <a:gd name="T10" fmla="*/ 465 w 490"/>
                  <a:gd name="T11" fmla="*/ 239 h 289"/>
                  <a:gd name="T12" fmla="*/ 440 w 490"/>
                  <a:gd name="T13" fmla="*/ 251 h 289"/>
                  <a:gd name="T14" fmla="*/ 417 w 490"/>
                  <a:gd name="T15" fmla="*/ 261 h 289"/>
                  <a:gd name="T16" fmla="*/ 405 w 490"/>
                  <a:gd name="T17" fmla="*/ 276 h 289"/>
                  <a:gd name="T18" fmla="*/ 382 w 490"/>
                  <a:gd name="T19" fmla="*/ 286 h 289"/>
                  <a:gd name="T20" fmla="*/ 354 w 490"/>
                  <a:gd name="T21" fmla="*/ 281 h 289"/>
                  <a:gd name="T22" fmla="*/ 337 w 490"/>
                  <a:gd name="T23" fmla="*/ 275 h 289"/>
                  <a:gd name="T24" fmla="*/ 302 w 490"/>
                  <a:gd name="T25" fmla="*/ 256 h 289"/>
                  <a:gd name="T26" fmla="*/ 267 w 490"/>
                  <a:gd name="T27" fmla="*/ 243 h 289"/>
                  <a:gd name="T28" fmla="*/ 243 w 490"/>
                  <a:gd name="T29" fmla="*/ 231 h 289"/>
                  <a:gd name="T30" fmla="*/ 212 w 490"/>
                  <a:gd name="T31" fmla="*/ 207 h 289"/>
                  <a:gd name="T32" fmla="*/ 179 w 490"/>
                  <a:gd name="T33" fmla="*/ 186 h 289"/>
                  <a:gd name="T34" fmla="*/ 154 w 490"/>
                  <a:gd name="T35" fmla="*/ 195 h 289"/>
                  <a:gd name="T36" fmla="*/ 79 w 490"/>
                  <a:gd name="T37" fmla="*/ 190 h 289"/>
                  <a:gd name="T38" fmla="*/ 65 w 490"/>
                  <a:gd name="T39" fmla="*/ 188 h 289"/>
                  <a:gd name="T40" fmla="*/ 47 w 490"/>
                  <a:gd name="T41" fmla="*/ 189 h 289"/>
                  <a:gd name="T42" fmla="*/ 33 w 490"/>
                  <a:gd name="T43" fmla="*/ 174 h 289"/>
                  <a:gd name="T44" fmla="*/ 20 w 490"/>
                  <a:gd name="T45" fmla="*/ 152 h 289"/>
                  <a:gd name="T46" fmla="*/ 10 w 490"/>
                  <a:gd name="T47" fmla="*/ 131 h 289"/>
                  <a:gd name="T48" fmla="*/ 0 w 490"/>
                  <a:gd name="T49" fmla="*/ 113 h 289"/>
                  <a:gd name="T50" fmla="*/ 29 w 490"/>
                  <a:gd name="T51" fmla="*/ 90 h 289"/>
                  <a:gd name="T52" fmla="*/ 35 w 490"/>
                  <a:gd name="T53" fmla="*/ 62 h 289"/>
                  <a:gd name="T54" fmla="*/ 52 w 490"/>
                  <a:gd name="T55" fmla="*/ 43 h 289"/>
                  <a:gd name="T56" fmla="*/ 69 w 490"/>
                  <a:gd name="T57" fmla="*/ 16 h 289"/>
                  <a:gd name="T58" fmla="*/ 77 w 490"/>
                  <a:gd name="T59" fmla="*/ 0 h 289"/>
                  <a:gd name="T60" fmla="*/ 96 w 490"/>
                  <a:gd name="T61" fmla="*/ 24 h 289"/>
                  <a:gd name="T62" fmla="*/ 107 w 490"/>
                  <a:gd name="T63" fmla="*/ 64 h 289"/>
                  <a:gd name="T64" fmla="*/ 97 w 490"/>
                  <a:gd name="T65" fmla="*/ 82 h 289"/>
                  <a:gd name="T66" fmla="*/ 73 w 490"/>
                  <a:gd name="T67" fmla="*/ 69 h 289"/>
                  <a:gd name="T68" fmla="*/ 52 w 490"/>
                  <a:gd name="T69" fmla="*/ 94 h 289"/>
                  <a:gd name="T70" fmla="*/ 57 w 490"/>
                  <a:gd name="T71" fmla="*/ 123 h 289"/>
                  <a:gd name="T72" fmla="*/ 87 w 490"/>
                  <a:gd name="T73" fmla="*/ 134 h 289"/>
                  <a:gd name="T74" fmla="*/ 104 w 490"/>
                  <a:gd name="T75" fmla="*/ 114 h 289"/>
                  <a:gd name="T76" fmla="*/ 138 w 490"/>
                  <a:gd name="T77" fmla="*/ 118 h 289"/>
                  <a:gd name="T78" fmla="*/ 161 w 490"/>
                  <a:gd name="T79" fmla="*/ 112 h 289"/>
                  <a:gd name="T80" fmla="*/ 201 w 490"/>
                  <a:gd name="T81" fmla="*/ 112 h 289"/>
                  <a:gd name="T82" fmla="*/ 223 w 490"/>
                  <a:gd name="T83" fmla="*/ 126 h 289"/>
                  <a:gd name="T84" fmla="*/ 229 w 490"/>
                  <a:gd name="T85" fmla="*/ 114 h 289"/>
                  <a:gd name="T86" fmla="*/ 262 w 490"/>
                  <a:gd name="T87" fmla="*/ 107 h 289"/>
                  <a:gd name="T88" fmla="*/ 254 w 490"/>
                  <a:gd name="T89" fmla="*/ 124 h 289"/>
                  <a:gd name="T90" fmla="*/ 240 w 490"/>
                  <a:gd name="T91" fmla="*/ 140 h 289"/>
                  <a:gd name="T92" fmla="*/ 266 w 490"/>
                  <a:gd name="T93" fmla="*/ 154 h 289"/>
                  <a:gd name="T94" fmla="*/ 305 w 490"/>
                  <a:gd name="T95" fmla="*/ 149 h 289"/>
                  <a:gd name="T96" fmla="*/ 333 w 490"/>
                  <a:gd name="T97" fmla="*/ 162 h 289"/>
                  <a:gd name="T98" fmla="*/ 364 w 490"/>
                  <a:gd name="T99" fmla="*/ 157 h 289"/>
                  <a:gd name="T100" fmla="*/ 369 w 490"/>
                  <a:gd name="T101" fmla="*/ 173 h 289"/>
                  <a:gd name="T102" fmla="*/ 359 w 490"/>
                  <a:gd name="T103" fmla="*/ 192 h 289"/>
                  <a:gd name="T104" fmla="*/ 372 w 490"/>
                  <a:gd name="T105" fmla="*/ 190 h 289"/>
                  <a:gd name="T106" fmla="*/ 391 w 490"/>
                  <a:gd name="T107" fmla="*/ 188 h 289"/>
                  <a:gd name="T108" fmla="*/ 404 w 490"/>
                  <a:gd name="T109" fmla="*/ 175 h 289"/>
                  <a:gd name="T110" fmla="*/ 405 w 490"/>
                  <a:gd name="T111" fmla="*/ 140 h 289"/>
                  <a:gd name="T112" fmla="*/ 427 w 490"/>
                  <a:gd name="T113" fmla="*/ 131 h 289"/>
                  <a:gd name="T114" fmla="*/ 445 w 490"/>
                  <a:gd name="T115" fmla="*/ 138 h 289"/>
                  <a:gd name="T116" fmla="*/ 474 w 490"/>
                  <a:gd name="T117" fmla="*/ 170 h 289"/>
                  <a:gd name="T118" fmla="*/ 490 w 490"/>
                  <a:gd name="T119" fmla="*/ 189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90" h="289">
                    <a:moveTo>
                      <a:pt x="490" y="189"/>
                    </a:moveTo>
                    <a:cubicBezTo>
                      <a:pt x="484" y="197"/>
                      <a:pt x="484" y="197"/>
                      <a:pt x="484" y="197"/>
                    </a:cubicBezTo>
                    <a:cubicBezTo>
                      <a:pt x="478" y="204"/>
                      <a:pt x="478" y="204"/>
                      <a:pt x="478" y="204"/>
                    </a:cubicBezTo>
                    <a:cubicBezTo>
                      <a:pt x="474" y="208"/>
                      <a:pt x="474" y="208"/>
                      <a:pt x="474" y="208"/>
                    </a:cubicBezTo>
                    <a:cubicBezTo>
                      <a:pt x="480" y="214"/>
                      <a:pt x="480" y="214"/>
                      <a:pt x="480" y="214"/>
                    </a:cubicBezTo>
                    <a:cubicBezTo>
                      <a:pt x="482" y="219"/>
                      <a:pt x="482" y="219"/>
                      <a:pt x="482" y="219"/>
                    </a:cubicBezTo>
                    <a:cubicBezTo>
                      <a:pt x="487" y="221"/>
                      <a:pt x="487" y="221"/>
                      <a:pt x="487" y="221"/>
                    </a:cubicBezTo>
                    <a:cubicBezTo>
                      <a:pt x="487" y="231"/>
                      <a:pt x="487" y="231"/>
                      <a:pt x="487" y="231"/>
                    </a:cubicBezTo>
                    <a:cubicBezTo>
                      <a:pt x="487" y="243"/>
                      <a:pt x="487" y="243"/>
                      <a:pt x="487" y="243"/>
                    </a:cubicBezTo>
                    <a:cubicBezTo>
                      <a:pt x="480" y="243"/>
                      <a:pt x="480" y="243"/>
                      <a:pt x="480" y="243"/>
                    </a:cubicBezTo>
                    <a:cubicBezTo>
                      <a:pt x="473" y="239"/>
                      <a:pt x="473" y="239"/>
                      <a:pt x="473" y="239"/>
                    </a:cubicBezTo>
                    <a:cubicBezTo>
                      <a:pt x="465" y="239"/>
                      <a:pt x="465" y="239"/>
                      <a:pt x="465" y="239"/>
                    </a:cubicBezTo>
                    <a:cubicBezTo>
                      <a:pt x="452" y="250"/>
                      <a:pt x="452" y="250"/>
                      <a:pt x="452" y="250"/>
                    </a:cubicBezTo>
                    <a:cubicBezTo>
                      <a:pt x="440" y="251"/>
                      <a:pt x="440" y="251"/>
                      <a:pt x="440" y="251"/>
                    </a:cubicBezTo>
                    <a:cubicBezTo>
                      <a:pt x="435" y="264"/>
                      <a:pt x="435" y="264"/>
                      <a:pt x="435" y="264"/>
                    </a:cubicBezTo>
                    <a:cubicBezTo>
                      <a:pt x="417" y="261"/>
                      <a:pt x="417" y="261"/>
                      <a:pt x="417" y="261"/>
                    </a:cubicBezTo>
                    <a:cubicBezTo>
                      <a:pt x="412" y="268"/>
                      <a:pt x="412" y="268"/>
                      <a:pt x="412" y="268"/>
                    </a:cubicBezTo>
                    <a:cubicBezTo>
                      <a:pt x="405" y="276"/>
                      <a:pt x="405" y="276"/>
                      <a:pt x="405" y="276"/>
                    </a:cubicBezTo>
                    <a:cubicBezTo>
                      <a:pt x="397" y="280"/>
                      <a:pt x="397" y="280"/>
                      <a:pt x="397" y="280"/>
                    </a:cubicBezTo>
                    <a:cubicBezTo>
                      <a:pt x="382" y="286"/>
                      <a:pt x="382" y="286"/>
                      <a:pt x="382" y="286"/>
                    </a:cubicBezTo>
                    <a:cubicBezTo>
                      <a:pt x="369" y="289"/>
                      <a:pt x="369" y="289"/>
                      <a:pt x="369" y="289"/>
                    </a:cubicBezTo>
                    <a:cubicBezTo>
                      <a:pt x="354" y="281"/>
                      <a:pt x="354" y="281"/>
                      <a:pt x="354" y="281"/>
                    </a:cubicBezTo>
                    <a:cubicBezTo>
                      <a:pt x="346" y="283"/>
                      <a:pt x="346" y="283"/>
                      <a:pt x="346" y="283"/>
                    </a:cubicBezTo>
                    <a:cubicBezTo>
                      <a:pt x="337" y="275"/>
                      <a:pt x="337" y="275"/>
                      <a:pt x="337" y="275"/>
                    </a:cubicBezTo>
                    <a:cubicBezTo>
                      <a:pt x="320" y="268"/>
                      <a:pt x="320" y="268"/>
                      <a:pt x="320" y="268"/>
                    </a:cubicBezTo>
                    <a:cubicBezTo>
                      <a:pt x="302" y="256"/>
                      <a:pt x="302" y="256"/>
                      <a:pt x="302" y="256"/>
                    </a:cubicBezTo>
                    <a:cubicBezTo>
                      <a:pt x="288" y="251"/>
                      <a:pt x="288" y="251"/>
                      <a:pt x="288" y="251"/>
                    </a:cubicBezTo>
                    <a:cubicBezTo>
                      <a:pt x="267" y="243"/>
                      <a:pt x="267" y="243"/>
                      <a:pt x="267" y="243"/>
                    </a:cubicBezTo>
                    <a:cubicBezTo>
                      <a:pt x="256" y="232"/>
                      <a:pt x="256" y="232"/>
                      <a:pt x="256" y="232"/>
                    </a:cubicBezTo>
                    <a:cubicBezTo>
                      <a:pt x="243" y="231"/>
                      <a:pt x="243" y="231"/>
                      <a:pt x="243" y="231"/>
                    </a:cubicBezTo>
                    <a:cubicBezTo>
                      <a:pt x="222" y="217"/>
                      <a:pt x="222" y="217"/>
                      <a:pt x="222" y="217"/>
                    </a:cubicBezTo>
                    <a:cubicBezTo>
                      <a:pt x="212" y="207"/>
                      <a:pt x="212" y="207"/>
                      <a:pt x="212" y="207"/>
                    </a:cubicBezTo>
                    <a:cubicBezTo>
                      <a:pt x="195" y="199"/>
                      <a:pt x="195" y="199"/>
                      <a:pt x="195" y="199"/>
                    </a:cubicBezTo>
                    <a:cubicBezTo>
                      <a:pt x="179" y="186"/>
                      <a:pt x="179" y="186"/>
                      <a:pt x="179" y="186"/>
                    </a:cubicBezTo>
                    <a:cubicBezTo>
                      <a:pt x="165" y="187"/>
                      <a:pt x="165" y="187"/>
                      <a:pt x="165" y="187"/>
                    </a:cubicBezTo>
                    <a:cubicBezTo>
                      <a:pt x="154" y="195"/>
                      <a:pt x="154" y="195"/>
                      <a:pt x="154" y="195"/>
                    </a:cubicBezTo>
                    <a:cubicBezTo>
                      <a:pt x="84" y="195"/>
                      <a:pt x="84" y="195"/>
                      <a:pt x="84" y="195"/>
                    </a:cubicBezTo>
                    <a:cubicBezTo>
                      <a:pt x="79" y="190"/>
                      <a:pt x="79" y="190"/>
                      <a:pt x="79" y="190"/>
                    </a:cubicBezTo>
                    <a:cubicBezTo>
                      <a:pt x="66" y="184"/>
                      <a:pt x="66" y="184"/>
                      <a:pt x="66" y="184"/>
                    </a:cubicBezTo>
                    <a:cubicBezTo>
                      <a:pt x="65" y="188"/>
                      <a:pt x="65" y="188"/>
                      <a:pt x="65" y="188"/>
                    </a:cubicBezTo>
                    <a:cubicBezTo>
                      <a:pt x="53" y="192"/>
                      <a:pt x="53" y="192"/>
                      <a:pt x="53" y="192"/>
                    </a:cubicBezTo>
                    <a:cubicBezTo>
                      <a:pt x="47" y="189"/>
                      <a:pt x="47" y="189"/>
                      <a:pt x="47" y="189"/>
                    </a:cubicBezTo>
                    <a:cubicBezTo>
                      <a:pt x="47" y="189"/>
                      <a:pt x="40" y="181"/>
                      <a:pt x="39" y="180"/>
                    </a:cubicBezTo>
                    <a:cubicBezTo>
                      <a:pt x="38" y="179"/>
                      <a:pt x="33" y="174"/>
                      <a:pt x="33" y="174"/>
                    </a:cubicBezTo>
                    <a:cubicBezTo>
                      <a:pt x="30" y="163"/>
                      <a:pt x="30" y="163"/>
                      <a:pt x="30" y="163"/>
                    </a:cubicBezTo>
                    <a:cubicBezTo>
                      <a:pt x="20" y="152"/>
                      <a:pt x="20" y="152"/>
                      <a:pt x="20" y="152"/>
                    </a:cubicBezTo>
                    <a:cubicBezTo>
                      <a:pt x="14" y="145"/>
                      <a:pt x="14" y="145"/>
                      <a:pt x="14" y="145"/>
                    </a:cubicBezTo>
                    <a:cubicBezTo>
                      <a:pt x="10" y="131"/>
                      <a:pt x="10" y="131"/>
                      <a:pt x="10" y="131"/>
                    </a:cubicBezTo>
                    <a:cubicBezTo>
                      <a:pt x="5" y="120"/>
                      <a:pt x="5" y="120"/>
                      <a:pt x="5" y="12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29" y="90"/>
                      <a:pt x="29" y="90"/>
                      <a:pt x="29" y="90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16"/>
                      <a:pt x="69" y="16"/>
                      <a:pt x="69" y="16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81" y="9"/>
                      <a:pt x="81" y="9"/>
                      <a:pt x="81" y="9"/>
                    </a:cubicBezTo>
                    <a:cubicBezTo>
                      <a:pt x="96" y="24"/>
                      <a:pt x="96" y="24"/>
                      <a:pt x="96" y="24"/>
                    </a:cubicBezTo>
                    <a:cubicBezTo>
                      <a:pt x="107" y="41"/>
                      <a:pt x="107" y="41"/>
                      <a:pt x="107" y="41"/>
                    </a:cubicBezTo>
                    <a:cubicBezTo>
                      <a:pt x="107" y="64"/>
                      <a:pt x="107" y="64"/>
                      <a:pt x="107" y="64"/>
                    </a:cubicBezTo>
                    <a:cubicBezTo>
                      <a:pt x="103" y="76"/>
                      <a:pt x="103" y="76"/>
                      <a:pt x="103" y="76"/>
                    </a:cubicBezTo>
                    <a:cubicBezTo>
                      <a:pt x="97" y="82"/>
                      <a:pt x="97" y="82"/>
                      <a:pt x="97" y="82"/>
                    </a:cubicBezTo>
                    <a:cubicBezTo>
                      <a:pt x="87" y="72"/>
                      <a:pt x="87" y="72"/>
                      <a:pt x="87" y="72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52" y="94"/>
                      <a:pt x="52" y="94"/>
                      <a:pt x="52" y="94"/>
                    </a:cubicBezTo>
                    <a:cubicBezTo>
                      <a:pt x="57" y="110"/>
                      <a:pt x="57" y="110"/>
                      <a:pt x="57" y="110"/>
                    </a:cubicBezTo>
                    <a:cubicBezTo>
                      <a:pt x="57" y="123"/>
                      <a:pt x="57" y="123"/>
                      <a:pt x="57" y="123"/>
                    </a:cubicBezTo>
                    <a:cubicBezTo>
                      <a:pt x="73" y="127"/>
                      <a:pt x="73" y="127"/>
                      <a:pt x="73" y="127"/>
                    </a:cubicBezTo>
                    <a:cubicBezTo>
                      <a:pt x="87" y="134"/>
                      <a:pt x="87" y="134"/>
                      <a:pt x="87" y="134"/>
                    </a:cubicBezTo>
                    <a:cubicBezTo>
                      <a:pt x="104" y="126"/>
                      <a:pt x="104" y="126"/>
                      <a:pt x="104" y="126"/>
                    </a:cubicBezTo>
                    <a:cubicBezTo>
                      <a:pt x="104" y="114"/>
                      <a:pt x="104" y="114"/>
                      <a:pt x="104" y="114"/>
                    </a:cubicBezTo>
                    <a:cubicBezTo>
                      <a:pt x="121" y="110"/>
                      <a:pt x="121" y="110"/>
                      <a:pt x="121" y="110"/>
                    </a:cubicBezTo>
                    <a:cubicBezTo>
                      <a:pt x="138" y="118"/>
                      <a:pt x="138" y="118"/>
                      <a:pt x="138" y="118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61" y="112"/>
                      <a:pt x="161" y="112"/>
                      <a:pt x="161" y="112"/>
                    </a:cubicBezTo>
                    <a:cubicBezTo>
                      <a:pt x="175" y="109"/>
                      <a:pt x="175" y="109"/>
                      <a:pt x="175" y="109"/>
                    </a:cubicBezTo>
                    <a:cubicBezTo>
                      <a:pt x="201" y="112"/>
                      <a:pt x="201" y="112"/>
                      <a:pt x="201" y="112"/>
                    </a:cubicBezTo>
                    <a:cubicBezTo>
                      <a:pt x="215" y="112"/>
                      <a:pt x="215" y="112"/>
                      <a:pt x="215" y="112"/>
                    </a:cubicBezTo>
                    <a:cubicBezTo>
                      <a:pt x="223" y="126"/>
                      <a:pt x="223" y="126"/>
                      <a:pt x="223" y="126"/>
                    </a:cubicBezTo>
                    <a:cubicBezTo>
                      <a:pt x="229" y="126"/>
                      <a:pt x="229" y="126"/>
                      <a:pt x="229" y="126"/>
                    </a:cubicBezTo>
                    <a:cubicBezTo>
                      <a:pt x="229" y="114"/>
                      <a:pt x="229" y="114"/>
                      <a:pt x="229" y="114"/>
                    </a:cubicBezTo>
                    <a:cubicBezTo>
                      <a:pt x="251" y="107"/>
                      <a:pt x="251" y="107"/>
                      <a:pt x="251" y="107"/>
                    </a:cubicBezTo>
                    <a:cubicBezTo>
                      <a:pt x="262" y="107"/>
                      <a:pt x="262" y="107"/>
                      <a:pt x="262" y="107"/>
                    </a:cubicBezTo>
                    <a:cubicBezTo>
                      <a:pt x="267" y="124"/>
                      <a:pt x="267" y="124"/>
                      <a:pt x="267" y="124"/>
                    </a:cubicBezTo>
                    <a:cubicBezTo>
                      <a:pt x="254" y="124"/>
                      <a:pt x="254" y="124"/>
                      <a:pt x="254" y="124"/>
                    </a:cubicBezTo>
                    <a:cubicBezTo>
                      <a:pt x="250" y="136"/>
                      <a:pt x="250" y="136"/>
                      <a:pt x="250" y="136"/>
                    </a:cubicBezTo>
                    <a:cubicBezTo>
                      <a:pt x="240" y="140"/>
                      <a:pt x="240" y="140"/>
                      <a:pt x="240" y="140"/>
                    </a:cubicBezTo>
                    <a:cubicBezTo>
                      <a:pt x="255" y="154"/>
                      <a:pt x="255" y="154"/>
                      <a:pt x="255" y="154"/>
                    </a:cubicBezTo>
                    <a:cubicBezTo>
                      <a:pt x="266" y="154"/>
                      <a:pt x="266" y="154"/>
                      <a:pt x="266" y="154"/>
                    </a:cubicBezTo>
                    <a:cubicBezTo>
                      <a:pt x="286" y="145"/>
                      <a:pt x="286" y="145"/>
                      <a:pt x="286" y="145"/>
                    </a:cubicBezTo>
                    <a:cubicBezTo>
                      <a:pt x="305" y="149"/>
                      <a:pt x="305" y="149"/>
                      <a:pt x="305" y="149"/>
                    </a:cubicBezTo>
                    <a:cubicBezTo>
                      <a:pt x="326" y="169"/>
                      <a:pt x="326" y="169"/>
                      <a:pt x="326" y="169"/>
                    </a:cubicBezTo>
                    <a:cubicBezTo>
                      <a:pt x="333" y="162"/>
                      <a:pt x="333" y="162"/>
                      <a:pt x="333" y="162"/>
                    </a:cubicBezTo>
                    <a:cubicBezTo>
                      <a:pt x="347" y="162"/>
                      <a:pt x="347" y="162"/>
                      <a:pt x="347" y="162"/>
                    </a:cubicBezTo>
                    <a:cubicBezTo>
                      <a:pt x="364" y="157"/>
                      <a:pt x="364" y="157"/>
                      <a:pt x="364" y="157"/>
                    </a:cubicBezTo>
                    <a:cubicBezTo>
                      <a:pt x="371" y="164"/>
                      <a:pt x="371" y="164"/>
                      <a:pt x="371" y="164"/>
                    </a:cubicBezTo>
                    <a:cubicBezTo>
                      <a:pt x="369" y="173"/>
                      <a:pt x="369" y="173"/>
                      <a:pt x="369" y="173"/>
                    </a:cubicBezTo>
                    <a:cubicBezTo>
                      <a:pt x="359" y="180"/>
                      <a:pt x="359" y="180"/>
                      <a:pt x="359" y="180"/>
                    </a:cubicBezTo>
                    <a:cubicBezTo>
                      <a:pt x="359" y="192"/>
                      <a:pt x="359" y="192"/>
                      <a:pt x="359" y="192"/>
                    </a:cubicBezTo>
                    <a:cubicBezTo>
                      <a:pt x="371" y="202"/>
                      <a:pt x="371" y="202"/>
                      <a:pt x="371" y="202"/>
                    </a:cubicBezTo>
                    <a:cubicBezTo>
                      <a:pt x="372" y="190"/>
                      <a:pt x="372" y="190"/>
                      <a:pt x="372" y="190"/>
                    </a:cubicBezTo>
                    <a:cubicBezTo>
                      <a:pt x="378" y="184"/>
                      <a:pt x="378" y="184"/>
                      <a:pt x="378" y="184"/>
                    </a:cubicBezTo>
                    <a:cubicBezTo>
                      <a:pt x="391" y="188"/>
                      <a:pt x="391" y="188"/>
                      <a:pt x="391" y="188"/>
                    </a:cubicBezTo>
                    <a:cubicBezTo>
                      <a:pt x="391" y="177"/>
                      <a:pt x="391" y="177"/>
                      <a:pt x="391" y="177"/>
                    </a:cubicBezTo>
                    <a:cubicBezTo>
                      <a:pt x="404" y="175"/>
                      <a:pt x="404" y="175"/>
                      <a:pt x="404" y="175"/>
                    </a:cubicBezTo>
                    <a:cubicBezTo>
                      <a:pt x="407" y="159"/>
                      <a:pt x="407" y="159"/>
                      <a:pt x="407" y="159"/>
                    </a:cubicBezTo>
                    <a:cubicBezTo>
                      <a:pt x="405" y="140"/>
                      <a:pt x="405" y="140"/>
                      <a:pt x="405" y="140"/>
                    </a:cubicBezTo>
                    <a:cubicBezTo>
                      <a:pt x="417" y="134"/>
                      <a:pt x="417" y="134"/>
                      <a:pt x="417" y="134"/>
                    </a:cubicBezTo>
                    <a:cubicBezTo>
                      <a:pt x="427" y="131"/>
                      <a:pt x="427" y="131"/>
                      <a:pt x="427" y="131"/>
                    </a:cubicBezTo>
                    <a:cubicBezTo>
                      <a:pt x="439" y="143"/>
                      <a:pt x="439" y="143"/>
                      <a:pt x="439" y="143"/>
                    </a:cubicBezTo>
                    <a:cubicBezTo>
                      <a:pt x="445" y="138"/>
                      <a:pt x="445" y="138"/>
                      <a:pt x="445" y="138"/>
                    </a:cubicBezTo>
                    <a:cubicBezTo>
                      <a:pt x="458" y="155"/>
                      <a:pt x="458" y="155"/>
                      <a:pt x="458" y="155"/>
                    </a:cubicBezTo>
                    <a:cubicBezTo>
                      <a:pt x="474" y="170"/>
                      <a:pt x="474" y="170"/>
                      <a:pt x="474" y="170"/>
                    </a:cubicBezTo>
                    <a:cubicBezTo>
                      <a:pt x="487" y="183"/>
                      <a:pt x="487" y="183"/>
                      <a:pt x="487" y="183"/>
                    </a:cubicBezTo>
                    <a:lnTo>
                      <a:pt x="490" y="189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5" name="Freeform 211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 rot="698053">
                <a:off x="5216406" y="2228073"/>
                <a:ext cx="872950" cy="1015029"/>
              </a:xfrm>
              <a:custGeom>
                <a:avLst/>
                <a:gdLst>
                  <a:gd name="T0" fmla="*/ 149 w 570"/>
                  <a:gd name="T1" fmla="*/ 235 h 685"/>
                  <a:gd name="T2" fmla="*/ 147 w 570"/>
                  <a:gd name="T3" fmla="*/ 189 h 685"/>
                  <a:gd name="T4" fmla="*/ 195 w 570"/>
                  <a:gd name="T5" fmla="*/ 240 h 685"/>
                  <a:gd name="T6" fmla="*/ 233 w 570"/>
                  <a:gd name="T7" fmla="*/ 232 h 685"/>
                  <a:gd name="T8" fmla="*/ 198 w 570"/>
                  <a:gd name="T9" fmla="*/ 169 h 685"/>
                  <a:gd name="T10" fmla="*/ 227 w 570"/>
                  <a:gd name="T11" fmla="*/ 122 h 685"/>
                  <a:gd name="T12" fmla="*/ 244 w 570"/>
                  <a:gd name="T13" fmla="*/ 82 h 685"/>
                  <a:gd name="T14" fmla="*/ 290 w 570"/>
                  <a:gd name="T15" fmla="*/ 23 h 685"/>
                  <a:gd name="T16" fmla="*/ 342 w 570"/>
                  <a:gd name="T17" fmla="*/ 20 h 685"/>
                  <a:gd name="T18" fmla="*/ 333 w 570"/>
                  <a:gd name="T19" fmla="*/ 92 h 685"/>
                  <a:gd name="T20" fmla="*/ 318 w 570"/>
                  <a:gd name="T21" fmla="*/ 180 h 685"/>
                  <a:gd name="T22" fmla="*/ 318 w 570"/>
                  <a:gd name="T23" fmla="*/ 276 h 685"/>
                  <a:gd name="T24" fmla="*/ 266 w 570"/>
                  <a:gd name="T25" fmla="*/ 344 h 685"/>
                  <a:gd name="T26" fmla="*/ 209 w 570"/>
                  <a:gd name="T27" fmla="*/ 361 h 685"/>
                  <a:gd name="T28" fmla="*/ 212 w 570"/>
                  <a:gd name="T29" fmla="*/ 383 h 685"/>
                  <a:gd name="T30" fmla="*/ 259 w 570"/>
                  <a:gd name="T31" fmla="*/ 391 h 685"/>
                  <a:gd name="T32" fmla="*/ 309 w 570"/>
                  <a:gd name="T33" fmla="*/ 368 h 685"/>
                  <a:gd name="T34" fmla="*/ 338 w 570"/>
                  <a:gd name="T35" fmla="*/ 314 h 685"/>
                  <a:gd name="T36" fmla="*/ 365 w 570"/>
                  <a:gd name="T37" fmla="*/ 269 h 685"/>
                  <a:gd name="T38" fmla="*/ 388 w 570"/>
                  <a:gd name="T39" fmla="*/ 318 h 685"/>
                  <a:gd name="T40" fmla="*/ 418 w 570"/>
                  <a:gd name="T41" fmla="*/ 351 h 685"/>
                  <a:gd name="T42" fmla="*/ 406 w 570"/>
                  <a:gd name="T43" fmla="*/ 318 h 685"/>
                  <a:gd name="T44" fmla="*/ 396 w 570"/>
                  <a:gd name="T45" fmla="*/ 264 h 685"/>
                  <a:gd name="T46" fmla="*/ 347 w 570"/>
                  <a:gd name="T47" fmla="*/ 256 h 685"/>
                  <a:gd name="T48" fmla="*/ 334 w 570"/>
                  <a:gd name="T49" fmla="*/ 207 h 685"/>
                  <a:gd name="T50" fmla="*/ 354 w 570"/>
                  <a:gd name="T51" fmla="*/ 134 h 685"/>
                  <a:gd name="T52" fmla="*/ 387 w 570"/>
                  <a:gd name="T53" fmla="*/ 84 h 685"/>
                  <a:gd name="T54" fmla="*/ 411 w 570"/>
                  <a:gd name="T55" fmla="*/ 36 h 685"/>
                  <a:gd name="T56" fmla="*/ 393 w 570"/>
                  <a:gd name="T57" fmla="*/ 115 h 685"/>
                  <a:gd name="T58" fmla="*/ 436 w 570"/>
                  <a:gd name="T59" fmla="*/ 148 h 685"/>
                  <a:gd name="T60" fmla="*/ 423 w 570"/>
                  <a:gd name="T61" fmla="*/ 127 h 685"/>
                  <a:gd name="T62" fmla="*/ 429 w 570"/>
                  <a:gd name="T63" fmla="*/ 94 h 685"/>
                  <a:gd name="T64" fmla="*/ 452 w 570"/>
                  <a:gd name="T65" fmla="*/ 74 h 685"/>
                  <a:gd name="T66" fmla="*/ 475 w 570"/>
                  <a:gd name="T67" fmla="*/ 96 h 685"/>
                  <a:gd name="T68" fmla="*/ 469 w 570"/>
                  <a:gd name="T69" fmla="*/ 125 h 685"/>
                  <a:gd name="T70" fmla="*/ 471 w 570"/>
                  <a:gd name="T71" fmla="*/ 148 h 685"/>
                  <a:gd name="T72" fmla="*/ 466 w 570"/>
                  <a:gd name="T73" fmla="*/ 203 h 685"/>
                  <a:gd name="T74" fmla="*/ 452 w 570"/>
                  <a:gd name="T75" fmla="*/ 247 h 685"/>
                  <a:gd name="T76" fmla="*/ 487 w 570"/>
                  <a:gd name="T77" fmla="*/ 264 h 685"/>
                  <a:gd name="T78" fmla="*/ 509 w 570"/>
                  <a:gd name="T79" fmla="*/ 285 h 685"/>
                  <a:gd name="T80" fmla="*/ 508 w 570"/>
                  <a:gd name="T81" fmla="*/ 333 h 685"/>
                  <a:gd name="T82" fmla="*/ 495 w 570"/>
                  <a:gd name="T83" fmla="*/ 364 h 685"/>
                  <a:gd name="T84" fmla="*/ 512 w 570"/>
                  <a:gd name="T85" fmla="*/ 410 h 685"/>
                  <a:gd name="T86" fmla="*/ 514 w 570"/>
                  <a:gd name="T87" fmla="*/ 456 h 685"/>
                  <a:gd name="T88" fmla="*/ 537 w 570"/>
                  <a:gd name="T89" fmla="*/ 494 h 685"/>
                  <a:gd name="T90" fmla="*/ 558 w 570"/>
                  <a:gd name="T91" fmla="*/ 541 h 685"/>
                  <a:gd name="T92" fmla="*/ 561 w 570"/>
                  <a:gd name="T93" fmla="*/ 583 h 685"/>
                  <a:gd name="T94" fmla="*/ 545 w 570"/>
                  <a:gd name="T95" fmla="*/ 649 h 685"/>
                  <a:gd name="T96" fmla="*/ 500 w 570"/>
                  <a:gd name="T97" fmla="*/ 668 h 685"/>
                  <a:gd name="T98" fmla="*/ 440 w 570"/>
                  <a:gd name="T99" fmla="*/ 637 h 685"/>
                  <a:gd name="T100" fmla="*/ 380 w 570"/>
                  <a:gd name="T101" fmla="*/ 648 h 685"/>
                  <a:gd name="T102" fmla="*/ 318 w 570"/>
                  <a:gd name="T103" fmla="*/ 610 h 685"/>
                  <a:gd name="T104" fmla="*/ 260 w 570"/>
                  <a:gd name="T105" fmla="*/ 590 h 685"/>
                  <a:gd name="T106" fmla="*/ 199 w 570"/>
                  <a:gd name="T107" fmla="*/ 564 h 685"/>
                  <a:gd name="T108" fmla="*/ 168 w 570"/>
                  <a:gd name="T109" fmla="*/ 490 h 685"/>
                  <a:gd name="T110" fmla="*/ 105 w 570"/>
                  <a:gd name="T111" fmla="*/ 493 h 685"/>
                  <a:gd name="T112" fmla="*/ 62 w 570"/>
                  <a:gd name="T113" fmla="*/ 455 h 685"/>
                  <a:gd name="T114" fmla="*/ 0 w 570"/>
                  <a:gd name="T115" fmla="*/ 422 h 685"/>
                  <a:gd name="T116" fmla="*/ 33 w 570"/>
                  <a:gd name="T117" fmla="*/ 354 h 685"/>
                  <a:gd name="T118" fmla="*/ 103 w 570"/>
                  <a:gd name="T119" fmla="*/ 308 h 685"/>
                  <a:gd name="T120" fmla="*/ 146 w 570"/>
                  <a:gd name="T121" fmla="*/ 273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70" h="685">
                    <a:moveTo>
                      <a:pt x="133" y="253"/>
                    </a:moveTo>
                    <a:cubicBezTo>
                      <a:pt x="134" y="245"/>
                      <a:pt x="134" y="245"/>
                      <a:pt x="134" y="245"/>
                    </a:cubicBezTo>
                    <a:cubicBezTo>
                      <a:pt x="140" y="243"/>
                      <a:pt x="140" y="243"/>
                      <a:pt x="140" y="243"/>
                    </a:cubicBezTo>
                    <a:cubicBezTo>
                      <a:pt x="143" y="235"/>
                      <a:pt x="143" y="235"/>
                      <a:pt x="143" y="235"/>
                    </a:cubicBezTo>
                    <a:cubicBezTo>
                      <a:pt x="149" y="235"/>
                      <a:pt x="149" y="235"/>
                      <a:pt x="149" y="235"/>
                    </a:cubicBezTo>
                    <a:cubicBezTo>
                      <a:pt x="149" y="213"/>
                      <a:pt x="149" y="213"/>
                      <a:pt x="149" y="213"/>
                    </a:cubicBezTo>
                    <a:cubicBezTo>
                      <a:pt x="144" y="211"/>
                      <a:pt x="144" y="211"/>
                      <a:pt x="144" y="211"/>
                    </a:cubicBezTo>
                    <a:cubicBezTo>
                      <a:pt x="143" y="206"/>
                      <a:pt x="143" y="206"/>
                      <a:pt x="143" y="206"/>
                    </a:cubicBezTo>
                    <a:cubicBezTo>
                      <a:pt x="136" y="200"/>
                      <a:pt x="136" y="200"/>
                      <a:pt x="136" y="200"/>
                    </a:cubicBezTo>
                    <a:cubicBezTo>
                      <a:pt x="147" y="189"/>
                      <a:pt x="147" y="189"/>
                      <a:pt x="147" y="189"/>
                    </a:cubicBezTo>
                    <a:cubicBezTo>
                      <a:pt x="152" y="181"/>
                      <a:pt x="152" y="181"/>
                      <a:pt x="152" y="181"/>
                    </a:cubicBezTo>
                    <a:cubicBezTo>
                      <a:pt x="157" y="192"/>
                      <a:pt x="157" y="192"/>
                      <a:pt x="157" y="192"/>
                    </a:cubicBezTo>
                    <a:cubicBezTo>
                      <a:pt x="173" y="208"/>
                      <a:pt x="173" y="208"/>
                      <a:pt x="173" y="208"/>
                    </a:cubicBezTo>
                    <a:cubicBezTo>
                      <a:pt x="184" y="224"/>
                      <a:pt x="184" y="224"/>
                      <a:pt x="184" y="224"/>
                    </a:cubicBezTo>
                    <a:cubicBezTo>
                      <a:pt x="195" y="240"/>
                      <a:pt x="195" y="240"/>
                      <a:pt x="195" y="240"/>
                    </a:cubicBezTo>
                    <a:cubicBezTo>
                      <a:pt x="195" y="253"/>
                      <a:pt x="195" y="253"/>
                      <a:pt x="195" y="253"/>
                    </a:cubicBezTo>
                    <a:cubicBezTo>
                      <a:pt x="204" y="268"/>
                      <a:pt x="204" y="268"/>
                      <a:pt x="204" y="268"/>
                    </a:cubicBezTo>
                    <a:cubicBezTo>
                      <a:pt x="218" y="260"/>
                      <a:pt x="218" y="260"/>
                      <a:pt x="218" y="260"/>
                    </a:cubicBezTo>
                    <a:cubicBezTo>
                      <a:pt x="218" y="246"/>
                      <a:pt x="218" y="246"/>
                      <a:pt x="218" y="246"/>
                    </a:cubicBezTo>
                    <a:cubicBezTo>
                      <a:pt x="233" y="232"/>
                      <a:pt x="233" y="232"/>
                      <a:pt x="233" y="232"/>
                    </a:cubicBezTo>
                    <a:cubicBezTo>
                      <a:pt x="222" y="228"/>
                      <a:pt x="222" y="228"/>
                      <a:pt x="222" y="228"/>
                    </a:cubicBezTo>
                    <a:cubicBezTo>
                      <a:pt x="215" y="211"/>
                      <a:pt x="215" y="211"/>
                      <a:pt x="215" y="211"/>
                    </a:cubicBezTo>
                    <a:cubicBezTo>
                      <a:pt x="218" y="192"/>
                      <a:pt x="218" y="192"/>
                      <a:pt x="218" y="192"/>
                    </a:cubicBezTo>
                    <a:cubicBezTo>
                      <a:pt x="205" y="184"/>
                      <a:pt x="205" y="184"/>
                      <a:pt x="205" y="184"/>
                    </a:cubicBezTo>
                    <a:cubicBezTo>
                      <a:pt x="198" y="169"/>
                      <a:pt x="198" y="169"/>
                      <a:pt x="198" y="169"/>
                    </a:cubicBezTo>
                    <a:cubicBezTo>
                      <a:pt x="204" y="163"/>
                      <a:pt x="204" y="163"/>
                      <a:pt x="204" y="163"/>
                    </a:cubicBezTo>
                    <a:cubicBezTo>
                      <a:pt x="218" y="156"/>
                      <a:pt x="218" y="156"/>
                      <a:pt x="218" y="156"/>
                    </a:cubicBezTo>
                    <a:cubicBezTo>
                      <a:pt x="218" y="146"/>
                      <a:pt x="218" y="146"/>
                      <a:pt x="218" y="146"/>
                    </a:cubicBezTo>
                    <a:cubicBezTo>
                      <a:pt x="221" y="130"/>
                      <a:pt x="221" y="130"/>
                      <a:pt x="221" y="130"/>
                    </a:cubicBez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7" y="112"/>
                      <a:pt x="227" y="112"/>
                      <a:pt x="227" y="112"/>
                    </a:cubicBezTo>
                    <a:cubicBezTo>
                      <a:pt x="218" y="109"/>
                      <a:pt x="218" y="109"/>
                      <a:pt x="218" y="109"/>
                    </a:cubicBezTo>
                    <a:cubicBezTo>
                      <a:pt x="223" y="96"/>
                      <a:pt x="223" y="96"/>
                      <a:pt x="223" y="96"/>
                    </a:cubicBezTo>
                    <a:cubicBezTo>
                      <a:pt x="230" y="86"/>
                      <a:pt x="230" y="86"/>
                      <a:pt x="230" y="86"/>
                    </a:cubicBezTo>
                    <a:cubicBezTo>
                      <a:pt x="244" y="82"/>
                      <a:pt x="244" y="82"/>
                      <a:pt x="244" y="82"/>
                    </a:cubicBezTo>
                    <a:cubicBezTo>
                      <a:pt x="258" y="75"/>
                      <a:pt x="258" y="75"/>
                      <a:pt x="258" y="75"/>
                    </a:cubicBezTo>
                    <a:cubicBezTo>
                      <a:pt x="263" y="70"/>
                      <a:pt x="263" y="70"/>
                      <a:pt x="263" y="70"/>
                    </a:cubicBezTo>
                    <a:cubicBezTo>
                      <a:pt x="274" y="58"/>
                      <a:pt x="274" y="58"/>
                      <a:pt x="274" y="58"/>
                    </a:cubicBezTo>
                    <a:cubicBezTo>
                      <a:pt x="283" y="39"/>
                      <a:pt x="283" y="39"/>
                      <a:pt x="283" y="39"/>
                    </a:cubicBezTo>
                    <a:cubicBezTo>
                      <a:pt x="290" y="23"/>
                      <a:pt x="290" y="23"/>
                      <a:pt x="290" y="23"/>
                    </a:cubicBezTo>
                    <a:cubicBezTo>
                      <a:pt x="297" y="7"/>
                      <a:pt x="297" y="7"/>
                      <a:pt x="297" y="7"/>
                    </a:cubicBezTo>
                    <a:cubicBezTo>
                      <a:pt x="310" y="0"/>
                      <a:pt x="310" y="0"/>
                      <a:pt x="310" y="0"/>
                    </a:cubicBezTo>
                    <a:cubicBezTo>
                      <a:pt x="318" y="12"/>
                      <a:pt x="318" y="12"/>
                      <a:pt x="318" y="12"/>
                    </a:cubicBezTo>
                    <a:cubicBezTo>
                      <a:pt x="334" y="12"/>
                      <a:pt x="334" y="12"/>
                      <a:pt x="334" y="12"/>
                    </a:cubicBezTo>
                    <a:cubicBezTo>
                      <a:pt x="342" y="20"/>
                      <a:pt x="342" y="20"/>
                      <a:pt x="342" y="20"/>
                    </a:cubicBezTo>
                    <a:cubicBezTo>
                      <a:pt x="356" y="20"/>
                      <a:pt x="356" y="20"/>
                      <a:pt x="356" y="20"/>
                    </a:cubicBezTo>
                    <a:cubicBezTo>
                      <a:pt x="362" y="42"/>
                      <a:pt x="362" y="42"/>
                      <a:pt x="362" y="42"/>
                    </a:cubicBezTo>
                    <a:cubicBezTo>
                      <a:pt x="355" y="49"/>
                      <a:pt x="355" y="49"/>
                      <a:pt x="355" y="49"/>
                    </a:cubicBezTo>
                    <a:cubicBezTo>
                      <a:pt x="352" y="73"/>
                      <a:pt x="352" y="73"/>
                      <a:pt x="352" y="73"/>
                    </a:cubicBezTo>
                    <a:cubicBezTo>
                      <a:pt x="333" y="92"/>
                      <a:pt x="333" y="92"/>
                      <a:pt x="333" y="92"/>
                    </a:cubicBezTo>
                    <a:cubicBezTo>
                      <a:pt x="328" y="110"/>
                      <a:pt x="328" y="110"/>
                      <a:pt x="328" y="110"/>
                    </a:cubicBezTo>
                    <a:cubicBezTo>
                      <a:pt x="339" y="120"/>
                      <a:pt x="339" y="120"/>
                      <a:pt x="339" y="120"/>
                    </a:cubicBezTo>
                    <a:cubicBezTo>
                      <a:pt x="335" y="142"/>
                      <a:pt x="335" y="142"/>
                      <a:pt x="335" y="142"/>
                    </a:cubicBezTo>
                    <a:cubicBezTo>
                      <a:pt x="332" y="160"/>
                      <a:pt x="332" y="160"/>
                      <a:pt x="332" y="160"/>
                    </a:cubicBezTo>
                    <a:cubicBezTo>
                      <a:pt x="318" y="180"/>
                      <a:pt x="318" y="180"/>
                      <a:pt x="318" y="180"/>
                    </a:cubicBezTo>
                    <a:cubicBezTo>
                      <a:pt x="314" y="209"/>
                      <a:pt x="314" y="209"/>
                      <a:pt x="314" y="209"/>
                    </a:cubicBezTo>
                    <a:cubicBezTo>
                      <a:pt x="306" y="234"/>
                      <a:pt x="306" y="234"/>
                      <a:pt x="306" y="234"/>
                    </a:cubicBezTo>
                    <a:cubicBezTo>
                      <a:pt x="301" y="247"/>
                      <a:pt x="301" y="247"/>
                      <a:pt x="301" y="247"/>
                    </a:cubicBezTo>
                    <a:cubicBezTo>
                      <a:pt x="306" y="265"/>
                      <a:pt x="306" y="265"/>
                      <a:pt x="306" y="265"/>
                    </a:cubicBezTo>
                    <a:cubicBezTo>
                      <a:pt x="318" y="276"/>
                      <a:pt x="318" y="276"/>
                      <a:pt x="318" y="276"/>
                    </a:cubicBezTo>
                    <a:cubicBezTo>
                      <a:pt x="316" y="287"/>
                      <a:pt x="316" y="287"/>
                      <a:pt x="316" y="287"/>
                    </a:cubicBezTo>
                    <a:cubicBezTo>
                      <a:pt x="301" y="298"/>
                      <a:pt x="301" y="298"/>
                      <a:pt x="301" y="298"/>
                    </a:cubicBezTo>
                    <a:cubicBezTo>
                      <a:pt x="298" y="323"/>
                      <a:pt x="298" y="323"/>
                      <a:pt x="298" y="323"/>
                    </a:cubicBezTo>
                    <a:cubicBezTo>
                      <a:pt x="284" y="327"/>
                      <a:pt x="284" y="327"/>
                      <a:pt x="284" y="327"/>
                    </a:cubicBezTo>
                    <a:cubicBezTo>
                      <a:pt x="266" y="344"/>
                      <a:pt x="266" y="344"/>
                      <a:pt x="266" y="344"/>
                    </a:cubicBezTo>
                    <a:cubicBezTo>
                      <a:pt x="256" y="359"/>
                      <a:pt x="256" y="359"/>
                      <a:pt x="256" y="359"/>
                    </a:cubicBezTo>
                    <a:cubicBezTo>
                      <a:pt x="247" y="364"/>
                      <a:pt x="247" y="364"/>
                      <a:pt x="247" y="364"/>
                    </a:cubicBezTo>
                    <a:cubicBezTo>
                      <a:pt x="230" y="361"/>
                      <a:pt x="230" y="361"/>
                      <a:pt x="230" y="361"/>
                    </a:cubicBezTo>
                    <a:cubicBezTo>
                      <a:pt x="220" y="368"/>
                      <a:pt x="220" y="368"/>
                      <a:pt x="220" y="368"/>
                    </a:cubicBezTo>
                    <a:cubicBezTo>
                      <a:pt x="209" y="361"/>
                      <a:pt x="209" y="361"/>
                      <a:pt x="209" y="361"/>
                    </a:cubicBezTo>
                    <a:cubicBezTo>
                      <a:pt x="202" y="354"/>
                      <a:pt x="202" y="354"/>
                      <a:pt x="202" y="354"/>
                    </a:cubicBezTo>
                    <a:cubicBezTo>
                      <a:pt x="192" y="350"/>
                      <a:pt x="192" y="350"/>
                      <a:pt x="192" y="350"/>
                    </a:cubicBezTo>
                    <a:cubicBezTo>
                      <a:pt x="192" y="363"/>
                      <a:pt x="192" y="363"/>
                      <a:pt x="192" y="363"/>
                    </a:cubicBezTo>
                    <a:cubicBezTo>
                      <a:pt x="202" y="378"/>
                      <a:pt x="202" y="378"/>
                      <a:pt x="202" y="378"/>
                    </a:cubicBezTo>
                    <a:cubicBezTo>
                      <a:pt x="212" y="383"/>
                      <a:pt x="212" y="383"/>
                      <a:pt x="212" y="383"/>
                    </a:cubicBezTo>
                    <a:cubicBezTo>
                      <a:pt x="226" y="392"/>
                      <a:pt x="226" y="392"/>
                      <a:pt x="226" y="392"/>
                    </a:cubicBezTo>
                    <a:cubicBezTo>
                      <a:pt x="237" y="392"/>
                      <a:pt x="237" y="392"/>
                      <a:pt x="237" y="392"/>
                    </a:cubicBezTo>
                    <a:cubicBezTo>
                      <a:pt x="245" y="403"/>
                      <a:pt x="245" y="403"/>
                      <a:pt x="245" y="403"/>
                    </a:cubicBezTo>
                    <a:cubicBezTo>
                      <a:pt x="257" y="403"/>
                      <a:pt x="257" y="403"/>
                      <a:pt x="257" y="403"/>
                    </a:cubicBezTo>
                    <a:cubicBezTo>
                      <a:pt x="257" y="403"/>
                      <a:pt x="262" y="394"/>
                      <a:pt x="259" y="391"/>
                    </a:cubicBezTo>
                    <a:cubicBezTo>
                      <a:pt x="257" y="389"/>
                      <a:pt x="266" y="384"/>
                      <a:pt x="266" y="384"/>
                    </a:cubicBezTo>
                    <a:cubicBezTo>
                      <a:pt x="275" y="384"/>
                      <a:pt x="275" y="384"/>
                      <a:pt x="275" y="384"/>
                    </a:cubicBezTo>
                    <a:cubicBezTo>
                      <a:pt x="279" y="380"/>
                      <a:pt x="279" y="380"/>
                      <a:pt x="279" y="380"/>
                    </a:cubicBezTo>
                    <a:cubicBezTo>
                      <a:pt x="296" y="376"/>
                      <a:pt x="296" y="376"/>
                      <a:pt x="296" y="376"/>
                    </a:cubicBezTo>
                    <a:cubicBezTo>
                      <a:pt x="309" y="368"/>
                      <a:pt x="309" y="368"/>
                      <a:pt x="309" y="368"/>
                    </a:cubicBezTo>
                    <a:cubicBezTo>
                      <a:pt x="309" y="354"/>
                      <a:pt x="309" y="354"/>
                      <a:pt x="309" y="354"/>
                    </a:cubicBezTo>
                    <a:cubicBezTo>
                      <a:pt x="315" y="348"/>
                      <a:pt x="315" y="348"/>
                      <a:pt x="315" y="348"/>
                    </a:cubicBezTo>
                    <a:cubicBezTo>
                      <a:pt x="325" y="338"/>
                      <a:pt x="325" y="338"/>
                      <a:pt x="325" y="338"/>
                    </a:cubicBezTo>
                    <a:cubicBezTo>
                      <a:pt x="334" y="330"/>
                      <a:pt x="334" y="330"/>
                      <a:pt x="334" y="330"/>
                    </a:cubicBezTo>
                    <a:cubicBezTo>
                      <a:pt x="338" y="314"/>
                      <a:pt x="338" y="314"/>
                      <a:pt x="338" y="314"/>
                    </a:cubicBezTo>
                    <a:cubicBezTo>
                      <a:pt x="334" y="300"/>
                      <a:pt x="334" y="300"/>
                      <a:pt x="334" y="300"/>
                    </a:cubicBezTo>
                    <a:cubicBezTo>
                      <a:pt x="333" y="287"/>
                      <a:pt x="333" y="287"/>
                      <a:pt x="333" y="287"/>
                    </a:cubicBezTo>
                    <a:cubicBezTo>
                      <a:pt x="342" y="278"/>
                      <a:pt x="342" y="278"/>
                      <a:pt x="342" y="278"/>
                    </a:cubicBezTo>
                    <a:cubicBezTo>
                      <a:pt x="351" y="269"/>
                      <a:pt x="351" y="269"/>
                      <a:pt x="351" y="269"/>
                    </a:cubicBezTo>
                    <a:cubicBezTo>
                      <a:pt x="365" y="269"/>
                      <a:pt x="365" y="269"/>
                      <a:pt x="365" y="269"/>
                    </a:cubicBezTo>
                    <a:cubicBezTo>
                      <a:pt x="380" y="267"/>
                      <a:pt x="380" y="267"/>
                      <a:pt x="380" y="267"/>
                    </a:cubicBezTo>
                    <a:cubicBezTo>
                      <a:pt x="385" y="280"/>
                      <a:pt x="385" y="280"/>
                      <a:pt x="385" y="280"/>
                    </a:cubicBezTo>
                    <a:cubicBezTo>
                      <a:pt x="391" y="286"/>
                      <a:pt x="391" y="286"/>
                      <a:pt x="391" y="286"/>
                    </a:cubicBezTo>
                    <a:cubicBezTo>
                      <a:pt x="399" y="307"/>
                      <a:pt x="399" y="307"/>
                      <a:pt x="399" y="307"/>
                    </a:cubicBezTo>
                    <a:cubicBezTo>
                      <a:pt x="388" y="318"/>
                      <a:pt x="388" y="318"/>
                      <a:pt x="388" y="318"/>
                    </a:cubicBezTo>
                    <a:cubicBezTo>
                      <a:pt x="389" y="334"/>
                      <a:pt x="389" y="334"/>
                      <a:pt x="389" y="334"/>
                    </a:cubicBezTo>
                    <a:cubicBezTo>
                      <a:pt x="389" y="344"/>
                      <a:pt x="389" y="344"/>
                      <a:pt x="389" y="344"/>
                    </a:cubicBezTo>
                    <a:cubicBezTo>
                      <a:pt x="402" y="357"/>
                      <a:pt x="402" y="357"/>
                      <a:pt x="402" y="357"/>
                    </a:cubicBezTo>
                    <a:cubicBezTo>
                      <a:pt x="418" y="360"/>
                      <a:pt x="418" y="360"/>
                      <a:pt x="418" y="360"/>
                    </a:cubicBezTo>
                    <a:cubicBezTo>
                      <a:pt x="418" y="351"/>
                      <a:pt x="418" y="351"/>
                      <a:pt x="418" y="351"/>
                    </a:cubicBezTo>
                    <a:cubicBezTo>
                      <a:pt x="403" y="347"/>
                      <a:pt x="403" y="347"/>
                      <a:pt x="403" y="347"/>
                    </a:cubicBezTo>
                    <a:cubicBezTo>
                      <a:pt x="397" y="341"/>
                      <a:pt x="397" y="341"/>
                      <a:pt x="397" y="341"/>
                    </a:cubicBezTo>
                    <a:cubicBezTo>
                      <a:pt x="397" y="333"/>
                      <a:pt x="397" y="333"/>
                      <a:pt x="397" y="333"/>
                    </a:cubicBezTo>
                    <a:cubicBezTo>
                      <a:pt x="396" y="321"/>
                      <a:pt x="396" y="321"/>
                      <a:pt x="396" y="321"/>
                    </a:cubicBezTo>
                    <a:cubicBezTo>
                      <a:pt x="406" y="318"/>
                      <a:pt x="406" y="318"/>
                      <a:pt x="406" y="318"/>
                    </a:cubicBezTo>
                    <a:cubicBezTo>
                      <a:pt x="410" y="309"/>
                      <a:pt x="410" y="309"/>
                      <a:pt x="410" y="309"/>
                    </a:cubicBezTo>
                    <a:cubicBezTo>
                      <a:pt x="406" y="296"/>
                      <a:pt x="406" y="296"/>
                      <a:pt x="406" y="296"/>
                    </a:cubicBezTo>
                    <a:cubicBezTo>
                      <a:pt x="411" y="286"/>
                      <a:pt x="411" y="286"/>
                      <a:pt x="411" y="286"/>
                    </a:cubicBezTo>
                    <a:cubicBezTo>
                      <a:pt x="404" y="272"/>
                      <a:pt x="404" y="272"/>
                      <a:pt x="404" y="272"/>
                    </a:cubicBezTo>
                    <a:cubicBezTo>
                      <a:pt x="396" y="264"/>
                      <a:pt x="396" y="264"/>
                      <a:pt x="396" y="264"/>
                    </a:cubicBezTo>
                    <a:cubicBezTo>
                      <a:pt x="390" y="259"/>
                      <a:pt x="390" y="259"/>
                      <a:pt x="390" y="259"/>
                    </a:cubicBezTo>
                    <a:cubicBezTo>
                      <a:pt x="374" y="253"/>
                      <a:pt x="374" y="253"/>
                      <a:pt x="374" y="253"/>
                    </a:cubicBezTo>
                    <a:cubicBezTo>
                      <a:pt x="365" y="244"/>
                      <a:pt x="365" y="244"/>
                      <a:pt x="365" y="244"/>
                    </a:cubicBezTo>
                    <a:cubicBezTo>
                      <a:pt x="357" y="252"/>
                      <a:pt x="357" y="252"/>
                      <a:pt x="357" y="252"/>
                    </a:cubicBezTo>
                    <a:cubicBezTo>
                      <a:pt x="347" y="256"/>
                      <a:pt x="347" y="256"/>
                      <a:pt x="347" y="256"/>
                    </a:cubicBezTo>
                    <a:cubicBezTo>
                      <a:pt x="342" y="249"/>
                      <a:pt x="342" y="249"/>
                      <a:pt x="342" y="249"/>
                    </a:cubicBezTo>
                    <a:cubicBezTo>
                      <a:pt x="330" y="249"/>
                      <a:pt x="330" y="249"/>
                      <a:pt x="330" y="249"/>
                    </a:cubicBezTo>
                    <a:cubicBezTo>
                      <a:pt x="328" y="236"/>
                      <a:pt x="328" y="236"/>
                      <a:pt x="328" y="236"/>
                    </a:cubicBezTo>
                    <a:cubicBezTo>
                      <a:pt x="336" y="228"/>
                      <a:pt x="336" y="228"/>
                      <a:pt x="336" y="228"/>
                    </a:cubicBezTo>
                    <a:cubicBezTo>
                      <a:pt x="334" y="207"/>
                      <a:pt x="334" y="207"/>
                      <a:pt x="334" y="207"/>
                    </a:cubicBezTo>
                    <a:cubicBezTo>
                      <a:pt x="343" y="192"/>
                      <a:pt x="343" y="192"/>
                      <a:pt x="343" y="192"/>
                    </a:cubicBezTo>
                    <a:cubicBezTo>
                      <a:pt x="349" y="175"/>
                      <a:pt x="349" y="175"/>
                      <a:pt x="349" y="175"/>
                    </a:cubicBezTo>
                    <a:cubicBezTo>
                      <a:pt x="362" y="162"/>
                      <a:pt x="362" y="162"/>
                      <a:pt x="362" y="162"/>
                    </a:cubicBezTo>
                    <a:cubicBezTo>
                      <a:pt x="358" y="147"/>
                      <a:pt x="358" y="147"/>
                      <a:pt x="358" y="147"/>
                    </a:cubicBezTo>
                    <a:cubicBezTo>
                      <a:pt x="354" y="134"/>
                      <a:pt x="354" y="134"/>
                      <a:pt x="354" y="134"/>
                    </a:cubicBezTo>
                    <a:cubicBezTo>
                      <a:pt x="355" y="121"/>
                      <a:pt x="355" y="121"/>
                      <a:pt x="355" y="121"/>
                    </a:cubicBezTo>
                    <a:cubicBezTo>
                      <a:pt x="346" y="111"/>
                      <a:pt x="346" y="111"/>
                      <a:pt x="346" y="111"/>
                    </a:cubicBezTo>
                    <a:cubicBezTo>
                      <a:pt x="356" y="100"/>
                      <a:pt x="356" y="100"/>
                      <a:pt x="356" y="100"/>
                    </a:cubicBezTo>
                    <a:cubicBezTo>
                      <a:pt x="373" y="84"/>
                      <a:pt x="373" y="84"/>
                      <a:pt x="373" y="84"/>
                    </a:cubicBezTo>
                    <a:cubicBezTo>
                      <a:pt x="387" y="84"/>
                      <a:pt x="387" y="84"/>
                      <a:pt x="387" y="84"/>
                    </a:cubicBezTo>
                    <a:cubicBezTo>
                      <a:pt x="395" y="71"/>
                      <a:pt x="395" y="71"/>
                      <a:pt x="395" y="71"/>
                    </a:cubicBezTo>
                    <a:cubicBezTo>
                      <a:pt x="400" y="57"/>
                      <a:pt x="400" y="57"/>
                      <a:pt x="400" y="57"/>
                    </a:cubicBezTo>
                    <a:cubicBezTo>
                      <a:pt x="396" y="46"/>
                      <a:pt x="396" y="46"/>
                      <a:pt x="396" y="46"/>
                    </a:cubicBezTo>
                    <a:cubicBezTo>
                      <a:pt x="400" y="36"/>
                      <a:pt x="400" y="36"/>
                      <a:pt x="400" y="36"/>
                    </a:cubicBezTo>
                    <a:cubicBezTo>
                      <a:pt x="411" y="36"/>
                      <a:pt x="411" y="36"/>
                      <a:pt x="411" y="36"/>
                    </a:cubicBezTo>
                    <a:cubicBezTo>
                      <a:pt x="408" y="50"/>
                      <a:pt x="408" y="50"/>
                      <a:pt x="408" y="50"/>
                    </a:cubicBezTo>
                    <a:cubicBezTo>
                      <a:pt x="408" y="69"/>
                      <a:pt x="408" y="69"/>
                      <a:pt x="408" y="69"/>
                    </a:cubicBezTo>
                    <a:cubicBezTo>
                      <a:pt x="405" y="86"/>
                      <a:pt x="405" y="86"/>
                      <a:pt x="405" y="86"/>
                    </a:cubicBezTo>
                    <a:cubicBezTo>
                      <a:pt x="393" y="98"/>
                      <a:pt x="393" y="98"/>
                      <a:pt x="393" y="98"/>
                    </a:cubicBezTo>
                    <a:cubicBezTo>
                      <a:pt x="393" y="115"/>
                      <a:pt x="393" y="115"/>
                      <a:pt x="393" y="115"/>
                    </a:cubicBezTo>
                    <a:cubicBezTo>
                      <a:pt x="393" y="127"/>
                      <a:pt x="393" y="127"/>
                      <a:pt x="393" y="127"/>
                    </a:cubicBezTo>
                    <a:cubicBezTo>
                      <a:pt x="407" y="138"/>
                      <a:pt x="407" y="138"/>
                      <a:pt x="407" y="138"/>
                    </a:cubicBezTo>
                    <a:cubicBezTo>
                      <a:pt x="415" y="144"/>
                      <a:pt x="415" y="144"/>
                      <a:pt x="415" y="144"/>
                    </a:cubicBezTo>
                    <a:cubicBezTo>
                      <a:pt x="425" y="138"/>
                      <a:pt x="425" y="138"/>
                      <a:pt x="425" y="138"/>
                    </a:cubicBezTo>
                    <a:cubicBezTo>
                      <a:pt x="436" y="148"/>
                      <a:pt x="436" y="148"/>
                      <a:pt x="436" y="148"/>
                    </a:cubicBezTo>
                    <a:cubicBezTo>
                      <a:pt x="447" y="159"/>
                      <a:pt x="447" y="159"/>
                      <a:pt x="447" y="159"/>
                    </a:cubicBezTo>
                    <a:cubicBezTo>
                      <a:pt x="447" y="151"/>
                      <a:pt x="447" y="151"/>
                      <a:pt x="447" y="151"/>
                    </a:cubicBezTo>
                    <a:cubicBezTo>
                      <a:pt x="443" y="141"/>
                      <a:pt x="443" y="141"/>
                      <a:pt x="443" y="141"/>
                    </a:cubicBezTo>
                    <a:cubicBezTo>
                      <a:pt x="435" y="133"/>
                      <a:pt x="435" y="133"/>
                      <a:pt x="435" y="133"/>
                    </a:cubicBezTo>
                    <a:cubicBezTo>
                      <a:pt x="423" y="127"/>
                      <a:pt x="423" y="127"/>
                      <a:pt x="423" y="127"/>
                    </a:cubicBezTo>
                    <a:cubicBezTo>
                      <a:pt x="423" y="122"/>
                      <a:pt x="423" y="122"/>
                      <a:pt x="423" y="122"/>
                    </a:cubicBezTo>
                    <a:cubicBezTo>
                      <a:pt x="413" y="112"/>
                      <a:pt x="413" y="112"/>
                      <a:pt x="413" y="112"/>
                    </a:cubicBezTo>
                    <a:cubicBezTo>
                      <a:pt x="408" y="97"/>
                      <a:pt x="408" y="97"/>
                      <a:pt x="408" y="97"/>
                    </a:cubicBezTo>
                    <a:cubicBezTo>
                      <a:pt x="422" y="88"/>
                      <a:pt x="422" y="88"/>
                      <a:pt x="422" y="88"/>
                    </a:cubicBezTo>
                    <a:cubicBezTo>
                      <a:pt x="429" y="94"/>
                      <a:pt x="429" y="94"/>
                      <a:pt x="429" y="94"/>
                    </a:cubicBezTo>
                    <a:cubicBezTo>
                      <a:pt x="440" y="105"/>
                      <a:pt x="440" y="105"/>
                      <a:pt x="440" y="105"/>
                    </a:cubicBezTo>
                    <a:cubicBezTo>
                      <a:pt x="448" y="98"/>
                      <a:pt x="448" y="98"/>
                      <a:pt x="448" y="98"/>
                    </a:cubicBezTo>
                    <a:cubicBezTo>
                      <a:pt x="445" y="89"/>
                      <a:pt x="445" y="89"/>
                      <a:pt x="445" y="89"/>
                    </a:cubicBezTo>
                    <a:cubicBezTo>
                      <a:pt x="444" y="81"/>
                      <a:pt x="444" y="81"/>
                      <a:pt x="444" y="81"/>
                    </a:cubicBezTo>
                    <a:cubicBezTo>
                      <a:pt x="452" y="74"/>
                      <a:pt x="452" y="74"/>
                      <a:pt x="452" y="74"/>
                    </a:cubicBezTo>
                    <a:cubicBezTo>
                      <a:pt x="452" y="82"/>
                      <a:pt x="452" y="82"/>
                      <a:pt x="452" y="82"/>
                    </a:cubicBezTo>
                    <a:cubicBezTo>
                      <a:pt x="459" y="82"/>
                      <a:pt x="459" y="82"/>
                      <a:pt x="459" y="82"/>
                    </a:cubicBezTo>
                    <a:cubicBezTo>
                      <a:pt x="461" y="89"/>
                      <a:pt x="461" y="89"/>
                      <a:pt x="461" y="89"/>
                    </a:cubicBezTo>
                    <a:cubicBezTo>
                      <a:pt x="466" y="94"/>
                      <a:pt x="466" y="94"/>
                      <a:pt x="466" y="94"/>
                    </a:cubicBezTo>
                    <a:cubicBezTo>
                      <a:pt x="475" y="96"/>
                      <a:pt x="475" y="96"/>
                      <a:pt x="475" y="96"/>
                    </a:cubicBezTo>
                    <a:cubicBezTo>
                      <a:pt x="485" y="101"/>
                      <a:pt x="485" y="101"/>
                      <a:pt x="485" y="101"/>
                    </a:cubicBezTo>
                    <a:cubicBezTo>
                      <a:pt x="487" y="110"/>
                      <a:pt x="487" y="110"/>
                      <a:pt x="487" y="110"/>
                    </a:cubicBezTo>
                    <a:cubicBezTo>
                      <a:pt x="481" y="116"/>
                      <a:pt x="481" y="116"/>
                      <a:pt x="481" y="116"/>
                    </a:cubicBezTo>
                    <a:cubicBezTo>
                      <a:pt x="482" y="123"/>
                      <a:pt x="482" y="123"/>
                      <a:pt x="482" y="123"/>
                    </a:cubicBezTo>
                    <a:cubicBezTo>
                      <a:pt x="469" y="125"/>
                      <a:pt x="469" y="125"/>
                      <a:pt x="469" y="125"/>
                    </a:cubicBezTo>
                    <a:cubicBezTo>
                      <a:pt x="464" y="131"/>
                      <a:pt x="464" y="131"/>
                      <a:pt x="464" y="131"/>
                    </a:cubicBezTo>
                    <a:cubicBezTo>
                      <a:pt x="460" y="135"/>
                      <a:pt x="460" y="135"/>
                      <a:pt x="460" y="135"/>
                    </a:cubicBezTo>
                    <a:cubicBezTo>
                      <a:pt x="464" y="143"/>
                      <a:pt x="464" y="143"/>
                      <a:pt x="464" y="143"/>
                    </a:cubicBezTo>
                    <a:cubicBezTo>
                      <a:pt x="467" y="140"/>
                      <a:pt x="467" y="140"/>
                      <a:pt x="467" y="140"/>
                    </a:cubicBezTo>
                    <a:cubicBezTo>
                      <a:pt x="471" y="148"/>
                      <a:pt x="471" y="148"/>
                      <a:pt x="471" y="148"/>
                    </a:cubicBezTo>
                    <a:cubicBezTo>
                      <a:pt x="486" y="156"/>
                      <a:pt x="486" y="156"/>
                      <a:pt x="486" y="156"/>
                    </a:cubicBezTo>
                    <a:cubicBezTo>
                      <a:pt x="484" y="172"/>
                      <a:pt x="484" y="172"/>
                      <a:pt x="484" y="172"/>
                    </a:cubicBezTo>
                    <a:cubicBezTo>
                      <a:pt x="484" y="195"/>
                      <a:pt x="484" y="195"/>
                      <a:pt x="484" y="195"/>
                    </a:cubicBezTo>
                    <a:cubicBezTo>
                      <a:pt x="471" y="195"/>
                      <a:pt x="471" y="195"/>
                      <a:pt x="471" y="195"/>
                    </a:cubicBezTo>
                    <a:cubicBezTo>
                      <a:pt x="466" y="203"/>
                      <a:pt x="466" y="203"/>
                      <a:pt x="466" y="203"/>
                    </a:cubicBezTo>
                    <a:cubicBezTo>
                      <a:pt x="456" y="213"/>
                      <a:pt x="456" y="213"/>
                      <a:pt x="456" y="213"/>
                    </a:cubicBezTo>
                    <a:cubicBezTo>
                      <a:pt x="444" y="222"/>
                      <a:pt x="444" y="222"/>
                      <a:pt x="444" y="222"/>
                    </a:cubicBezTo>
                    <a:cubicBezTo>
                      <a:pt x="445" y="234"/>
                      <a:pt x="445" y="234"/>
                      <a:pt x="445" y="234"/>
                    </a:cubicBezTo>
                    <a:cubicBezTo>
                      <a:pt x="450" y="240"/>
                      <a:pt x="450" y="240"/>
                      <a:pt x="450" y="240"/>
                    </a:cubicBezTo>
                    <a:cubicBezTo>
                      <a:pt x="452" y="247"/>
                      <a:pt x="452" y="247"/>
                      <a:pt x="452" y="247"/>
                    </a:cubicBezTo>
                    <a:cubicBezTo>
                      <a:pt x="461" y="256"/>
                      <a:pt x="461" y="256"/>
                      <a:pt x="461" y="256"/>
                    </a:cubicBezTo>
                    <a:cubicBezTo>
                      <a:pt x="473" y="258"/>
                      <a:pt x="473" y="258"/>
                      <a:pt x="473" y="258"/>
                    </a:cubicBezTo>
                    <a:cubicBezTo>
                      <a:pt x="475" y="266"/>
                      <a:pt x="475" y="266"/>
                      <a:pt x="475" y="266"/>
                    </a:cubicBezTo>
                    <a:cubicBezTo>
                      <a:pt x="479" y="271"/>
                      <a:pt x="479" y="271"/>
                      <a:pt x="479" y="271"/>
                    </a:cubicBezTo>
                    <a:cubicBezTo>
                      <a:pt x="487" y="264"/>
                      <a:pt x="487" y="264"/>
                      <a:pt x="487" y="264"/>
                    </a:cubicBezTo>
                    <a:cubicBezTo>
                      <a:pt x="491" y="268"/>
                      <a:pt x="491" y="268"/>
                      <a:pt x="491" y="268"/>
                    </a:cubicBezTo>
                    <a:cubicBezTo>
                      <a:pt x="499" y="260"/>
                      <a:pt x="499" y="260"/>
                      <a:pt x="499" y="260"/>
                    </a:cubicBezTo>
                    <a:cubicBezTo>
                      <a:pt x="499" y="273"/>
                      <a:pt x="499" y="273"/>
                      <a:pt x="499" y="273"/>
                    </a:cubicBezTo>
                    <a:cubicBezTo>
                      <a:pt x="509" y="275"/>
                      <a:pt x="509" y="275"/>
                      <a:pt x="509" y="275"/>
                    </a:cubicBezTo>
                    <a:cubicBezTo>
                      <a:pt x="509" y="285"/>
                      <a:pt x="509" y="285"/>
                      <a:pt x="509" y="285"/>
                    </a:cubicBezTo>
                    <a:cubicBezTo>
                      <a:pt x="516" y="301"/>
                      <a:pt x="516" y="301"/>
                      <a:pt x="516" y="301"/>
                    </a:cubicBezTo>
                    <a:cubicBezTo>
                      <a:pt x="512" y="310"/>
                      <a:pt x="512" y="310"/>
                      <a:pt x="512" y="310"/>
                    </a:cubicBezTo>
                    <a:cubicBezTo>
                      <a:pt x="507" y="310"/>
                      <a:pt x="507" y="310"/>
                      <a:pt x="507" y="310"/>
                    </a:cubicBezTo>
                    <a:cubicBezTo>
                      <a:pt x="512" y="320"/>
                      <a:pt x="512" y="320"/>
                      <a:pt x="512" y="320"/>
                    </a:cubicBezTo>
                    <a:cubicBezTo>
                      <a:pt x="508" y="333"/>
                      <a:pt x="508" y="333"/>
                      <a:pt x="508" y="333"/>
                    </a:cubicBezTo>
                    <a:cubicBezTo>
                      <a:pt x="501" y="340"/>
                      <a:pt x="501" y="340"/>
                      <a:pt x="501" y="340"/>
                    </a:cubicBezTo>
                    <a:cubicBezTo>
                      <a:pt x="498" y="348"/>
                      <a:pt x="498" y="348"/>
                      <a:pt x="498" y="348"/>
                    </a:cubicBezTo>
                    <a:cubicBezTo>
                      <a:pt x="489" y="346"/>
                      <a:pt x="489" y="346"/>
                      <a:pt x="489" y="346"/>
                    </a:cubicBezTo>
                    <a:cubicBezTo>
                      <a:pt x="489" y="357"/>
                      <a:pt x="489" y="357"/>
                      <a:pt x="489" y="357"/>
                    </a:cubicBezTo>
                    <a:cubicBezTo>
                      <a:pt x="495" y="364"/>
                      <a:pt x="495" y="364"/>
                      <a:pt x="495" y="364"/>
                    </a:cubicBezTo>
                    <a:cubicBezTo>
                      <a:pt x="497" y="376"/>
                      <a:pt x="497" y="376"/>
                      <a:pt x="497" y="376"/>
                    </a:cubicBezTo>
                    <a:cubicBezTo>
                      <a:pt x="492" y="386"/>
                      <a:pt x="492" y="386"/>
                      <a:pt x="492" y="386"/>
                    </a:cubicBezTo>
                    <a:cubicBezTo>
                      <a:pt x="498" y="392"/>
                      <a:pt x="498" y="392"/>
                      <a:pt x="498" y="392"/>
                    </a:cubicBezTo>
                    <a:cubicBezTo>
                      <a:pt x="498" y="401"/>
                      <a:pt x="498" y="401"/>
                      <a:pt x="498" y="401"/>
                    </a:cubicBezTo>
                    <a:cubicBezTo>
                      <a:pt x="512" y="410"/>
                      <a:pt x="512" y="410"/>
                      <a:pt x="512" y="410"/>
                    </a:cubicBezTo>
                    <a:cubicBezTo>
                      <a:pt x="518" y="421"/>
                      <a:pt x="518" y="421"/>
                      <a:pt x="518" y="421"/>
                    </a:cubicBezTo>
                    <a:cubicBezTo>
                      <a:pt x="509" y="430"/>
                      <a:pt x="509" y="430"/>
                      <a:pt x="509" y="430"/>
                    </a:cubicBezTo>
                    <a:cubicBezTo>
                      <a:pt x="509" y="436"/>
                      <a:pt x="509" y="436"/>
                      <a:pt x="509" y="436"/>
                    </a:cubicBezTo>
                    <a:cubicBezTo>
                      <a:pt x="514" y="444"/>
                      <a:pt x="514" y="444"/>
                      <a:pt x="514" y="444"/>
                    </a:cubicBezTo>
                    <a:cubicBezTo>
                      <a:pt x="514" y="456"/>
                      <a:pt x="514" y="456"/>
                      <a:pt x="514" y="456"/>
                    </a:cubicBezTo>
                    <a:cubicBezTo>
                      <a:pt x="508" y="461"/>
                      <a:pt x="508" y="461"/>
                      <a:pt x="508" y="461"/>
                    </a:cubicBezTo>
                    <a:cubicBezTo>
                      <a:pt x="515" y="474"/>
                      <a:pt x="515" y="474"/>
                      <a:pt x="515" y="474"/>
                    </a:cubicBezTo>
                    <a:cubicBezTo>
                      <a:pt x="523" y="474"/>
                      <a:pt x="523" y="474"/>
                      <a:pt x="523" y="474"/>
                    </a:cubicBezTo>
                    <a:cubicBezTo>
                      <a:pt x="531" y="482"/>
                      <a:pt x="531" y="482"/>
                      <a:pt x="531" y="482"/>
                    </a:cubicBezTo>
                    <a:cubicBezTo>
                      <a:pt x="537" y="494"/>
                      <a:pt x="537" y="494"/>
                      <a:pt x="537" y="494"/>
                    </a:cubicBezTo>
                    <a:cubicBezTo>
                      <a:pt x="538" y="510"/>
                      <a:pt x="538" y="510"/>
                      <a:pt x="538" y="510"/>
                    </a:cubicBezTo>
                    <a:cubicBezTo>
                      <a:pt x="532" y="516"/>
                      <a:pt x="532" y="516"/>
                      <a:pt x="532" y="516"/>
                    </a:cubicBezTo>
                    <a:cubicBezTo>
                      <a:pt x="535" y="530"/>
                      <a:pt x="535" y="530"/>
                      <a:pt x="535" y="530"/>
                    </a:cubicBezTo>
                    <a:cubicBezTo>
                      <a:pt x="550" y="534"/>
                      <a:pt x="550" y="534"/>
                      <a:pt x="550" y="534"/>
                    </a:cubicBezTo>
                    <a:cubicBezTo>
                      <a:pt x="558" y="541"/>
                      <a:pt x="558" y="541"/>
                      <a:pt x="558" y="541"/>
                    </a:cubicBezTo>
                    <a:cubicBezTo>
                      <a:pt x="566" y="534"/>
                      <a:pt x="566" y="534"/>
                      <a:pt x="566" y="534"/>
                    </a:cubicBezTo>
                    <a:cubicBezTo>
                      <a:pt x="568" y="550"/>
                      <a:pt x="568" y="550"/>
                      <a:pt x="568" y="550"/>
                    </a:cubicBezTo>
                    <a:cubicBezTo>
                      <a:pt x="566" y="564"/>
                      <a:pt x="566" y="564"/>
                      <a:pt x="566" y="564"/>
                    </a:cubicBezTo>
                    <a:cubicBezTo>
                      <a:pt x="570" y="574"/>
                      <a:pt x="570" y="574"/>
                      <a:pt x="570" y="574"/>
                    </a:cubicBezTo>
                    <a:cubicBezTo>
                      <a:pt x="561" y="583"/>
                      <a:pt x="561" y="583"/>
                      <a:pt x="561" y="583"/>
                    </a:cubicBezTo>
                    <a:cubicBezTo>
                      <a:pt x="552" y="596"/>
                      <a:pt x="552" y="596"/>
                      <a:pt x="552" y="596"/>
                    </a:cubicBezTo>
                    <a:cubicBezTo>
                      <a:pt x="545" y="608"/>
                      <a:pt x="545" y="608"/>
                      <a:pt x="545" y="608"/>
                    </a:cubicBezTo>
                    <a:cubicBezTo>
                      <a:pt x="555" y="622"/>
                      <a:pt x="555" y="622"/>
                      <a:pt x="555" y="622"/>
                    </a:cubicBezTo>
                    <a:cubicBezTo>
                      <a:pt x="555" y="639"/>
                      <a:pt x="555" y="639"/>
                      <a:pt x="555" y="639"/>
                    </a:cubicBezTo>
                    <a:cubicBezTo>
                      <a:pt x="545" y="649"/>
                      <a:pt x="545" y="649"/>
                      <a:pt x="545" y="649"/>
                    </a:cubicBezTo>
                    <a:cubicBezTo>
                      <a:pt x="544" y="664"/>
                      <a:pt x="544" y="664"/>
                      <a:pt x="544" y="664"/>
                    </a:cubicBezTo>
                    <a:cubicBezTo>
                      <a:pt x="539" y="669"/>
                      <a:pt x="539" y="669"/>
                      <a:pt x="539" y="669"/>
                    </a:cubicBezTo>
                    <a:cubicBezTo>
                      <a:pt x="523" y="685"/>
                      <a:pt x="523" y="685"/>
                      <a:pt x="523" y="685"/>
                    </a:cubicBezTo>
                    <a:cubicBezTo>
                      <a:pt x="509" y="668"/>
                      <a:pt x="509" y="668"/>
                      <a:pt x="509" y="668"/>
                    </a:cubicBezTo>
                    <a:cubicBezTo>
                      <a:pt x="500" y="668"/>
                      <a:pt x="500" y="668"/>
                      <a:pt x="500" y="668"/>
                    </a:cubicBezTo>
                    <a:cubicBezTo>
                      <a:pt x="490" y="671"/>
                      <a:pt x="490" y="671"/>
                      <a:pt x="490" y="671"/>
                    </a:cubicBezTo>
                    <a:cubicBezTo>
                      <a:pt x="480" y="654"/>
                      <a:pt x="480" y="654"/>
                      <a:pt x="480" y="654"/>
                    </a:cubicBezTo>
                    <a:cubicBezTo>
                      <a:pt x="460" y="648"/>
                      <a:pt x="460" y="648"/>
                      <a:pt x="460" y="648"/>
                    </a:cubicBezTo>
                    <a:cubicBezTo>
                      <a:pt x="454" y="655"/>
                      <a:pt x="454" y="655"/>
                      <a:pt x="454" y="655"/>
                    </a:cubicBezTo>
                    <a:cubicBezTo>
                      <a:pt x="440" y="637"/>
                      <a:pt x="440" y="637"/>
                      <a:pt x="440" y="637"/>
                    </a:cubicBezTo>
                    <a:cubicBezTo>
                      <a:pt x="435" y="623"/>
                      <a:pt x="435" y="623"/>
                      <a:pt x="435" y="623"/>
                    </a:cubicBezTo>
                    <a:cubicBezTo>
                      <a:pt x="421" y="632"/>
                      <a:pt x="421" y="632"/>
                      <a:pt x="421" y="632"/>
                    </a:cubicBezTo>
                    <a:cubicBezTo>
                      <a:pt x="409" y="639"/>
                      <a:pt x="409" y="639"/>
                      <a:pt x="409" y="639"/>
                    </a:cubicBezTo>
                    <a:cubicBezTo>
                      <a:pt x="404" y="648"/>
                      <a:pt x="404" y="648"/>
                      <a:pt x="404" y="648"/>
                    </a:cubicBezTo>
                    <a:cubicBezTo>
                      <a:pt x="380" y="648"/>
                      <a:pt x="380" y="648"/>
                      <a:pt x="380" y="648"/>
                    </a:cubicBezTo>
                    <a:cubicBezTo>
                      <a:pt x="356" y="648"/>
                      <a:pt x="356" y="648"/>
                      <a:pt x="356" y="648"/>
                    </a:cubicBezTo>
                    <a:cubicBezTo>
                      <a:pt x="345" y="638"/>
                      <a:pt x="345" y="638"/>
                      <a:pt x="345" y="638"/>
                    </a:cubicBezTo>
                    <a:cubicBezTo>
                      <a:pt x="331" y="630"/>
                      <a:pt x="331" y="630"/>
                      <a:pt x="331" y="630"/>
                    </a:cubicBezTo>
                    <a:cubicBezTo>
                      <a:pt x="336" y="618"/>
                      <a:pt x="336" y="618"/>
                      <a:pt x="336" y="618"/>
                    </a:cubicBezTo>
                    <a:cubicBezTo>
                      <a:pt x="318" y="610"/>
                      <a:pt x="318" y="610"/>
                      <a:pt x="318" y="610"/>
                    </a:cubicBezTo>
                    <a:cubicBezTo>
                      <a:pt x="311" y="617"/>
                      <a:pt x="311" y="617"/>
                      <a:pt x="311" y="617"/>
                    </a:cubicBezTo>
                    <a:cubicBezTo>
                      <a:pt x="301" y="606"/>
                      <a:pt x="301" y="606"/>
                      <a:pt x="301" y="606"/>
                    </a:cubicBezTo>
                    <a:cubicBezTo>
                      <a:pt x="284" y="602"/>
                      <a:pt x="284" y="602"/>
                      <a:pt x="284" y="602"/>
                    </a:cubicBezTo>
                    <a:cubicBezTo>
                      <a:pt x="273" y="604"/>
                      <a:pt x="273" y="604"/>
                      <a:pt x="273" y="604"/>
                    </a:cubicBezTo>
                    <a:cubicBezTo>
                      <a:pt x="260" y="590"/>
                      <a:pt x="260" y="590"/>
                      <a:pt x="260" y="590"/>
                    </a:cubicBezTo>
                    <a:cubicBezTo>
                      <a:pt x="248" y="590"/>
                      <a:pt x="248" y="590"/>
                      <a:pt x="248" y="590"/>
                    </a:cubicBezTo>
                    <a:cubicBezTo>
                      <a:pt x="238" y="574"/>
                      <a:pt x="238" y="574"/>
                      <a:pt x="238" y="574"/>
                    </a:cubicBezTo>
                    <a:cubicBezTo>
                      <a:pt x="227" y="574"/>
                      <a:pt x="227" y="574"/>
                      <a:pt x="227" y="574"/>
                    </a:cubicBezTo>
                    <a:cubicBezTo>
                      <a:pt x="204" y="577"/>
                      <a:pt x="204" y="577"/>
                      <a:pt x="204" y="577"/>
                    </a:cubicBezTo>
                    <a:cubicBezTo>
                      <a:pt x="199" y="564"/>
                      <a:pt x="199" y="564"/>
                      <a:pt x="199" y="564"/>
                    </a:cubicBezTo>
                    <a:cubicBezTo>
                      <a:pt x="202" y="550"/>
                      <a:pt x="202" y="550"/>
                      <a:pt x="202" y="550"/>
                    </a:cubicBezTo>
                    <a:cubicBezTo>
                      <a:pt x="187" y="535"/>
                      <a:pt x="187" y="535"/>
                      <a:pt x="187" y="535"/>
                    </a:cubicBezTo>
                    <a:cubicBezTo>
                      <a:pt x="187" y="524"/>
                      <a:pt x="187" y="524"/>
                      <a:pt x="187" y="524"/>
                    </a:cubicBezTo>
                    <a:cubicBezTo>
                      <a:pt x="184" y="506"/>
                      <a:pt x="184" y="506"/>
                      <a:pt x="184" y="506"/>
                    </a:cubicBezTo>
                    <a:cubicBezTo>
                      <a:pt x="168" y="490"/>
                      <a:pt x="168" y="490"/>
                      <a:pt x="168" y="490"/>
                    </a:cubicBezTo>
                    <a:cubicBezTo>
                      <a:pt x="150" y="490"/>
                      <a:pt x="150" y="490"/>
                      <a:pt x="150" y="490"/>
                    </a:cubicBezTo>
                    <a:cubicBezTo>
                      <a:pt x="142" y="497"/>
                      <a:pt x="142" y="497"/>
                      <a:pt x="142" y="497"/>
                    </a:cubicBezTo>
                    <a:cubicBezTo>
                      <a:pt x="132" y="487"/>
                      <a:pt x="132" y="487"/>
                      <a:pt x="132" y="487"/>
                    </a:cubicBezTo>
                    <a:cubicBezTo>
                      <a:pt x="123" y="496"/>
                      <a:pt x="123" y="496"/>
                      <a:pt x="123" y="496"/>
                    </a:cubicBezTo>
                    <a:cubicBezTo>
                      <a:pt x="105" y="493"/>
                      <a:pt x="105" y="493"/>
                      <a:pt x="105" y="493"/>
                    </a:cubicBezTo>
                    <a:cubicBezTo>
                      <a:pt x="95" y="482"/>
                      <a:pt x="95" y="482"/>
                      <a:pt x="95" y="482"/>
                    </a:cubicBezTo>
                    <a:cubicBezTo>
                      <a:pt x="107" y="470"/>
                      <a:pt x="107" y="470"/>
                      <a:pt x="107" y="470"/>
                    </a:cubicBezTo>
                    <a:cubicBezTo>
                      <a:pt x="92" y="457"/>
                      <a:pt x="92" y="457"/>
                      <a:pt x="92" y="457"/>
                    </a:cubicBezTo>
                    <a:cubicBezTo>
                      <a:pt x="76" y="449"/>
                      <a:pt x="76" y="449"/>
                      <a:pt x="76" y="449"/>
                    </a:cubicBezTo>
                    <a:cubicBezTo>
                      <a:pt x="62" y="455"/>
                      <a:pt x="62" y="455"/>
                      <a:pt x="62" y="455"/>
                    </a:cubicBezTo>
                    <a:cubicBezTo>
                      <a:pt x="48" y="449"/>
                      <a:pt x="48" y="449"/>
                      <a:pt x="48" y="449"/>
                    </a:cubicBezTo>
                    <a:cubicBezTo>
                      <a:pt x="30" y="453"/>
                      <a:pt x="30" y="453"/>
                      <a:pt x="30" y="453"/>
                    </a:cubicBezTo>
                    <a:cubicBezTo>
                      <a:pt x="17" y="440"/>
                      <a:pt x="17" y="440"/>
                      <a:pt x="17" y="440"/>
                    </a:cubicBezTo>
                    <a:cubicBezTo>
                      <a:pt x="6" y="429"/>
                      <a:pt x="6" y="429"/>
                      <a:pt x="6" y="429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12" y="410"/>
                      <a:pt x="12" y="410"/>
                      <a:pt x="12" y="410"/>
                    </a:cubicBezTo>
                    <a:cubicBezTo>
                      <a:pt x="17" y="394"/>
                      <a:pt x="17" y="394"/>
                      <a:pt x="17" y="394"/>
                    </a:cubicBezTo>
                    <a:cubicBezTo>
                      <a:pt x="14" y="376"/>
                      <a:pt x="14" y="376"/>
                      <a:pt x="14" y="376"/>
                    </a:cubicBezTo>
                    <a:cubicBezTo>
                      <a:pt x="16" y="354"/>
                      <a:pt x="16" y="354"/>
                      <a:pt x="16" y="354"/>
                    </a:cubicBezTo>
                    <a:cubicBezTo>
                      <a:pt x="33" y="354"/>
                      <a:pt x="33" y="354"/>
                      <a:pt x="33" y="354"/>
                    </a:cubicBezTo>
                    <a:cubicBezTo>
                      <a:pt x="33" y="340"/>
                      <a:pt x="33" y="340"/>
                      <a:pt x="33" y="340"/>
                    </a:cubicBezTo>
                    <a:cubicBezTo>
                      <a:pt x="54" y="328"/>
                      <a:pt x="54" y="328"/>
                      <a:pt x="54" y="328"/>
                    </a:cubicBezTo>
                    <a:cubicBezTo>
                      <a:pt x="76" y="323"/>
                      <a:pt x="76" y="323"/>
                      <a:pt x="76" y="323"/>
                    </a:cubicBezTo>
                    <a:cubicBezTo>
                      <a:pt x="98" y="323"/>
                      <a:pt x="98" y="323"/>
                      <a:pt x="98" y="323"/>
                    </a:cubicBezTo>
                    <a:cubicBezTo>
                      <a:pt x="103" y="308"/>
                      <a:pt x="103" y="308"/>
                      <a:pt x="103" y="308"/>
                    </a:cubicBezTo>
                    <a:cubicBezTo>
                      <a:pt x="116" y="308"/>
                      <a:pt x="116" y="308"/>
                      <a:pt x="116" y="308"/>
                    </a:cubicBezTo>
                    <a:cubicBezTo>
                      <a:pt x="128" y="296"/>
                      <a:pt x="128" y="296"/>
                      <a:pt x="128" y="296"/>
                    </a:cubicBezTo>
                    <a:cubicBezTo>
                      <a:pt x="144" y="288"/>
                      <a:pt x="144" y="288"/>
                      <a:pt x="144" y="288"/>
                    </a:cubicBezTo>
                    <a:cubicBezTo>
                      <a:pt x="133" y="278"/>
                      <a:pt x="133" y="278"/>
                      <a:pt x="133" y="278"/>
                    </a:cubicBezTo>
                    <a:cubicBezTo>
                      <a:pt x="146" y="273"/>
                      <a:pt x="146" y="273"/>
                      <a:pt x="146" y="273"/>
                    </a:cubicBezTo>
                    <a:cubicBezTo>
                      <a:pt x="146" y="264"/>
                      <a:pt x="146" y="264"/>
                      <a:pt x="146" y="264"/>
                    </a:cubicBezTo>
                    <a:cubicBezTo>
                      <a:pt x="132" y="258"/>
                      <a:pt x="132" y="258"/>
                      <a:pt x="132" y="258"/>
                    </a:cubicBezTo>
                    <a:lnTo>
                      <a:pt x="133" y="253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6" name="Freeform 212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 rot="698053">
                <a:off x="8335266" y="3708011"/>
                <a:ext cx="35582" cy="40142"/>
              </a:xfrm>
              <a:custGeom>
                <a:avLst/>
                <a:gdLst>
                  <a:gd name="T0" fmla="*/ 12 w 46"/>
                  <a:gd name="T1" fmla="*/ 4 h 54"/>
                  <a:gd name="T2" fmla="*/ 0 w 46"/>
                  <a:gd name="T3" fmla="*/ 18 h 54"/>
                  <a:gd name="T4" fmla="*/ 0 w 46"/>
                  <a:gd name="T5" fmla="*/ 34 h 54"/>
                  <a:gd name="T6" fmla="*/ 0 w 46"/>
                  <a:gd name="T7" fmla="*/ 50 h 54"/>
                  <a:gd name="T8" fmla="*/ 20 w 46"/>
                  <a:gd name="T9" fmla="*/ 42 h 54"/>
                  <a:gd name="T10" fmla="*/ 30 w 46"/>
                  <a:gd name="T11" fmla="*/ 54 h 54"/>
                  <a:gd name="T12" fmla="*/ 42 w 46"/>
                  <a:gd name="T13" fmla="*/ 42 h 54"/>
                  <a:gd name="T14" fmla="*/ 46 w 46"/>
                  <a:gd name="T15" fmla="*/ 18 h 54"/>
                  <a:gd name="T16" fmla="*/ 34 w 46"/>
                  <a:gd name="T17" fmla="*/ 0 h 54"/>
                  <a:gd name="T18" fmla="*/ 12 w 46"/>
                  <a:gd name="T19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54">
                    <a:moveTo>
                      <a:pt x="12" y="4"/>
                    </a:moveTo>
                    <a:lnTo>
                      <a:pt x="0" y="18"/>
                    </a:lnTo>
                    <a:lnTo>
                      <a:pt x="0" y="34"/>
                    </a:lnTo>
                    <a:lnTo>
                      <a:pt x="0" y="50"/>
                    </a:lnTo>
                    <a:lnTo>
                      <a:pt x="20" y="42"/>
                    </a:lnTo>
                    <a:lnTo>
                      <a:pt x="30" y="54"/>
                    </a:lnTo>
                    <a:lnTo>
                      <a:pt x="42" y="42"/>
                    </a:lnTo>
                    <a:lnTo>
                      <a:pt x="46" y="18"/>
                    </a:lnTo>
                    <a:lnTo>
                      <a:pt x="34" y="0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7" name="Freeform 213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 rot="698053">
                <a:off x="7917710" y="2979429"/>
                <a:ext cx="888369" cy="1363695"/>
              </a:xfrm>
              <a:custGeom>
                <a:avLst/>
                <a:gdLst>
                  <a:gd name="T0" fmla="*/ 50 w 580"/>
                  <a:gd name="T1" fmla="*/ 516 h 921"/>
                  <a:gd name="T2" fmla="*/ 27 w 580"/>
                  <a:gd name="T3" fmla="*/ 480 h 921"/>
                  <a:gd name="T4" fmla="*/ 11 w 580"/>
                  <a:gd name="T5" fmla="*/ 431 h 921"/>
                  <a:gd name="T6" fmla="*/ 0 w 580"/>
                  <a:gd name="T7" fmla="*/ 384 h 921"/>
                  <a:gd name="T8" fmla="*/ 24 w 580"/>
                  <a:gd name="T9" fmla="*/ 341 h 921"/>
                  <a:gd name="T10" fmla="*/ 49 w 580"/>
                  <a:gd name="T11" fmla="*/ 310 h 921"/>
                  <a:gd name="T12" fmla="*/ 103 w 580"/>
                  <a:gd name="T13" fmla="*/ 247 h 921"/>
                  <a:gd name="T14" fmla="*/ 60 w 580"/>
                  <a:gd name="T15" fmla="*/ 197 h 921"/>
                  <a:gd name="T16" fmla="*/ 64 w 580"/>
                  <a:gd name="T17" fmla="*/ 130 h 921"/>
                  <a:gd name="T18" fmla="*/ 49 w 580"/>
                  <a:gd name="T19" fmla="*/ 73 h 921"/>
                  <a:gd name="T20" fmla="*/ 107 w 580"/>
                  <a:gd name="T21" fmla="*/ 70 h 921"/>
                  <a:gd name="T22" fmla="*/ 145 w 580"/>
                  <a:gd name="T23" fmla="*/ 47 h 921"/>
                  <a:gd name="T24" fmla="*/ 174 w 580"/>
                  <a:gd name="T25" fmla="*/ 0 h 921"/>
                  <a:gd name="T26" fmla="*/ 243 w 580"/>
                  <a:gd name="T27" fmla="*/ 42 h 921"/>
                  <a:gd name="T28" fmla="*/ 257 w 580"/>
                  <a:gd name="T29" fmla="*/ 63 h 921"/>
                  <a:gd name="T30" fmla="*/ 305 w 580"/>
                  <a:gd name="T31" fmla="*/ 76 h 921"/>
                  <a:gd name="T32" fmla="*/ 301 w 580"/>
                  <a:gd name="T33" fmla="*/ 107 h 921"/>
                  <a:gd name="T34" fmla="*/ 239 w 580"/>
                  <a:gd name="T35" fmla="*/ 157 h 921"/>
                  <a:gd name="T36" fmla="*/ 215 w 580"/>
                  <a:gd name="T37" fmla="*/ 244 h 921"/>
                  <a:gd name="T38" fmla="*/ 219 w 580"/>
                  <a:gd name="T39" fmla="*/ 321 h 921"/>
                  <a:gd name="T40" fmla="*/ 222 w 580"/>
                  <a:gd name="T41" fmla="*/ 408 h 921"/>
                  <a:gd name="T42" fmla="*/ 206 w 580"/>
                  <a:gd name="T43" fmla="*/ 501 h 921"/>
                  <a:gd name="T44" fmla="*/ 235 w 580"/>
                  <a:gd name="T45" fmla="*/ 521 h 921"/>
                  <a:gd name="T46" fmla="*/ 268 w 580"/>
                  <a:gd name="T47" fmla="*/ 522 h 921"/>
                  <a:gd name="T48" fmla="*/ 280 w 580"/>
                  <a:gd name="T49" fmla="*/ 520 h 921"/>
                  <a:gd name="T50" fmla="*/ 300 w 580"/>
                  <a:gd name="T51" fmla="*/ 513 h 921"/>
                  <a:gd name="T52" fmla="*/ 317 w 580"/>
                  <a:gd name="T53" fmla="*/ 526 h 921"/>
                  <a:gd name="T54" fmla="*/ 332 w 580"/>
                  <a:gd name="T55" fmla="*/ 500 h 921"/>
                  <a:gd name="T56" fmla="*/ 352 w 580"/>
                  <a:gd name="T57" fmla="*/ 458 h 921"/>
                  <a:gd name="T58" fmla="*/ 422 w 580"/>
                  <a:gd name="T59" fmla="*/ 459 h 921"/>
                  <a:gd name="T60" fmla="*/ 426 w 580"/>
                  <a:gd name="T61" fmla="*/ 486 h 921"/>
                  <a:gd name="T62" fmla="*/ 470 w 580"/>
                  <a:gd name="T63" fmla="*/ 509 h 921"/>
                  <a:gd name="T64" fmla="*/ 518 w 580"/>
                  <a:gd name="T65" fmla="*/ 611 h 921"/>
                  <a:gd name="T66" fmla="*/ 554 w 580"/>
                  <a:gd name="T67" fmla="*/ 667 h 921"/>
                  <a:gd name="T68" fmla="*/ 580 w 580"/>
                  <a:gd name="T69" fmla="*/ 773 h 921"/>
                  <a:gd name="T70" fmla="*/ 547 w 580"/>
                  <a:gd name="T71" fmla="*/ 759 h 921"/>
                  <a:gd name="T72" fmla="*/ 504 w 580"/>
                  <a:gd name="T73" fmla="*/ 775 h 921"/>
                  <a:gd name="T74" fmla="*/ 537 w 580"/>
                  <a:gd name="T75" fmla="*/ 786 h 921"/>
                  <a:gd name="T76" fmla="*/ 526 w 580"/>
                  <a:gd name="T77" fmla="*/ 828 h 921"/>
                  <a:gd name="T78" fmla="*/ 508 w 580"/>
                  <a:gd name="T79" fmla="*/ 876 h 921"/>
                  <a:gd name="T80" fmla="*/ 478 w 580"/>
                  <a:gd name="T81" fmla="*/ 880 h 921"/>
                  <a:gd name="T82" fmla="*/ 463 w 580"/>
                  <a:gd name="T83" fmla="*/ 919 h 921"/>
                  <a:gd name="T84" fmla="*/ 443 w 580"/>
                  <a:gd name="T85" fmla="*/ 867 h 921"/>
                  <a:gd name="T86" fmla="*/ 420 w 580"/>
                  <a:gd name="T87" fmla="*/ 829 h 921"/>
                  <a:gd name="T88" fmla="*/ 370 w 580"/>
                  <a:gd name="T89" fmla="*/ 841 h 921"/>
                  <a:gd name="T90" fmla="*/ 323 w 580"/>
                  <a:gd name="T91" fmla="*/ 839 h 921"/>
                  <a:gd name="T92" fmla="*/ 289 w 580"/>
                  <a:gd name="T93" fmla="*/ 870 h 921"/>
                  <a:gd name="T94" fmla="*/ 267 w 580"/>
                  <a:gd name="T95" fmla="*/ 835 h 921"/>
                  <a:gd name="T96" fmla="*/ 224 w 580"/>
                  <a:gd name="T97" fmla="*/ 808 h 921"/>
                  <a:gd name="T98" fmla="*/ 205 w 580"/>
                  <a:gd name="T99" fmla="*/ 751 h 921"/>
                  <a:gd name="T100" fmla="*/ 240 w 580"/>
                  <a:gd name="T101" fmla="*/ 688 h 921"/>
                  <a:gd name="T102" fmla="*/ 264 w 580"/>
                  <a:gd name="T103" fmla="*/ 650 h 921"/>
                  <a:gd name="T104" fmla="*/ 230 w 580"/>
                  <a:gd name="T105" fmla="*/ 595 h 921"/>
                  <a:gd name="T106" fmla="*/ 202 w 580"/>
                  <a:gd name="T107" fmla="*/ 640 h 921"/>
                  <a:gd name="T108" fmla="*/ 164 w 580"/>
                  <a:gd name="T109" fmla="*/ 666 h 921"/>
                  <a:gd name="T110" fmla="*/ 105 w 580"/>
                  <a:gd name="T111" fmla="*/ 655 h 921"/>
                  <a:gd name="T112" fmla="*/ 103 w 580"/>
                  <a:gd name="T113" fmla="*/ 608 h 921"/>
                  <a:gd name="T114" fmla="*/ 119 w 580"/>
                  <a:gd name="T115" fmla="*/ 558 h 921"/>
                  <a:gd name="T116" fmla="*/ 80 w 580"/>
                  <a:gd name="T117" fmla="*/ 553 h 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80" h="921">
                    <a:moveTo>
                      <a:pt x="58" y="563"/>
                    </a:moveTo>
                    <a:cubicBezTo>
                      <a:pt x="51" y="546"/>
                      <a:pt x="51" y="546"/>
                      <a:pt x="51" y="546"/>
                    </a:cubicBezTo>
                    <a:cubicBezTo>
                      <a:pt x="51" y="533"/>
                      <a:pt x="51" y="533"/>
                      <a:pt x="51" y="533"/>
                    </a:cubicBezTo>
                    <a:cubicBezTo>
                      <a:pt x="42" y="524"/>
                      <a:pt x="42" y="524"/>
                      <a:pt x="42" y="524"/>
                    </a:cubicBezTo>
                    <a:cubicBezTo>
                      <a:pt x="50" y="516"/>
                      <a:pt x="50" y="516"/>
                      <a:pt x="50" y="516"/>
                    </a:cubicBezTo>
                    <a:cubicBezTo>
                      <a:pt x="52" y="499"/>
                      <a:pt x="52" y="499"/>
                      <a:pt x="52" y="499"/>
                    </a:cubicBezTo>
                    <a:cubicBezTo>
                      <a:pt x="34" y="491"/>
                      <a:pt x="34" y="491"/>
                      <a:pt x="34" y="491"/>
                    </a:cubicBezTo>
                    <a:cubicBezTo>
                      <a:pt x="19" y="491"/>
                      <a:pt x="19" y="491"/>
                      <a:pt x="19" y="491"/>
                    </a:cubicBezTo>
                    <a:cubicBezTo>
                      <a:pt x="17" y="482"/>
                      <a:pt x="17" y="482"/>
                      <a:pt x="17" y="482"/>
                    </a:cubicBezTo>
                    <a:cubicBezTo>
                      <a:pt x="27" y="480"/>
                      <a:pt x="27" y="480"/>
                      <a:pt x="27" y="480"/>
                    </a:cubicBezTo>
                    <a:cubicBezTo>
                      <a:pt x="22" y="469"/>
                      <a:pt x="22" y="469"/>
                      <a:pt x="22" y="469"/>
                    </a:cubicBezTo>
                    <a:cubicBezTo>
                      <a:pt x="25" y="449"/>
                      <a:pt x="25" y="449"/>
                      <a:pt x="25" y="449"/>
                    </a:cubicBezTo>
                    <a:cubicBezTo>
                      <a:pt x="12" y="447"/>
                      <a:pt x="12" y="447"/>
                      <a:pt x="12" y="447"/>
                    </a:cubicBezTo>
                    <a:cubicBezTo>
                      <a:pt x="0" y="434"/>
                      <a:pt x="0" y="434"/>
                      <a:pt x="0" y="434"/>
                    </a:cubicBezTo>
                    <a:cubicBezTo>
                      <a:pt x="11" y="431"/>
                      <a:pt x="11" y="431"/>
                      <a:pt x="11" y="431"/>
                    </a:cubicBezTo>
                    <a:cubicBezTo>
                      <a:pt x="12" y="416"/>
                      <a:pt x="12" y="416"/>
                      <a:pt x="12" y="416"/>
                    </a:cubicBezTo>
                    <a:cubicBezTo>
                      <a:pt x="7" y="411"/>
                      <a:pt x="7" y="411"/>
                      <a:pt x="7" y="411"/>
                    </a:cubicBezTo>
                    <a:cubicBezTo>
                      <a:pt x="4" y="402"/>
                      <a:pt x="4" y="402"/>
                      <a:pt x="4" y="402"/>
                    </a:cubicBezTo>
                    <a:cubicBezTo>
                      <a:pt x="8" y="392"/>
                      <a:pt x="8" y="392"/>
                      <a:pt x="8" y="392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7" y="374"/>
                      <a:pt x="7" y="374"/>
                      <a:pt x="7" y="374"/>
                    </a:cubicBezTo>
                    <a:cubicBezTo>
                      <a:pt x="1" y="368"/>
                      <a:pt x="1" y="368"/>
                      <a:pt x="1" y="368"/>
                    </a:cubicBezTo>
                    <a:cubicBezTo>
                      <a:pt x="1" y="354"/>
                      <a:pt x="1" y="354"/>
                      <a:pt x="1" y="354"/>
                    </a:cubicBezTo>
                    <a:cubicBezTo>
                      <a:pt x="15" y="346"/>
                      <a:pt x="15" y="346"/>
                      <a:pt x="15" y="346"/>
                    </a:cubicBezTo>
                    <a:cubicBezTo>
                      <a:pt x="24" y="341"/>
                      <a:pt x="24" y="341"/>
                      <a:pt x="24" y="341"/>
                    </a:cubicBezTo>
                    <a:cubicBezTo>
                      <a:pt x="35" y="343"/>
                      <a:pt x="35" y="343"/>
                      <a:pt x="35" y="343"/>
                    </a:cubicBezTo>
                    <a:cubicBezTo>
                      <a:pt x="43" y="334"/>
                      <a:pt x="43" y="334"/>
                      <a:pt x="43" y="334"/>
                    </a:cubicBezTo>
                    <a:cubicBezTo>
                      <a:pt x="55" y="329"/>
                      <a:pt x="55" y="329"/>
                      <a:pt x="55" y="329"/>
                    </a:cubicBezTo>
                    <a:cubicBezTo>
                      <a:pt x="57" y="317"/>
                      <a:pt x="57" y="317"/>
                      <a:pt x="57" y="317"/>
                    </a:cubicBezTo>
                    <a:cubicBezTo>
                      <a:pt x="49" y="310"/>
                      <a:pt x="49" y="310"/>
                      <a:pt x="49" y="310"/>
                    </a:cubicBezTo>
                    <a:cubicBezTo>
                      <a:pt x="54" y="299"/>
                      <a:pt x="54" y="299"/>
                      <a:pt x="54" y="299"/>
                    </a:cubicBezTo>
                    <a:cubicBezTo>
                      <a:pt x="69" y="296"/>
                      <a:pt x="69" y="296"/>
                      <a:pt x="69" y="296"/>
                    </a:cubicBezTo>
                    <a:cubicBezTo>
                      <a:pt x="90" y="275"/>
                      <a:pt x="90" y="275"/>
                      <a:pt x="90" y="275"/>
                    </a:cubicBezTo>
                    <a:cubicBezTo>
                      <a:pt x="89" y="252"/>
                      <a:pt x="89" y="252"/>
                      <a:pt x="89" y="252"/>
                    </a:cubicBezTo>
                    <a:cubicBezTo>
                      <a:pt x="103" y="247"/>
                      <a:pt x="103" y="247"/>
                      <a:pt x="103" y="247"/>
                    </a:cubicBezTo>
                    <a:cubicBezTo>
                      <a:pt x="103" y="240"/>
                      <a:pt x="103" y="240"/>
                      <a:pt x="103" y="240"/>
                    </a:cubicBezTo>
                    <a:cubicBezTo>
                      <a:pt x="89" y="226"/>
                      <a:pt x="89" y="226"/>
                      <a:pt x="89" y="226"/>
                    </a:cubicBezTo>
                    <a:cubicBezTo>
                      <a:pt x="86" y="215"/>
                      <a:pt x="86" y="215"/>
                      <a:pt x="86" y="215"/>
                    </a:cubicBezTo>
                    <a:cubicBezTo>
                      <a:pt x="70" y="199"/>
                      <a:pt x="70" y="199"/>
                      <a:pt x="70" y="199"/>
                    </a:cubicBezTo>
                    <a:cubicBezTo>
                      <a:pt x="60" y="197"/>
                      <a:pt x="60" y="197"/>
                      <a:pt x="60" y="197"/>
                    </a:cubicBezTo>
                    <a:cubicBezTo>
                      <a:pt x="57" y="184"/>
                      <a:pt x="57" y="184"/>
                      <a:pt x="57" y="184"/>
                    </a:cubicBezTo>
                    <a:cubicBezTo>
                      <a:pt x="60" y="169"/>
                      <a:pt x="60" y="169"/>
                      <a:pt x="60" y="169"/>
                    </a:cubicBezTo>
                    <a:cubicBezTo>
                      <a:pt x="52" y="161"/>
                      <a:pt x="52" y="161"/>
                      <a:pt x="52" y="161"/>
                    </a:cubicBezTo>
                    <a:cubicBezTo>
                      <a:pt x="64" y="145"/>
                      <a:pt x="64" y="145"/>
                      <a:pt x="64" y="145"/>
                    </a:cubicBezTo>
                    <a:cubicBezTo>
                      <a:pt x="64" y="130"/>
                      <a:pt x="64" y="130"/>
                      <a:pt x="64" y="130"/>
                    </a:cubicBezTo>
                    <a:cubicBezTo>
                      <a:pt x="65" y="113"/>
                      <a:pt x="65" y="113"/>
                      <a:pt x="65" y="113"/>
                    </a:cubicBezTo>
                    <a:cubicBezTo>
                      <a:pt x="59" y="107"/>
                      <a:pt x="59" y="107"/>
                      <a:pt x="59" y="107"/>
                    </a:cubicBezTo>
                    <a:cubicBezTo>
                      <a:pt x="55" y="94"/>
                      <a:pt x="55" y="94"/>
                      <a:pt x="55" y="94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49" y="73"/>
                      <a:pt x="49" y="73"/>
                      <a:pt x="49" y="73"/>
                    </a:cubicBezTo>
                    <a:cubicBezTo>
                      <a:pt x="61" y="70"/>
                      <a:pt x="61" y="70"/>
                      <a:pt x="61" y="70"/>
                    </a:cubicBezTo>
                    <a:cubicBezTo>
                      <a:pt x="71" y="73"/>
                      <a:pt x="71" y="73"/>
                      <a:pt x="71" y="73"/>
                    </a:cubicBezTo>
                    <a:cubicBezTo>
                      <a:pt x="84" y="80"/>
                      <a:pt x="84" y="80"/>
                      <a:pt x="84" y="80"/>
                    </a:cubicBezTo>
                    <a:cubicBezTo>
                      <a:pt x="97" y="73"/>
                      <a:pt x="97" y="73"/>
                      <a:pt x="97" y="73"/>
                    </a:cubicBezTo>
                    <a:cubicBezTo>
                      <a:pt x="107" y="70"/>
                      <a:pt x="107" y="70"/>
                      <a:pt x="107" y="70"/>
                    </a:cubicBezTo>
                    <a:cubicBezTo>
                      <a:pt x="117" y="60"/>
                      <a:pt x="117" y="60"/>
                      <a:pt x="117" y="60"/>
                    </a:cubicBezTo>
                    <a:cubicBezTo>
                      <a:pt x="125" y="46"/>
                      <a:pt x="125" y="46"/>
                      <a:pt x="125" y="46"/>
                    </a:cubicBezTo>
                    <a:cubicBezTo>
                      <a:pt x="135" y="47"/>
                      <a:pt x="135" y="47"/>
                      <a:pt x="135" y="47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5" y="47"/>
                      <a:pt x="145" y="47"/>
                      <a:pt x="145" y="47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51" y="34"/>
                      <a:pt x="151" y="34"/>
                      <a:pt x="151" y="34"/>
                    </a:cubicBezTo>
                    <a:cubicBezTo>
                      <a:pt x="150" y="16"/>
                      <a:pt x="150" y="16"/>
                      <a:pt x="150" y="16"/>
                    </a:cubicBezTo>
                    <a:cubicBezTo>
                      <a:pt x="161" y="16"/>
                      <a:pt x="161" y="16"/>
                      <a:pt x="161" y="16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200" y="2"/>
                      <a:pt x="200" y="2"/>
                      <a:pt x="200" y="2"/>
                    </a:cubicBezTo>
                    <a:cubicBezTo>
                      <a:pt x="224" y="16"/>
                      <a:pt x="224" y="16"/>
                      <a:pt x="224" y="16"/>
                    </a:cubicBezTo>
                    <a:cubicBezTo>
                      <a:pt x="233" y="19"/>
                      <a:pt x="233" y="19"/>
                      <a:pt x="233" y="19"/>
                    </a:cubicBezTo>
                    <a:cubicBezTo>
                      <a:pt x="233" y="29"/>
                      <a:pt x="233" y="29"/>
                      <a:pt x="233" y="29"/>
                    </a:cubicBezTo>
                    <a:cubicBezTo>
                      <a:pt x="243" y="42"/>
                      <a:pt x="243" y="42"/>
                      <a:pt x="243" y="42"/>
                    </a:cubicBezTo>
                    <a:cubicBezTo>
                      <a:pt x="230" y="49"/>
                      <a:pt x="230" y="49"/>
                      <a:pt x="230" y="49"/>
                    </a:cubicBezTo>
                    <a:cubicBezTo>
                      <a:pt x="230" y="64"/>
                      <a:pt x="230" y="64"/>
                      <a:pt x="230" y="64"/>
                    </a:cubicBezTo>
                    <a:cubicBezTo>
                      <a:pt x="238" y="75"/>
                      <a:pt x="238" y="75"/>
                      <a:pt x="238" y="75"/>
                    </a:cubicBezTo>
                    <a:cubicBezTo>
                      <a:pt x="247" y="75"/>
                      <a:pt x="247" y="75"/>
                      <a:pt x="247" y="75"/>
                    </a:cubicBezTo>
                    <a:cubicBezTo>
                      <a:pt x="257" y="63"/>
                      <a:pt x="257" y="63"/>
                      <a:pt x="257" y="63"/>
                    </a:cubicBezTo>
                    <a:cubicBezTo>
                      <a:pt x="268" y="63"/>
                      <a:pt x="268" y="63"/>
                      <a:pt x="268" y="63"/>
                    </a:cubicBezTo>
                    <a:cubicBezTo>
                      <a:pt x="276" y="67"/>
                      <a:pt x="276" y="67"/>
                      <a:pt x="276" y="67"/>
                    </a:cubicBezTo>
                    <a:cubicBezTo>
                      <a:pt x="282" y="62"/>
                      <a:pt x="282" y="62"/>
                      <a:pt x="282" y="62"/>
                    </a:cubicBezTo>
                    <a:cubicBezTo>
                      <a:pt x="290" y="62"/>
                      <a:pt x="290" y="62"/>
                      <a:pt x="290" y="62"/>
                    </a:cubicBezTo>
                    <a:cubicBezTo>
                      <a:pt x="305" y="76"/>
                      <a:pt x="305" y="76"/>
                      <a:pt x="305" y="76"/>
                    </a:cubicBezTo>
                    <a:cubicBezTo>
                      <a:pt x="308" y="87"/>
                      <a:pt x="308" y="87"/>
                      <a:pt x="308" y="87"/>
                    </a:cubicBezTo>
                    <a:cubicBezTo>
                      <a:pt x="300" y="87"/>
                      <a:pt x="300" y="87"/>
                      <a:pt x="300" y="87"/>
                    </a:cubicBezTo>
                    <a:cubicBezTo>
                      <a:pt x="292" y="94"/>
                      <a:pt x="292" y="94"/>
                      <a:pt x="292" y="94"/>
                    </a:cubicBezTo>
                    <a:cubicBezTo>
                      <a:pt x="297" y="103"/>
                      <a:pt x="297" y="103"/>
                      <a:pt x="297" y="103"/>
                    </a:cubicBezTo>
                    <a:cubicBezTo>
                      <a:pt x="301" y="107"/>
                      <a:pt x="301" y="107"/>
                      <a:pt x="301" y="107"/>
                    </a:cubicBezTo>
                    <a:cubicBezTo>
                      <a:pt x="290" y="114"/>
                      <a:pt x="290" y="114"/>
                      <a:pt x="290" y="114"/>
                    </a:cubicBezTo>
                    <a:cubicBezTo>
                      <a:pt x="274" y="114"/>
                      <a:pt x="274" y="114"/>
                      <a:pt x="274" y="114"/>
                    </a:cubicBezTo>
                    <a:cubicBezTo>
                      <a:pt x="259" y="129"/>
                      <a:pt x="259" y="129"/>
                      <a:pt x="259" y="129"/>
                    </a:cubicBezTo>
                    <a:cubicBezTo>
                      <a:pt x="250" y="139"/>
                      <a:pt x="250" y="139"/>
                      <a:pt x="250" y="139"/>
                    </a:cubicBezTo>
                    <a:cubicBezTo>
                      <a:pt x="239" y="157"/>
                      <a:pt x="239" y="157"/>
                      <a:pt x="239" y="157"/>
                    </a:cubicBezTo>
                    <a:cubicBezTo>
                      <a:pt x="228" y="168"/>
                      <a:pt x="228" y="168"/>
                      <a:pt x="228" y="168"/>
                    </a:cubicBezTo>
                    <a:cubicBezTo>
                      <a:pt x="216" y="191"/>
                      <a:pt x="216" y="191"/>
                      <a:pt x="216" y="191"/>
                    </a:cubicBezTo>
                    <a:cubicBezTo>
                      <a:pt x="214" y="213"/>
                      <a:pt x="214" y="213"/>
                      <a:pt x="214" y="213"/>
                    </a:cubicBezTo>
                    <a:cubicBezTo>
                      <a:pt x="225" y="234"/>
                      <a:pt x="225" y="234"/>
                      <a:pt x="225" y="234"/>
                    </a:cubicBezTo>
                    <a:cubicBezTo>
                      <a:pt x="215" y="244"/>
                      <a:pt x="215" y="244"/>
                      <a:pt x="215" y="244"/>
                    </a:cubicBezTo>
                    <a:cubicBezTo>
                      <a:pt x="212" y="265"/>
                      <a:pt x="212" y="265"/>
                      <a:pt x="212" y="265"/>
                    </a:cubicBezTo>
                    <a:cubicBezTo>
                      <a:pt x="218" y="281"/>
                      <a:pt x="218" y="281"/>
                      <a:pt x="218" y="281"/>
                    </a:cubicBezTo>
                    <a:cubicBezTo>
                      <a:pt x="227" y="290"/>
                      <a:pt x="227" y="290"/>
                      <a:pt x="227" y="290"/>
                    </a:cubicBezTo>
                    <a:cubicBezTo>
                      <a:pt x="219" y="303"/>
                      <a:pt x="219" y="303"/>
                      <a:pt x="219" y="303"/>
                    </a:cubicBezTo>
                    <a:cubicBezTo>
                      <a:pt x="219" y="321"/>
                      <a:pt x="219" y="321"/>
                      <a:pt x="219" y="321"/>
                    </a:cubicBezTo>
                    <a:cubicBezTo>
                      <a:pt x="219" y="345"/>
                      <a:pt x="219" y="345"/>
                      <a:pt x="219" y="345"/>
                    </a:cubicBezTo>
                    <a:cubicBezTo>
                      <a:pt x="215" y="362"/>
                      <a:pt x="215" y="362"/>
                      <a:pt x="215" y="362"/>
                    </a:cubicBezTo>
                    <a:cubicBezTo>
                      <a:pt x="215" y="385"/>
                      <a:pt x="215" y="385"/>
                      <a:pt x="215" y="385"/>
                    </a:cubicBezTo>
                    <a:cubicBezTo>
                      <a:pt x="222" y="392"/>
                      <a:pt x="222" y="392"/>
                      <a:pt x="222" y="392"/>
                    </a:cubicBezTo>
                    <a:cubicBezTo>
                      <a:pt x="222" y="408"/>
                      <a:pt x="222" y="408"/>
                      <a:pt x="222" y="408"/>
                    </a:cubicBezTo>
                    <a:cubicBezTo>
                      <a:pt x="222" y="426"/>
                      <a:pt x="222" y="426"/>
                      <a:pt x="222" y="426"/>
                    </a:cubicBezTo>
                    <a:cubicBezTo>
                      <a:pt x="216" y="449"/>
                      <a:pt x="216" y="449"/>
                      <a:pt x="216" y="449"/>
                    </a:cubicBezTo>
                    <a:cubicBezTo>
                      <a:pt x="216" y="467"/>
                      <a:pt x="216" y="467"/>
                      <a:pt x="216" y="467"/>
                    </a:cubicBezTo>
                    <a:cubicBezTo>
                      <a:pt x="206" y="484"/>
                      <a:pt x="206" y="484"/>
                      <a:pt x="206" y="484"/>
                    </a:cubicBezTo>
                    <a:cubicBezTo>
                      <a:pt x="206" y="501"/>
                      <a:pt x="206" y="501"/>
                      <a:pt x="206" y="501"/>
                    </a:cubicBezTo>
                    <a:cubicBezTo>
                      <a:pt x="200" y="515"/>
                      <a:pt x="200" y="515"/>
                      <a:pt x="200" y="515"/>
                    </a:cubicBezTo>
                    <a:cubicBezTo>
                      <a:pt x="206" y="529"/>
                      <a:pt x="206" y="529"/>
                      <a:pt x="206" y="529"/>
                    </a:cubicBezTo>
                    <a:cubicBezTo>
                      <a:pt x="217" y="529"/>
                      <a:pt x="217" y="529"/>
                      <a:pt x="217" y="529"/>
                    </a:cubicBezTo>
                    <a:cubicBezTo>
                      <a:pt x="224" y="521"/>
                      <a:pt x="224" y="521"/>
                      <a:pt x="224" y="521"/>
                    </a:cubicBezTo>
                    <a:cubicBezTo>
                      <a:pt x="235" y="521"/>
                      <a:pt x="235" y="521"/>
                      <a:pt x="235" y="521"/>
                    </a:cubicBezTo>
                    <a:cubicBezTo>
                      <a:pt x="244" y="512"/>
                      <a:pt x="244" y="512"/>
                      <a:pt x="244" y="512"/>
                    </a:cubicBezTo>
                    <a:cubicBezTo>
                      <a:pt x="254" y="503"/>
                      <a:pt x="254" y="503"/>
                      <a:pt x="254" y="503"/>
                    </a:cubicBezTo>
                    <a:cubicBezTo>
                      <a:pt x="260" y="509"/>
                      <a:pt x="260" y="509"/>
                      <a:pt x="260" y="509"/>
                    </a:cubicBezTo>
                    <a:cubicBezTo>
                      <a:pt x="268" y="513"/>
                      <a:pt x="268" y="513"/>
                      <a:pt x="268" y="513"/>
                    </a:cubicBezTo>
                    <a:cubicBezTo>
                      <a:pt x="268" y="522"/>
                      <a:pt x="268" y="522"/>
                      <a:pt x="268" y="522"/>
                    </a:cubicBezTo>
                    <a:cubicBezTo>
                      <a:pt x="275" y="534"/>
                      <a:pt x="275" y="534"/>
                      <a:pt x="275" y="534"/>
                    </a:cubicBezTo>
                    <a:cubicBezTo>
                      <a:pt x="283" y="542"/>
                      <a:pt x="283" y="542"/>
                      <a:pt x="283" y="542"/>
                    </a:cubicBezTo>
                    <a:cubicBezTo>
                      <a:pt x="290" y="535"/>
                      <a:pt x="290" y="535"/>
                      <a:pt x="290" y="535"/>
                    </a:cubicBezTo>
                    <a:cubicBezTo>
                      <a:pt x="290" y="524"/>
                      <a:pt x="290" y="524"/>
                      <a:pt x="290" y="524"/>
                    </a:cubicBezTo>
                    <a:cubicBezTo>
                      <a:pt x="280" y="520"/>
                      <a:pt x="280" y="520"/>
                      <a:pt x="280" y="520"/>
                    </a:cubicBezTo>
                    <a:cubicBezTo>
                      <a:pt x="280" y="510"/>
                      <a:pt x="280" y="510"/>
                      <a:pt x="280" y="510"/>
                    </a:cubicBezTo>
                    <a:cubicBezTo>
                      <a:pt x="288" y="502"/>
                      <a:pt x="288" y="502"/>
                      <a:pt x="288" y="502"/>
                    </a:cubicBezTo>
                    <a:cubicBezTo>
                      <a:pt x="288" y="509"/>
                      <a:pt x="288" y="509"/>
                      <a:pt x="288" y="509"/>
                    </a:cubicBezTo>
                    <a:cubicBezTo>
                      <a:pt x="296" y="515"/>
                      <a:pt x="296" y="515"/>
                      <a:pt x="296" y="515"/>
                    </a:cubicBezTo>
                    <a:cubicBezTo>
                      <a:pt x="300" y="513"/>
                      <a:pt x="300" y="513"/>
                      <a:pt x="300" y="513"/>
                    </a:cubicBezTo>
                    <a:cubicBezTo>
                      <a:pt x="304" y="517"/>
                      <a:pt x="304" y="517"/>
                      <a:pt x="304" y="517"/>
                    </a:cubicBezTo>
                    <a:cubicBezTo>
                      <a:pt x="304" y="529"/>
                      <a:pt x="304" y="529"/>
                      <a:pt x="304" y="529"/>
                    </a:cubicBezTo>
                    <a:cubicBezTo>
                      <a:pt x="304" y="538"/>
                      <a:pt x="304" y="538"/>
                      <a:pt x="304" y="538"/>
                    </a:cubicBezTo>
                    <a:cubicBezTo>
                      <a:pt x="317" y="533"/>
                      <a:pt x="317" y="533"/>
                      <a:pt x="317" y="533"/>
                    </a:cubicBezTo>
                    <a:cubicBezTo>
                      <a:pt x="317" y="526"/>
                      <a:pt x="317" y="526"/>
                      <a:pt x="317" y="526"/>
                    </a:cubicBezTo>
                    <a:cubicBezTo>
                      <a:pt x="324" y="516"/>
                      <a:pt x="324" y="516"/>
                      <a:pt x="324" y="516"/>
                    </a:cubicBezTo>
                    <a:cubicBezTo>
                      <a:pt x="329" y="512"/>
                      <a:pt x="329" y="512"/>
                      <a:pt x="329" y="512"/>
                    </a:cubicBezTo>
                    <a:cubicBezTo>
                      <a:pt x="336" y="517"/>
                      <a:pt x="336" y="517"/>
                      <a:pt x="336" y="517"/>
                    </a:cubicBezTo>
                    <a:cubicBezTo>
                      <a:pt x="338" y="506"/>
                      <a:pt x="338" y="506"/>
                      <a:pt x="338" y="506"/>
                    </a:cubicBezTo>
                    <a:cubicBezTo>
                      <a:pt x="332" y="500"/>
                      <a:pt x="332" y="500"/>
                      <a:pt x="332" y="500"/>
                    </a:cubicBezTo>
                    <a:cubicBezTo>
                      <a:pt x="326" y="489"/>
                      <a:pt x="326" y="489"/>
                      <a:pt x="326" y="489"/>
                    </a:cubicBezTo>
                    <a:cubicBezTo>
                      <a:pt x="318" y="475"/>
                      <a:pt x="318" y="475"/>
                      <a:pt x="318" y="475"/>
                    </a:cubicBezTo>
                    <a:cubicBezTo>
                      <a:pt x="330" y="469"/>
                      <a:pt x="330" y="469"/>
                      <a:pt x="330" y="469"/>
                    </a:cubicBezTo>
                    <a:cubicBezTo>
                      <a:pt x="338" y="461"/>
                      <a:pt x="338" y="461"/>
                      <a:pt x="338" y="461"/>
                    </a:cubicBezTo>
                    <a:cubicBezTo>
                      <a:pt x="352" y="458"/>
                      <a:pt x="352" y="458"/>
                      <a:pt x="352" y="458"/>
                    </a:cubicBezTo>
                    <a:cubicBezTo>
                      <a:pt x="370" y="458"/>
                      <a:pt x="370" y="458"/>
                      <a:pt x="370" y="458"/>
                    </a:cubicBezTo>
                    <a:cubicBezTo>
                      <a:pt x="384" y="460"/>
                      <a:pt x="384" y="460"/>
                      <a:pt x="384" y="460"/>
                    </a:cubicBezTo>
                    <a:cubicBezTo>
                      <a:pt x="390" y="466"/>
                      <a:pt x="390" y="466"/>
                      <a:pt x="390" y="466"/>
                    </a:cubicBezTo>
                    <a:cubicBezTo>
                      <a:pt x="390" y="466"/>
                      <a:pt x="406" y="463"/>
                      <a:pt x="409" y="463"/>
                    </a:cubicBezTo>
                    <a:cubicBezTo>
                      <a:pt x="412" y="463"/>
                      <a:pt x="422" y="459"/>
                      <a:pt x="422" y="459"/>
                    </a:cubicBezTo>
                    <a:cubicBezTo>
                      <a:pt x="430" y="468"/>
                      <a:pt x="430" y="468"/>
                      <a:pt x="430" y="468"/>
                    </a:cubicBezTo>
                    <a:cubicBezTo>
                      <a:pt x="424" y="474"/>
                      <a:pt x="424" y="474"/>
                      <a:pt x="424" y="474"/>
                    </a:cubicBezTo>
                    <a:cubicBezTo>
                      <a:pt x="419" y="479"/>
                      <a:pt x="419" y="479"/>
                      <a:pt x="419" y="479"/>
                    </a:cubicBezTo>
                    <a:cubicBezTo>
                      <a:pt x="415" y="486"/>
                      <a:pt x="415" y="486"/>
                      <a:pt x="415" y="486"/>
                    </a:cubicBezTo>
                    <a:cubicBezTo>
                      <a:pt x="426" y="486"/>
                      <a:pt x="426" y="486"/>
                      <a:pt x="426" y="486"/>
                    </a:cubicBezTo>
                    <a:cubicBezTo>
                      <a:pt x="438" y="486"/>
                      <a:pt x="438" y="486"/>
                      <a:pt x="438" y="486"/>
                    </a:cubicBezTo>
                    <a:cubicBezTo>
                      <a:pt x="441" y="495"/>
                      <a:pt x="441" y="495"/>
                      <a:pt x="441" y="495"/>
                    </a:cubicBezTo>
                    <a:cubicBezTo>
                      <a:pt x="451" y="505"/>
                      <a:pt x="451" y="505"/>
                      <a:pt x="451" y="505"/>
                    </a:cubicBezTo>
                    <a:cubicBezTo>
                      <a:pt x="463" y="503"/>
                      <a:pt x="463" y="503"/>
                      <a:pt x="463" y="503"/>
                    </a:cubicBezTo>
                    <a:cubicBezTo>
                      <a:pt x="470" y="509"/>
                      <a:pt x="470" y="509"/>
                      <a:pt x="470" y="509"/>
                    </a:cubicBezTo>
                    <a:cubicBezTo>
                      <a:pt x="476" y="522"/>
                      <a:pt x="476" y="522"/>
                      <a:pt x="476" y="522"/>
                    </a:cubicBezTo>
                    <a:cubicBezTo>
                      <a:pt x="478" y="547"/>
                      <a:pt x="478" y="547"/>
                      <a:pt x="478" y="547"/>
                    </a:cubicBezTo>
                    <a:cubicBezTo>
                      <a:pt x="487" y="574"/>
                      <a:pt x="487" y="574"/>
                      <a:pt x="487" y="574"/>
                    </a:cubicBezTo>
                    <a:cubicBezTo>
                      <a:pt x="501" y="594"/>
                      <a:pt x="501" y="594"/>
                      <a:pt x="501" y="594"/>
                    </a:cubicBezTo>
                    <a:cubicBezTo>
                      <a:pt x="518" y="611"/>
                      <a:pt x="518" y="611"/>
                      <a:pt x="518" y="611"/>
                    </a:cubicBezTo>
                    <a:cubicBezTo>
                      <a:pt x="524" y="617"/>
                      <a:pt x="524" y="617"/>
                      <a:pt x="524" y="617"/>
                    </a:cubicBezTo>
                    <a:cubicBezTo>
                      <a:pt x="528" y="629"/>
                      <a:pt x="528" y="629"/>
                      <a:pt x="528" y="629"/>
                    </a:cubicBezTo>
                    <a:cubicBezTo>
                      <a:pt x="541" y="642"/>
                      <a:pt x="541" y="642"/>
                      <a:pt x="541" y="642"/>
                    </a:cubicBezTo>
                    <a:cubicBezTo>
                      <a:pt x="550" y="658"/>
                      <a:pt x="550" y="658"/>
                      <a:pt x="550" y="658"/>
                    </a:cubicBezTo>
                    <a:cubicBezTo>
                      <a:pt x="554" y="667"/>
                      <a:pt x="554" y="667"/>
                      <a:pt x="554" y="667"/>
                    </a:cubicBezTo>
                    <a:cubicBezTo>
                      <a:pt x="566" y="686"/>
                      <a:pt x="566" y="686"/>
                      <a:pt x="566" y="686"/>
                    </a:cubicBezTo>
                    <a:cubicBezTo>
                      <a:pt x="576" y="697"/>
                      <a:pt x="576" y="697"/>
                      <a:pt x="576" y="697"/>
                    </a:cubicBezTo>
                    <a:cubicBezTo>
                      <a:pt x="576" y="725"/>
                      <a:pt x="576" y="725"/>
                      <a:pt x="576" y="725"/>
                    </a:cubicBezTo>
                    <a:cubicBezTo>
                      <a:pt x="572" y="749"/>
                      <a:pt x="572" y="749"/>
                      <a:pt x="572" y="749"/>
                    </a:cubicBezTo>
                    <a:cubicBezTo>
                      <a:pt x="580" y="773"/>
                      <a:pt x="580" y="773"/>
                      <a:pt x="580" y="773"/>
                    </a:cubicBezTo>
                    <a:cubicBezTo>
                      <a:pt x="569" y="782"/>
                      <a:pt x="569" y="782"/>
                      <a:pt x="569" y="782"/>
                    </a:cubicBezTo>
                    <a:cubicBezTo>
                      <a:pt x="557" y="774"/>
                      <a:pt x="557" y="774"/>
                      <a:pt x="557" y="774"/>
                    </a:cubicBezTo>
                    <a:cubicBezTo>
                      <a:pt x="561" y="767"/>
                      <a:pt x="561" y="767"/>
                      <a:pt x="561" y="767"/>
                    </a:cubicBezTo>
                    <a:cubicBezTo>
                      <a:pt x="557" y="759"/>
                      <a:pt x="557" y="759"/>
                      <a:pt x="557" y="759"/>
                    </a:cubicBezTo>
                    <a:cubicBezTo>
                      <a:pt x="547" y="759"/>
                      <a:pt x="547" y="759"/>
                      <a:pt x="547" y="759"/>
                    </a:cubicBezTo>
                    <a:cubicBezTo>
                      <a:pt x="540" y="752"/>
                      <a:pt x="540" y="752"/>
                      <a:pt x="540" y="752"/>
                    </a:cubicBezTo>
                    <a:cubicBezTo>
                      <a:pt x="531" y="745"/>
                      <a:pt x="531" y="745"/>
                      <a:pt x="531" y="745"/>
                    </a:cubicBezTo>
                    <a:cubicBezTo>
                      <a:pt x="523" y="746"/>
                      <a:pt x="523" y="746"/>
                      <a:pt x="523" y="746"/>
                    </a:cubicBezTo>
                    <a:cubicBezTo>
                      <a:pt x="518" y="764"/>
                      <a:pt x="518" y="764"/>
                      <a:pt x="518" y="764"/>
                    </a:cubicBezTo>
                    <a:cubicBezTo>
                      <a:pt x="504" y="775"/>
                      <a:pt x="504" y="775"/>
                      <a:pt x="504" y="775"/>
                    </a:cubicBezTo>
                    <a:cubicBezTo>
                      <a:pt x="507" y="784"/>
                      <a:pt x="507" y="784"/>
                      <a:pt x="507" y="784"/>
                    </a:cubicBezTo>
                    <a:cubicBezTo>
                      <a:pt x="519" y="786"/>
                      <a:pt x="519" y="786"/>
                      <a:pt x="519" y="786"/>
                    </a:cubicBezTo>
                    <a:cubicBezTo>
                      <a:pt x="522" y="795"/>
                      <a:pt x="522" y="795"/>
                      <a:pt x="522" y="795"/>
                    </a:cubicBezTo>
                    <a:cubicBezTo>
                      <a:pt x="533" y="794"/>
                      <a:pt x="533" y="794"/>
                      <a:pt x="533" y="794"/>
                    </a:cubicBezTo>
                    <a:cubicBezTo>
                      <a:pt x="537" y="786"/>
                      <a:pt x="537" y="786"/>
                      <a:pt x="537" y="786"/>
                    </a:cubicBezTo>
                    <a:cubicBezTo>
                      <a:pt x="543" y="787"/>
                      <a:pt x="543" y="787"/>
                      <a:pt x="543" y="787"/>
                    </a:cubicBezTo>
                    <a:cubicBezTo>
                      <a:pt x="548" y="800"/>
                      <a:pt x="548" y="800"/>
                      <a:pt x="548" y="800"/>
                    </a:cubicBezTo>
                    <a:cubicBezTo>
                      <a:pt x="546" y="813"/>
                      <a:pt x="546" y="813"/>
                      <a:pt x="546" y="813"/>
                    </a:cubicBezTo>
                    <a:cubicBezTo>
                      <a:pt x="542" y="822"/>
                      <a:pt x="542" y="822"/>
                      <a:pt x="542" y="822"/>
                    </a:cubicBezTo>
                    <a:cubicBezTo>
                      <a:pt x="526" y="828"/>
                      <a:pt x="526" y="828"/>
                      <a:pt x="526" y="828"/>
                    </a:cubicBezTo>
                    <a:cubicBezTo>
                      <a:pt x="524" y="839"/>
                      <a:pt x="524" y="839"/>
                      <a:pt x="524" y="839"/>
                    </a:cubicBezTo>
                    <a:cubicBezTo>
                      <a:pt x="532" y="841"/>
                      <a:pt x="532" y="841"/>
                      <a:pt x="532" y="841"/>
                    </a:cubicBezTo>
                    <a:cubicBezTo>
                      <a:pt x="532" y="860"/>
                      <a:pt x="532" y="860"/>
                      <a:pt x="532" y="860"/>
                    </a:cubicBezTo>
                    <a:cubicBezTo>
                      <a:pt x="522" y="874"/>
                      <a:pt x="522" y="874"/>
                      <a:pt x="522" y="874"/>
                    </a:cubicBezTo>
                    <a:cubicBezTo>
                      <a:pt x="508" y="876"/>
                      <a:pt x="508" y="876"/>
                      <a:pt x="508" y="876"/>
                    </a:cubicBezTo>
                    <a:cubicBezTo>
                      <a:pt x="507" y="880"/>
                      <a:pt x="507" y="880"/>
                      <a:pt x="507" y="880"/>
                    </a:cubicBezTo>
                    <a:cubicBezTo>
                      <a:pt x="493" y="878"/>
                      <a:pt x="493" y="878"/>
                      <a:pt x="493" y="878"/>
                    </a:cubicBezTo>
                    <a:cubicBezTo>
                      <a:pt x="490" y="883"/>
                      <a:pt x="490" y="883"/>
                      <a:pt x="490" y="883"/>
                    </a:cubicBezTo>
                    <a:cubicBezTo>
                      <a:pt x="481" y="883"/>
                      <a:pt x="481" y="883"/>
                      <a:pt x="481" y="883"/>
                    </a:cubicBezTo>
                    <a:cubicBezTo>
                      <a:pt x="478" y="880"/>
                      <a:pt x="478" y="880"/>
                      <a:pt x="478" y="880"/>
                    </a:cubicBezTo>
                    <a:cubicBezTo>
                      <a:pt x="469" y="877"/>
                      <a:pt x="469" y="877"/>
                      <a:pt x="469" y="877"/>
                    </a:cubicBezTo>
                    <a:cubicBezTo>
                      <a:pt x="457" y="893"/>
                      <a:pt x="457" y="893"/>
                      <a:pt x="457" y="893"/>
                    </a:cubicBezTo>
                    <a:cubicBezTo>
                      <a:pt x="455" y="906"/>
                      <a:pt x="455" y="906"/>
                      <a:pt x="455" y="906"/>
                    </a:cubicBezTo>
                    <a:cubicBezTo>
                      <a:pt x="463" y="913"/>
                      <a:pt x="463" y="913"/>
                      <a:pt x="463" y="913"/>
                    </a:cubicBezTo>
                    <a:cubicBezTo>
                      <a:pt x="463" y="919"/>
                      <a:pt x="463" y="919"/>
                      <a:pt x="463" y="919"/>
                    </a:cubicBezTo>
                    <a:cubicBezTo>
                      <a:pt x="450" y="921"/>
                      <a:pt x="450" y="921"/>
                      <a:pt x="450" y="921"/>
                    </a:cubicBezTo>
                    <a:cubicBezTo>
                      <a:pt x="446" y="906"/>
                      <a:pt x="446" y="906"/>
                      <a:pt x="446" y="906"/>
                    </a:cubicBezTo>
                    <a:cubicBezTo>
                      <a:pt x="433" y="892"/>
                      <a:pt x="433" y="892"/>
                      <a:pt x="433" y="892"/>
                    </a:cubicBezTo>
                    <a:cubicBezTo>
                      <a:pt x="443" y="882"/>
                      <a:pt x="443" y="882"/>
                      <a:pt x="443" y="882"/>
                    </a:cubicBezTo>
                    <a:cubicBezTo>
                      <a:pt x="443" y="867"/>
                      <a:pt x="443" y="867"/>
                      <a:pt x="443" y="867"/>
                    </a:cubicBezTo>
                    <a:cubicBezTo>
                      <a:pt x="435" y="859"/>
                      <a:pt x="435" y="859"/>
                      <a:pt x="435" y="859"/>
                    </a:cubicBezTo>
                    <a:cubicBezTo>
                      <a:pt x="425" y="849"/>
                      <a:pt x="425" y="849"/>
                      <a:pt x="425" y="849"/>
                    </a:cubicBezTo>
                    <a:cubicBezTo>
                      <a:pt x="422" y="841"/>
                      <a:pt x="422" y="841"/>
                      <a:pt x="422" y="841"/>
                    </a:cubicBezTo>
                    <a:cubicBezTo>
                      <a:pt x="424" y="833"/>
                      <a:pt x="424" y="833"/>
                      <a:pt x="424" y="833"/>
                    </a:cubicBezTo>
                    <a:cubicBezTo>
                      <a:pt x="420" y="829"/>
                      <a:pt x="420" y="829"/>
                      <a:pt x="420" y="829"/>
                    </a:cubicBezTo>
                    <a:cubicBezTo>
                      <a:pt x="421" y="818"/>
                      <a:pt x="421" y="818"/>
                      <a:pt x="421" y="818"/>
                    </a:cubicBezTo>
                    <a:cubicBezTo>
                      <a:pt x="409" y="822"/>
                      <a:pt x="409" y="822"/>
                      <a:pt x="409" y="822"/>
                    </a:cubicBezTo>
                    <a:cubicBezTo>
                      <a:pt x="396" y="824"/>
                      <a:pt x="396" y="824"/>
                      <a:pt x="396" y="824"/>
                    </a:cubicBezTo>
                    <a:cubicBezTo>
                      <a:pt x="389" y="837"/>
                      <a:pt x="389" y="837"/>
                      <a:pt x="389" y="837"/>
                    </a:cubicBezTo>
                    <a:cubicBezTo>
                      <a:pt x="370" y="841"/>
                      <a:pt x="370" y="841"/>
                      <a:pt x="370" y="841"/>
                    </a:cubicBezTo>
                    <a:cubicBezTo>
                      <a:pt x="362" y="852"/>
                      <a:pt x="362" y="852"/>
                      <a:pt x="362" y="852"/>
                    </a:cubicBezTo>
                    <a:cubicBezTo>
                      <a:pt x="349" y="837"/>
                      <a:pt x="349" y="837"/>
                      <a:pt x="349" y="837"/>
                    </a:cubicBezTo>
                    <a:cubicBezTo>
                      <a:pt x="338" y="831"/>
                      <a:pt x="338" y="831"/>
                      <a:pt x="338" y="831"/>
                    </a:cubicBezTo>
                    <a:cubicBezTo>
                      <a:pt x="328" y="836"/>
                      <a:pt x="328" y="836"/>
                      <a:pt x="328" y="836"/>
                    </a:cubicBezTo>
                    <a:cubicBezTo>
                      <a:pt x="323" y="839"/>
                      <a:pt x="323" y="839"/>
                      <a:pt x="323" y="839"/>
                    </a:cubicBezTo>
                    <a:cubicBezTo>
                      <a:pt x="311" y="837"/>
                      <a:pt x="311" y="837"/>
                      <a:pt x="311" y="837"/>
                    </a:cubicBezTo>
                    <a:cubicBezTo>
                      <a:pt x="301" y="838"/>
                      <a:pt x="301" y="838"/>
                      <a:pt x="301" y="838"/>
                    </a:cubicBezTo>
                    <a:cubicBezTo>
                      <a:pt x="302" y="852"/>
                      <a:pt x="302" y="852"/>
                      <a:pt x="302" y="852"/>
                    </a:cubicBezTo>
                    <a:cubicBezTo>
                      <a:pt x="302" y="852"/>
                      <a:pt x="297" y="860"/>
                      <a:pt x="296" y="858"/>
                    </a:cubicBezTo>
                    <a:cubicBezTo>
                      <a:pt x="294" y="857"/>
                      <a:pt x="289" y="870"/>
                      <a:pt x="289" y="870"/>
                    </a:cubicBezTo>
                    <a:cubicBezTo>
                      <a:pt x="282" y="868"/>
                      <a:pt x="282" y="868"/>
                      <a:pt x="282" y="868"/>
                    </a:cubicBezTo>
                    <a:cubicBezTo>
                      <a:pt x="281" y="852"/>
                      <a:pt x="281" y="852"/>
                      <a:pt x="281" y="852"/>
                    </a:cubicBezTo>
                    <a:cubicBezTo>
                      <a:pt x="274" y="846"/>
                      <a:pt x="274" y="846"/>
                      <a:pt x="274" y="846"/>
                    </a:cubicBezTo>
                    <a:cubicBezTo>
                      <a:pt x="268" y="845"/>
                      <a:pt x="268" y="845"/>
                      <a:pt x="268" y="845"/>
                    </a:cubicBezTo>
                    <a:cubicBezTo>
                      <a:pt x="267" y="835"/>
                      <a:pt x="267" y="835"/>
                      <a:pt x="267" y="835"/>
                    </a:cubicBezTo>
                    <a:cubicBezTo>
                      <a:pt x="254" y="826"/>
                      <a:pt x="254" y="826"/>
                      <a:pt x="254" y="826"/>
                    </a:cubicBezTo>
                    <a:cubicBezTo>
                      <a:pt x="252" y="816"/>
                      <a:pt x="252" y="816"/>
                      <a:pt x="252" y="816"/>
                    </a:cubicBezTo>
                    <a:cubicBezTo>
                      <a:pt x="237" y="814"/>
                      <a:pt x="237" y="814"/>
                      <a:pt x="237" y="814"/>
                    </a:cubicBezTo>
                    <a:cubicBezTo>
                      <a:pt x="231" y="820"/>
                      <a:pt x="231" y="820"/>
                      <a:pt x="231" y="820"/>
                    </a:cubicBezTo>
                    <a:cubicBezTo>
                      <a:pt x="224" y="808"/>
                      <a:pt x="224" y="808"/>
                      <a:pt x="224" y="808"/>
                    </a:cubicBezTo>
                    <a:cubicBezTo>
                      <a:pt x="217" y="808"/>
                      <a:pt x="217" y="808"/>
                      <a:pt x="217" y="808"/>
                    </a:cubicBezTo>
                    <a:cubicBezTo>
                      <a:pt x="210" y="801"/>
                      <a:pt x="210" y="801"/>
                      <a:pt x="210" y="801"/>
                    </a:cubicBezTo>
                    <a:cubicBezTo>
                      <a:pt x="207" y="774"/>
                      <a:pt x="207" y="774"/>
                      <a:pt x="207" y="774"/>
                    </a:cubicBezTo>
                    <a:cubicBezTo>
                      <a:pt x="213" y="763"/>
                      <a:pt x="213" y="763"/>
                      <a:pt x="213" y="763"/>
                    </a:cubicBezTo>
                    <a:cubicBezTo>
                      <a:pt x="205" y="751"/>
                      <a:pt x="205" y="751"/>
                      <a:pt x="205" y="751"/>
                    </a:cubicBezTo>
                    <a:cubicBezTo>
                      <a:pt x="215" y="740"/>
                      <a:pt x="215" y="740"/>
                      <a:pt x="215" y="740"/>
                    </a:cubicBezTo>
                    <a:cubicBezTo>
                      <a:pt x="215" y="731"/>
                      <a:pt x="215" y="731"/>
                      <a:pt x="215" y="731"/>
                    </a:cubicBezTo>
                    <a:cubicBezTo>
                      <a:pt x="227" y="720"/>
                      <a:pt x="227" y="720"/>
                      <a:pt x="227" y="720"/>
                    </a:cubicBezTo>
                    <a:cubicBezTo>
                      <a:pt x="228" y="701"/>
                      <a:pt x="228" y="701"/>
                      <a:pt x="228" y="701"/>
                    </a:cubicBezTo>
                    <a:cubicBezTo>
                      <a:pt x="228" y="701"/>
                      <a:pt x="240" y="689"/>
                      <a:pt x="240" y="688"/>
                    </a:cubicBezTo>
                    <a:cubicBezTo>
                      <a:pt x="240" y="686"/>
                      <a:pt x="239" y="679"/>
                      <a:pt x="239" y="679"/>
                    </a:cubicBezTo>
                    <a:cubicBezTo>
                      <a:pt x="226" y="665"/>
                      <a:pt x="226" y="665"/>
                      <a:pt x="226" y="665"/>
                    </a:cubicBezTo>
                    <a:cubicBezTo>
                      <a:pt x="231" y="658"/>
                      <a:pt x="231" y="658"/>
                      <a:pt x="231" y="658"/>
                    </a:cubicBezTo>
                    <a:cubicBezTo>
                      <a:pt x="243" y="658"/>
                      <a:pt x="243" y="658"/>
                      <a:pt x="243" y="658"/>
                    </a:cubicBezTo>
                    <a:cubicBezTo>
                      <a:pt x="264" y="650"/>
                      <a:pt x="264" y="650"/>
                      <a:pt x="264" y="650"/>
                    </a:cubicBezTo>
                    <a:cubicBezTo>
                      <a:pt x="269" y="634"/>
                      <a:pt x="269" y="634"/>
                      <a:pt x="269" y="634"/>
                    </a:cubicBezTo>
                    <a:cubicBezTo>
                      <a:pt x="257" y="625"/>
                      <a:pt x="257" y="625"/>
                      <a:pt x="257" y="625"/>
                    </a:cubicBezTo>
                    <a:cubicBezTo>
                      <a:pt x="254" y="605"/>
                      <a:pt x="254" y="605"/>
                      <a:pt x="254" y="605"/>
                    </a:cubicBezTo>
                    <a:cubicBezTo>
                      <a:pt x="242" y="593"/>
                      <a:pt x="242" y="593"/>
                      <a:pt x="242" y="593"/>
                    </a:cubicBezTo>
                    <a:cubicBezTo>
                      <a:pt x="230" y="595"/>
                      <a:pt x="230" y="595"/>
                      <a:pt x="230" y="595"/>
                    </a:cubicBezTo>
                    <a:cubicBezTo>
                      <a:pt x="223" y="607"/>
                      <a:pt x="223" y="607"/>
                      <a:pt x="223" y="607"/>
                    </a:cubicBezTo>
                    <a:cubicBezTo>
                      <a:pt x="216" y="614"/>
                      <a:pt x="216" y="614"/>
                      <a:pt x="216" y="614"/>
                    </a:cubicBezTo>
                    <a:cubicBezTo>
                      <a:pt x="203" y="617"/>
                      <a:pt x="203" y="617"/>
                      <a:pt x="203" y="617"/>
                    </a:cubicBezTo>
                    <a:cubicBezTo>
                      <a:pt x="199" y="627"/>
                      <a:pt x="199" y="627"/>
                      <a:pt x="199" y="627"/>
                    </a:cubicBezTo>
                    <a:cubicBezTo>
                      <a:pt x="202" y="640"/>
                      <a:pt x="202" y="640"/>
                      <a:pt x="202" y="640"/>
                    </a:cubicBezTo>
                    <a:cubicBezTo>
                      <a:pt x="198" y="644"/>
                      <a:pt x="198" y="644"/>
                      <a:pt x="198" y="644"/>
                    </a:cubicBezTo>
                    <a:cubicBezTo>
                      <a:pt x="185" y="649"/>
                      <a:pt x="185" y="649"/>
                      <a:pt x="185" y="649"/>
                    </a:cubicBezTo>
                    <a:cubicBezTo>
                      <a:pt x="179" y="658"/>
                      <a:pt x="179" y="658"/>
                      <a:pt x="179" y="658"/>
                    </a:cubicBezTo>
                    <a:cubicBezTo>
                      <a:pt x="173" y="667"/>
                      <a:pt x="173" y="667"/>
                      <a:pt x="173" y="667"/>
                    </a:cubicBezTo>
                    <a:cubicBezTo>
                      <a:pt x="173" y="667"/>
                      <a:pt x="165" y="666"/>
                      <a:pt x="164" y="666"/>
                    </a:cubicBezTo>
                    <a:cubicBezTo>
                      <a:pt x="164" y="667"/>
                      <a:pt x="156" y="674"/>
                      <a:pt x="156" y="674"/>
                    </a:cubicBezTo>
                    <a:cubicBezTo>
                      <a:pt x="138" y="649"/>
                      <a:pt x="138" y="649"/>
                      <a:pt x="138" y="649"/>
                    </a:cubicBezTo>
                    <a:cubicBezTo>
                      <a:pt x="127" y="652"/>
                      <a:pt x="127" y="652"/>
                      <a:pt x="127" y="652"/>
                    </a:cubicBezTo>
                    <a:cubicBezTo>
                      <a:pt x="122" y="657"/>
                      <a:pt x="122" y="657"/>
                      <a:pt x="122" y="657"/>
                    </a:cubicBezTo>
                    <a:cubicBezTo>
                      <a:pt x="105" y="655"/>
                      <a:pt x="105" y="655"/>
                      <a:pt x="105" y="655"/>
                    </a:cubicBezTo>
                    <a:cubicBezTo>
                      <a:pt x="97" y="645"/>
                      <a:pt x="97" y="645"/>
                      <a:pt x="97" y="645"/>
                    </a:cubicBezTo>
                    <a:cubicBezTo>
                      <a:pt x="102" y="633"/>
                      <a:pt x="102" y="633"/>
                      <a:pt x="102" y="633"/>
                    </a:cubicBezTo>
                    <a:cubicBezTo>
                      <a:pt x="110" y="629"/>
                      <a:pt x="110" y="629"/>
                      <a:pt x="110" y="629"/>
                    </a:cubicBezTo>
                    <a:cubicBezTo>
                      <a:pt x="110" y="620"/>
                      <a:pt x="110" y="620"/>
                      <a:pt x="110" y="620"/>
                    </a:cubicBezTo>
                    <a:cubicBezTo>
                      <a:pt x="103" y="608"/>
                      <a:pt x="103" y="608"/>
                      <a:pt x="103" y="608"/>
                    </a:cubicBezTo>
                    <a:cubicBezTo>
                      <a:pt x="106" y="599"/>
                      <a:pt x="106" y="599"/>
                      <a:pt x="106" y="599"/>
                    </a:cubicBezTo>
                    <a:cubicBezTo>
                      <a:pt x="111" y="599"/>
                      <a:pt x="111" y="599"/>
                      <a:pt x="111" y="599"/>
                    </a:cubicBezTo>
                    <a:cubicBezTo>
                      <a:pt x="111" y="579"/>
                      <a:pt x="111" y="579"/>
                      <a:pt x="111" y="579"/>
                    </a:cubicBezTo>
                    <a:cubicBezTo>
                      <a:pt x="119" y="567"/>
                      <a:pt x="119" y="567"/>
                      <a:pt x="119" y="567"/>
                    </a:cubicBezTo>
                    <a:cubicBezTo>
                      <a:pt x="119" y="558"/>
                      <a:pt x="119" y="558"/>
                      <a:pt x="119" y="558"/>
                    </a:cubicBezTo>
                    <a:cubicBezTo>
                      <a:pt x="123" y="546"/>
                      <a:pt x="123" y="546"/>
                      <a:pt x="123" y="546"/>
                    </a:cubicBezTo>
                    <a:cubicBezTo>
                      <a:pt x="111" y="540"/>
                      <a:pt x="111" y="540"/>
                      <a:pt x="111" y="540"/>
                    </a:cubicBezTo>
                    <a:cubicBezTo>
                      <a:pt x="99" y="542"/>
                      <a:pt x="99" y="542"/>
                      <a:pt x="99" y="542"/>
                    </a:cubicBezTo>
                    <a:cubicBezTo>
                      <a:pt x="90" y="551"/>
                      <a:pt x="90" y="551"/>
                      <a:pt x="90" y="551"/>
                    </a:cubicBezTo>
                    <a:cubicBezTo>
                      <a:pt x="80" y="553"/>
                      <a:pt x="80" y="553"/>
                      <a:pt x="80" y="553"/>
                    </a:cubicBezTo>
                    <a:cubicBezTo>
                      <a:pt x="72" y="562"/>
                      <a:pt x="72" y="562"/>
                      <a:pt x="72" y="562"/>
                    </a:cubicBezTo>
                    <a:cubicBezTo>
                      <a:pt x="64" y="566"/>
                      <a:pt x="64" y="566"/>
                      <a:pt x="64" y="566"/>
                    </a:cubicBezTo>
                    <a:lnTo>
                      <a:pt x="58" y="563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8" name="Freeform 215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 rot="698053">
                <a:off x="3229154" y="3192527"/>
                <a:ext cx="233657" cy="293613"/>
              </a:xfrm>
              <a:custGeom>
                <a:avLst/>
                <a:gdLst>
                  <a:gd name="T0" fmla="*/ 136 w 306"/>
                  <a:gd name="T1" fmla="*/ 336 h 396"/>
                  <a:gd name="T2" fmla="*/ 112 w 306"/>
                  <a:gd name="T3" fmla="*/ 316 h 396"/>
                  <a:gd name="T4" fmla="*/ 68 w 306"/>
                  <a:gd name="T5" fmla="*/ 296 h 396"/>
                  <a:gd name="T6" fmla="*/ 42 w 306"/>
                  <a:gd name="T7" fmla="*/ 274 h 396"/>
                  <a:gd name="T8" fmla="*/ 28 w 306"/>
                  <a:gd name="T9" fmla="*/ 254 h 396"/>
                  <a:gd name="T10" fmla="*/ 12 w 306"/>
                  <a:gd name="T11" fmla="*/ 230 h 396"/>
                  <a:gd name="T12" fmla="*/ 42 w 306"/>
                  <a:gd name="T13" fmla="*/ 218 h 396"/>
                  <a:gd name="T14" fmla="*/ 30 w 306"/>
                  <a:gd name="T15" fmla="*/ 190 h 396"/>
                  <a:gd name="T16" fmla="*/ 16 w 306"/>
                  <a:gd name="T17" fmla="*/ 158 h 396"/>
                  <a:gd name="T18" fmla="*/ 8 w 306"/>
                  <a:gd name="T19" fmla="*/ 140 h 396"/>
                  <a:gd name="T20" fmla="*/ 16 w 306"/>
                  <a:gd name="T21" fmla="*/ 116 h 396"/>
                  <a:gd name="T22" fmla="*/ 26 w 306"/>
                  <a:gd name="T23" fmla="*/ 86 h 396"/>
                  <a:gd name="T24" fmla="*/ 28 w 306"/>
                  <a:gd name="T25" fmla="*/ 52 h 396"/>
                  <a:gd name="T26" fmla="*/ 30 w 306"/>
                  <a:gd name="T27" fmla="*/ 28 h 396"/>
                  <a:gd name="T28" fmla="*/ 40 w 306"/>
                  <a:gd name="T29" fmla="*/ 0 h 396"/>
                  <a:gd name="T30" fmla="*/ 56 w 306"/>
                  <a:gd name="T31" fmla="*/ 16 h 396"/>
                  <a:gd name="T32" fmla="*/ 86 w 306"/>
                  <a:gd name="T33" fmla="*/ 2 h 396"/>
                  <a:gd name="T34" fmla="*/ 112 w 306"/>
                  <a:gd name="T35" fmla="*/ 12 h 396"/>
                  <a:gd name="T36" fmla="*/ 132 w 306"/>
                  <a:gd name="T37" fmla="*/ 36 h 396"/>
                  <a:gd name="T38" fmla="*/ 156 w 306"/>
                  <a:gd name="T39" fmla="*/ 32 h 396"/>
                  <a:gd name="T40" fmla="*/ 174 w 306"/>
                  <a:gd name="T41" fmla="*/ 60 h 396"/>
                  <a:gd name="T42" fmla="*/ 212 w 306"/>
                  <a:gd name="T43" fmla="*/ 62 h 396"/>
                  <a:gd name="T44" fmla="*/ 228 w 306"/>
                  <a:gd name="T45" fmla="*/ 96 h 396"/>
                  <a:gd name="T46" fmla="*/ 244 w 306"/>
                  <a:gd name="T47" fmla="*/ 126 h 396"/>
                  <a:gd name="T48" fmla="*/ 244 w 306"/>
                  <a:gd name="T49" fmla="*/ 168 h 396"/>
                  <a:gd name="T50" fmla="*/ 268 w 306"/>
                  <a:gd name="T51" fmla="*/ 200 h 396"/>
                  <a:gd name="T52" fmla="*/ 278 w 306"/>
                  <a:gd name="T53" fmla="*/ 230 h 396"/>
                  <a:gd name="T54" fmla="*/ 296 w 306"/>
                  <a:gd name="T55" fmla="*/ 264 h 396"/>
                  <a:gd name="T56" fmla="*/ 306 w 306"/>
                  <a:gd name="T57" fmla="*/ 312 h 396"/>
                  <a:gd name="T58" fmla="*/ 266 w 306"/>
                  <a:gd name="T59" fmla="*/ 332 h 396"/>
                  <a:gd name="T60" fmla="*/ 238 w 306"/>
                  <a:gd name="T61" fmla="*/ 336 h 396"/>
                  <a:gd name="T62" fmla="*/ 234 w 306"/>
                  <a:gd name="T63" fmla="*/ 356 h 396"/>
                  <a:gd name="T64" fmla="*/ 218 w 306"/>
                  <a:gd name="T65" fmla="*/ 368 h 396"/>
                  <a:gd name="T66" fmla="*/ 224 w 306"/>
                  <a:gd name="T67" fmla="*/ 396 h 396"/>
                  <a:gd name="T68" fmla="*/ 192 w 306"/>
                  <a:gd name="T69" fmla="*/ 386 h 396"/>
                  <a:gd name="T70" fmla="*/ 182 w 306"/>
                  <a:gd name="T71" fmla="*/ 376 h 396"/>
                  <a:gd name="T72" fmla="*/ 162 w 306"/>
                  <a:gd name="T73" fmla="*/ 392 h 396"/>
                  <a:gd name="T74" fmla="*/ 130 w 306"/>
                  <a:gd name="T75" fmla="*/ 34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06" h="396">
                    <a:moveTo>
                      <a:pt x="130" y="346"/>
                    </a:moveTo>
                    <a:lnTo>
                      <a:pt x="136" y="336"/>
                    </a:lnTo>
                    <a:lnTo>
                      <a:pt x="122" y="326"/>
                    </a:lnTo>
                    <a:lnTo>
                      <a:pt x="112" y="316"/>
                    </a:lnTo>
                    <a:lnTo>
                      <a:pt x="92" y="320"/>
                    </a:lnTo>
                    <a:lnTo>
                      <a:pt x="68" y="296"/>
                    </a:lnTo>
                    <a:lnTo>
                      <a:pt x="64" y="280"/>
                    </a:lnTo>
                    <a:lnTo>
                      <a:pt x="42" y="274"/>
                    </a:lnTo>
                    <a:lnTo>
                      <a:pt x="22" y="268"/>
                    </a:lnTo>
                    <a:lnTo>
                      <a:pt x="28" y="254"/>
                    </a:lnTo>
                    <a:lnTo>
                      <a:pt x="22" y="240"/>
                    </a:lnTo>
                    <a:lnTo>
                      <a:pt x="12" y="230"/>
                    </a:lnTo>
                    <a:lnTo>
                      <a:pt x="18" y="218"/>
                    </a:lnTo>
                    <a:lnTo>
                      <a:pt x="42" y="218"/>
                    </a:lnTo>
                    <a:lnTo>
                      <a:pt x="34" y="206"/>
                    </a:lnTo>
                    <a:lnTo>
                      <a:pt x="30" y="190"/>
                    </a:lnTo>
                    <a:lnTo>
                      <a:pt x="16" y="180"/>
                    </a:lnTo>
                    <a:lnTo>
                      <a:pt x="16" y="158"/>
                    </a:lnTo>
                    <a:lnTo>
                      <a:pt x="0" y="154"/>
                    </a:lnTo>
                    <a:lnTo>
                      <a:pt x="8" y="140"/>
                    </a:lnTo>
                    <a:lnTo>
                      <a:pt x="2" y="120"/>
                    </a:lnTo>
                    <a:lnTo>
                      <a:pt x="16" y="116"/>
                    </a:lnTo>
                    <a:lnTo>
                      <a:pt x="38" y="100"/>
                    </a:lnTo>
                    <a:lnTo>
                      <a:pt x="26" y="86"/>
                    </a:lnTo>
                    <a:lnTo>
                      <a:pt x="36" y="68"/>
                    </a:lnTo>
                    <a:lnTo>
                      <a:pt x="28" y="52"/>
                    </a:lnTo>
                    <a:lnTo>
                      <a:pt x="18" y="44"/>
                    </a:lnTo>
                    <a:lnTo>
                      <a:pt x="30" y="28"/>
                    </a:lnTo>
                    <a:lnTo>
                      <a:pt x="30" y="12"/>
                    </a:lnTo>
                    <a:lnTo>
                      <a:pt x="40" y="0"/>
                    </a:lnTo>
                    <a:lnTo>
                      <a:pt x="50" y="4"/>
                    </a:lnTo>
                    <a:lnTo>
                      <a:pt x="56" y="16"/>
                    </a:lnTo>
                    <a:lnTo>
                      <a:pt x="76" y="12"/>
                    </a:lnTo>
                    <a:lnTo>
                      <a:pt x="86" y="2"/>
                    </a:lnTo>
                    <a:lnTo>
                      <a:pt x="102" y="2"/>
                    </a:lnTo>
                    <a:lnTo>
                      <a:pt x="112" y="12"/>
                    </a:lnTo>
                    <a:lnTo>
                      <a:pt x="126" y="18"/>
                    </a:lnTo>
                    <a:lnTo>
                      <a:pt x="132" y="36"/>
                    </a:lnTo>
                    <a:lnTo>
                      <a:pt x="146" y="36"/>
                    </a:lnTo>
                    <a:lnTo>
                      <a:pt x="156" y="32"/>
                    </a:lnTo>
                    <a:lnTo>
                      <a:pt x="162" y="50"/>
                    </a:lnTo>
                    <a:lnTo>
                      <a:pt x="174" y="60"/>
                    </a:lnTo>
                    <a:lnTo>
                      <a:pt x="198" y="56"/>
                    </a:lnTo>
                    <a:lnTo>
                      <a:pt x="212" y="62"/>
                    </a:lnTo>
                    <a:lnTo>
                      <a:pt x="214" y="82"/>
                    </a:lnTo>
                    <a:lnTo>
                      <a:pt x="228" y="96"/>
                    </a:lnTo>
                    <a:lnTo>
                      <a:pt x="232" y="114"/>
                    </a:lnTo>
                    <a:lnTo>
                      <a:pt x="244" y="126"/>
                    </a:lnTo>
                    <a:lnTo>
                      <a:pt x="252" y="150"/>
                    </a:lnTo>
                    <a:lnTo>
                      <a:pt x="244" y="168"/>
                    </a:lnTo>
                    <a:lnTo>
                      <a:pt x="254" y="186"/>
                    </a:lnTo>
                    <a:lnTo>
                      <a:pt x="268" y="200"/>
                    </a:lnTo>
                    <a:lnTo>
                      <a:pt x="278" y="214"/>
                    </a:lnTo>
                    <a:lnTo>
                      <a:pt x="278" y="230"/>
                    </a:lnTo>
                    <a:lnTo>
                      <a:pt x="292" y="244"/>
                    </a:lnTo>
                    <a:lnTo>
                      <a:pt x="296" y="264"/>
                    </a:lnTo>
                    <a:lnTo>
                      <a:pt x="306" y="282"/>
                    </a:lnTo>
                    <a:lnTo>
                      <a:pt x="306" y="312"/>
                    </a:lnTo>
                    <a:lnTo>
                      <a:pt x="286" y="326"/>
                    </a:lnTo>
                    <a:lnTo>
                      <a:pt x="266" y="332"/>
                    </a:lnTo>
                    <a:lnTo>
                      <a:pt x="248" y="326"/>
                    </a:lnTo>
                    <a:lnTo>
                      <a:pt x="238" y="336"/>
                    </a:lnTo>
                    <a:lnTo>
                      <a:pt x="244" y="348"/>
                    </a:lnTo>
                    <a:lnTo>
                      <a:pt x="234" y="356"/>
                    </a:lnTo>
                    <a:lnTo>
                      <a:pt x="218" y="356"/>
                    </a:lnTo>
                    <a:lnTo>
                      <a:pt x="218" y="368"/>
                    </a:lnTo>
                    <a:lnTo>
                      <a:pt x="232" y="374"/>
                    </a:lnTo>
                    <a:lnTo>
                      <a:pt x="224" y="396"/>
                    </a:lnTo>
                    <a:lnTo>
                      <a:pt x="202" y="396"/>
                    </a:lnTo>
                    <a:lnTo>
                      <a:pt x="192" y="386"/>
                    </a:lnTo>
                    <a:lnTo>
                      <a:pt x="192" y="376"/>
                    </a:lnTo>
                    <a:lnTo>
                      <a:pt x="182" y="376"/>
                    </a:lnTo>
                    <a:lnTo>
                      <a:pt x="172" y="390"/>
                    </a:lnTo>
                    <a:lnTo>
                      <a:pt x="162" y="392"/>
                    </a:lnTo>
                    <a:lnTo>
                      <a:pt x="156" y="370"/>
                    </a:lnTo>
                    <a:lnTo>
                      <a:pt x="130" y="34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9" name="Freeform 216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 rot="698053">
                <a:off x="3275308" y="3474715"/>
                <a:ext cx="135213" cy="133044"/>
              </a:xfrm>
              <a:custGeom>
                <a:avLst/>
                <a:gdLst>
                  <a:gd name="T0" fmla="*/ 134 w 178"/>
                  <a:gd name="T1" fmla="*/ 42 h 180"/>
                  <a:gd name="T2" fmla="*/ 148 w 178"/>
                  <a:gd name="T3" fmla="*/ 60 h 180"/>
                  <a:gd name="T4" fmla="*/ 176 w 178"/>
                  <a:gd name="T5" fmla="*/ 62 h 180"/>
                  <a:gd name="T6" fmla="*/ 178 w 178"/>
                  <a:gd name="T7" fmla="*/ 94 h 180"/>
                  <a:gd name="T8" fmla="*/ 164 w 178"/>
                  <a:gd name="T9" fmla="*/ 98 h 180"/>
                  <a:gd name="T10" fmla="*/ 140 w 178"/>
                  <a:gd name="T11" fmla="*/ 112 h 180"/>
                  <a:gd name="T12" fmla="*/ 116 w 178"/>
                  <a:gd name="T13" fmla="*/ 140 h 180"/>
                  <a:gd name="T14" fmla="*/ 108 w 178"/>
                  <a:gd name="T15" fmla="*/ 170 h 180"/>
                  <a:gd name="T16" fmla="*/ 86 w 178"/>
                  <a:gd name="T17" fmla="*/ 158 h 180"/>
                  <a:gd name="T18" fmla="*/ 72 w 178"/>
                  <a:gd name="T19" fmla="*/ 168 h 180"/>
                  <a:gd name="T20" fmla="*/ 50 w 178"/>
                  <a:gd name="T21" fmla="*/ 166 h 180"/>
                  <a:gd name="T22" fmla="*/ 36 w 178"/>
                  <a:gd name="T23" fmla="*/ 178 h 180"/>
                  <a:gd name="T24" fmla="*/ 12 w 178"/>
                  <a:gd name="T25" fmla="*/ 180 h 180"/>
                  <a:gd name="T26" fmla="*/ 20 w 178"/>
                  <a:gd name="T27" fmla="*/ 158 h 180"/>
                  <a:gd name="T28" fmla="*/ 0 w 178"/>
                  <a:gd name="T29" fmla="*/ 136 h 180"/>
                  <a:gd name="T30" fmla="*/ 20 w 178"/>
                  <a:gd name="T31" fmla="*/ 122 h 180"/>
                  <a:gd name="T32" fmla="*/ 36 w 178"/>
                  <a:gd name="T33" fmla="*/ 98 h 180"/>
                  <a:gd name="T34" fmla="*/ 50 w 178"/>
                  <a:gd name="T35" fmla="*/ 70 h 180"/>
                  <a:gd name="T36" fmla="*/ 54 w 178"/>
                  <a:gd name="T37" fmla="*/ 50 h 180"/>
                  <a:gd name="T38" fmla="*/ 34 w 178"/>
                  <a:gd name="T39" fmla="*/ 32 h 180"/>
                  <a:gd name="T40" fmla="*/ 24 w 178"/>
                  <a:gd name="T41" fmla="*/ 16 h 180"/>
                  <a:gd name="T42" fmla="*/ 52 w 178"/>
                  <a:gd name="T43" fmla="*/ 16 h 180"/>
                  <a:gd name="T44" fmla="*/ 64 w 178"/>
                  <a:gd name="T45" fmla="*/ 12 h 180"/>
                  <a:gd name="T46" fmla="*/ 72 w 178"/>
                  <a:gd name="T47" fmla="*/ 0 h 180"/>
                  <a:gd name="T48" fmla="*/ 82 w 178"/>
                  <a:gd name="T49" fmla="*/ 0 h 180"/>
                  <a:gd name="T50" fmla="*/ 82 w 178"/>
                  <a:gd name="T51" fmla="*/ 10 h 180"/>
                  <a:gd name="T52" fmla="*/ 92 w 178"/>
                  <a:gd name="T53" fmla="*/ 20 h 180"/>
                  <a:gd name="T54" fmla="*/ 114 w 178"/>
                  <a:gd name="T55" fmla="*/ 20 h 180"/>
                  <a:gd name="T56" fmla="*/ 134 w 178"/>
                  <a:gd name="T57" fmla="*/ 4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78" h="180">
                    <a:moveTo>
                      <a:pt x="134" y="42"/>
                    </a:moveTo>
                    <a:lnTo>
                      <a:pt x="148" y="60"/>
                    </a:lnTo>
                    <a:lnTo>
                      <a:pt x="176" y="62"/>
                    </a:lnTo>
                    <a:lnTo>
                      <a:pt x="178" y="94"/>
                    </a:lnTo>
                    <a:lnTo>
                      <a:pt x="164" y="98"/>
                    </a:lnTo>
                    <a:lnTo>
                      <a:pt x="140" y="112"/>
                    </a:lnTo>
                    <a:lnTo>
                      <a:pt x="116" y="140"/>
                    </a:lnTo>
                    <a:lnTo>
                      <a:pt x="108" y="170"/>
                    </a:lnTo>
                    <a:lnTo>
                      <a:pt x="86" y="158"/>
                    </a:lnTo>
                    <a:lnTo>
                      <a:pt x="72" y="168"/>
                    </a:lnTo>
                    <a:lnTo>
                      <a:pt x="50" y="166"/>
                    </a:lnTo>
                    <a:lnTo>
                      <a:pt x="36" y="178"/>
                    </a:lnTo>
                    <a:lnTo>
                      <a:pt x="12" y="180"/>
                    </a:lnTo>
                    <a:lnTo>
                      <a:pt x="20" y="158"/>
                    </a:lnTo>
                    <a:lnTo>
                      <a:pt x="0" y="136"/>
                    </a:lnTo>
                    <a:lnTo>
                      <a:pt x="20" y="122"/>
                    </a:lnTo>
                    <a:lnTo>
                      <a:pt x="36" y="98"/>
                    </a:lnTo>
                    <a:lnTo>
                      <a:pt x="50" y="70"/>
                    </a:lnTo>
                    <a:lnTo>
                      <a:pt x="54" y="50"/>
                    </a:lnTo>
                    <a:lnTo>
                      <a:pt x="34" y="32"/>
                    </a:lnTo>
                    <a:lnTo>
                      <a:pt x="24" y="16"/>
                    </a:lnTo>
                    <a:lnTo>
                      <a:pt x="52" y="16"/>
                    </a:lnTo>
                    <a:lnTo>
                      <a:pt x="64" y="12"/>
                    </a:lnTo>
                    <a:lnTo>
                      <a:pt x="72" y="0"/>
                    </a:lnTo>
                    <a:lnTo>
                      <a:pt x="82" y="0"/>
                    </a:lnTo>
                    <a:lnTo>
                      <a:pt x="82" y="10"/>
                    </a:lnTo>
                    <a:lnTo>
                      <a:pt x="92" y="20"/>
                    </a:lnTo>
                    <a:lnTo>
                      <a:pt x="114" y="20"/>
                    </a:lnTo>
                    <a:lnTo>
                      <a:pt x="134" y="4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0" name="Freeform 217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 rot="698053">
                <a:off x="3180561" y="3371395"/>
                <a:ext cx="135213" cy="90607"/>
              </a:xfrm>
              <a:custGeom>
                <a:avLst/>
                <a:gdLst>
                  <a:gd name="T0" fmla="*/ 0 w 178"/>
                  <a:gd name="T1" fmla="*/ 28 h 122"/>
                  <a:gd name="T2" fmla="*/ 16 w 178"/>
                  <a:gd name="T3" fmla="*/ 22 h 122"/>
                  <a:gd name="T4" fmla="*/ 32 w 178"/>
                  <a:gd name="T5" fmla="*/ 6 h 122"/>
                  <a:gd name="T6" fmla="*/ 46 w 178"/>
                  <a:gd name="T7" fmla="*/ 8 h 122"/>
                  <a:gd name="T8" fmla="*/ 64 w 178"/>
                  <a:gd name="T9" fmla="*/ 0 h 122"/>
                  <a:gd name="T10" fmla="*/ 84 w 178"/>
                  <a:gd name="T11" fmla="*/ 6 h 122"/>
                  <a:gd name="T12" fmla="*/ 106 w 178"/>
                  <a:gd name="T13" fmla="*/ 12 h 122"/>
                  <a:gd name="T14" fmla="*/ 110 w 178"/>
                  <a:gd name="T15" fmla="*/ 28 h 122"/>
                  <a:gd name="T16" fmla="*/ 134 w 178"/>
                  <a:gd name="T17" fmla="*/ 52 h 122"/>
                  <a:gd name="T18" fmla="*/ 154 w 178"/>
                  <a:gd name="T19" fmla="*/ 48 h 122"/>
                  <a:gd name="T20" fmla="*/ 164 w 178"/>
                  <a:gd name="T21" fmla="*/ 58 h 122"/>
                  <a:gd name="T22" fmla="*/ 178 w 178"/>
                  <a:gd name="T23" fmla="*/ 68 h 122"/>
                  <a:gd name="T24" fmla="*/ 172 w 178"/>
                  <a:gd name="T25" fmla="*/ 78 h 122"/>
                  <a:gd name="T26" fmla="*/ 162 w 178"/>
                  <a:gd name="T27" fmla="*/ 88 h 122"/>
                  <a:gd name="T28" fmla="*/ 162 w 178"/>
                  <a:gd name="T29" fmla="*/ 104 h 122"/>
                  <a:gd name="T30" fmla="*/ 152 w 178"/>
                  <a:gd name="T31" fmla="*/ 112 h 122"/>
                  <a:gd name="T32" fmla="*/ 128 w 178"/>
                  <a:gd name="T33" fmla="*/ 114 h 122"/>
                  <a:gd name="T34" fmla="*/ 120 w 178"/>
                  <a:gd name="T35" fmla="*/ 122 h 122"/>
                  <a:gd name="T36" fmla="*/ 108 w 178"/>
                  <a:gd name="T37" fmla="*/ 112 h 122"/>
                  <a:gd name="T38" fmla="*/ 90 w 178"/>
                  <a:gd name="T39" fmla="*/ 112 h 122"/>
                  <a:gd name="T40" fmla="*/ 78 w 178"/>
                  <a:gd name="T41" fmla="*/ 118 h 122"/>
                  <a:gd name="T42" fmla="*/ 66 w 178"/>
                  <a:gd name="T43" fmla="*/ 116 h 122"/>
                  <a:gd name="T44" fmla="*/ 48 w 178"/>
                  <a:gd name="T45" fmla="*/ 122 h 122"/>
                  <a:gd name="T46" fmla="*/ 30 w 178"/>
                  <a:gd name="T47" fmla="*/ 104 h 122"/>
                  <a:gd name="T48" fmla="*/ 36 w 178"/>
                  <a:gd name="T49" fmla="*/ 78 h 122"/>
                  <a:gd name="T50" fmla="*/ 12 w 178"/>
                  <a:gd name="T51" fmla="*/ 60 h 122"/>
                  <a:gd name="T52" fmla="*/ 0 w 178"/>
                  <a:gd name="T53" fmla="*/ 2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8" h="122">
                    <a:moveTo>
                      <a:pt x="0" y="28"/>
                    </a:moveTo>
                    <a:lnTo>
                      <a:pt x="16" y="22"/>
                    </a:lnTo>
                    <a:lnTo>
                      <a:pt x="32" y="6"/>
                    </a:lnTo>
                    <a:lnTo>
                      <a:pt x="46" y="8"/>
                    </a:lnTo>
                    <a:lnTo>
                      <a:pt x="64" y="0"/>
                    </a:lnTo>
                    <a:lnTo>
                      <a:pt x="84" y="6"/>
                    </a:lnTo>
                    <a:lnTo>
                      <a:pt x="106" y="12"/>
                    </a:lnTo>
                    <a:lnTo>
                      <a:pt x="110" y="28"/>
                    </a:lnTo>
                    <a:lnTo>
                      <a:pt x="134" y="52"/>
                    </a:lnTo>
                    <a:lnTo>
                      <a:pt x="154" y="48"/>
                    </a:lnTo>
                    <a:lnTo>
                      <a:pt x="164" y="58"/>
                    </a:lnTo>
                    <a:lnTo>
                      <a:pt x="178" y="68"/>
                    </a:lnTo>
                    <a:lnTo>
                      <a:pt x="172" y="78"/>
                    </a:lnTo>
                    <a:lnTo>
                      <a:pt x="162" y="88"/>
                    </a:lnTo>
                    <a:lnTo>
                      <a:pt x="162" y="104"/>
                    </a:lnTo>
                    <a:lnTo>
                      <a:pt x="152" y="112"/>
                    </a:lnTo>
                    <a:lnTo>
                      <a:pt x="128" y="114"/>
                    </a:lnTo>
                    <a:lnTo>
                      <a:pt x="120" y="122"/>
                    </a:lnTo>
                    <a:lnTo>
                      <a:pt x="108" y="112"/>
                    </a:lnTo>
                    <a:lnTo>
                      <a:pt x="90" y="112"/>
                    </a:lnTo>
                    <a:lnTo>
                      <a:pt x="78" y="118"/>
                    </a:lnTo>
                    <a:lnTo>
                      <a:pt x="66" y="116"/>
                    </a:lnTo>
                    <a:lnTo>
                      <a:pt x="48" y="122"/>
                    </a:lnTo>
                    <a:lnTo>
                      <a:pt x="30" y="104"/>
                    </a:lnTo>
                    <a:lnTo>
                      <a:pt x="36" y="78"/>
                    </a:lnTo>
                    <a:lnTo>
                      <a:pt x="12" y="6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1" name="Freeform 218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 rot="698053">
                <a:off x="3503636" y="2933064"/>
                <a:ext cx="365311" cy="326874"/>
              </a:xfrm>
              <a:custGeom>
                <a:avLst/>
                <a:gdLst>
                  <a:gd name="T0" fmla="*/ 280 w 479"/>
                  <a:gd name="T1" fmla="*/ 54 h 443"/>
                  <a:gd name="T2" fmla="*/ 318 w 479"/>
                  <a:gd name="T3" fmla="*/ 90 h 443"/>
                  <a:gd name="T4" fmla="*/ 336 w 479"/>
                  <a:gd name="T5" fmla="*/ 114 h 443"/>
                  <a:gd name="T6" fmla="*/ 395 w 479"/>
                  <a:gd name="T7" fmla="*/ 144 h 443"/>
                  <a:gd name="T8" fmla="*/ 375 w 479"/>
                  <a:gd name="T9" fmla="*/ 204 h 443"/>
                  <a:gd name="T10" fmla="*/ 401 w 479"/>
                  <a:gd name="T11" fmla="*/ 212 h 443"/>
                  <a:gd name="T12" fmla="*/ 427 w 479"/>
                  <a:gd name="T13" fmla="*/ 246 h 443"/>
                  <a:gd name="T14" fmla="*/ 459 w 479"/>
                  <a:gd name="T15" fmla="*/ 258 h 443"/>
                  <a:gd name="T16" fmla="*/ 479 w 479"/>
                  <a:gd name="T17" fmla="*/ 294 h 443"/>
                  <a:gd name="T18" fmla="*/ 469 w 479"/>
                  <a:gd name="T19" fmla="*/ 342 h 443"/>
                  <a:gd name="T20" fmla="*/ 427 w 479"/>
                  <a:gd name="T21" fmla="*/ 355 h 443"/>
                  <a:gd name="T22" fmla="*/ 389 w 479"/>
                  <a:gd name="T23" fmla="*/ 393 h 443"/>
                  <a:gd name="T24" fmla="*/ 365 w 479"/>
                  <a:gd name="T25" fmla="*/ 427 h 443"/>
                  <a:gd name="T26" fmla="*/ 324 w 479"/>
                  <a:gd name="T27" fmla="*/ 443 h 443"/>
                  <a:gd name="T28" fmla="*/ 298 w 479"/>
                  <a:gd name="T29" fmla="*/ 399 h 443"/>
                  <a:gd name="T30" fmla="*/ 252 w 479"/>
                  <a:gd name="T31" fmla="*/ 411 h 443"/>
                  <a:gd name="T32" fmla="*/ 208 w 479"/>
                  <a:gd name="T33" fmla="*/ 405 h 443"/>
                  <a:gd name="T34" fmla="*/ 174 w 479"/>
                  <a:gd name="T35" fmla="*/ 425 h 443"/>
                  <a:gd name="T36" fmla="*/ 160 w 479"/>
                  <a:gd name="T37" fmla="*/ 393 h 443"/>
                  <a:gd name="T38" fmla="*/ 138 w 479"/>
                  <a:gd name="T39" fmla="*/ 415 h 443"/>
                  <a:gd name="T40" fmla="*/ 110 w 479"/>
                  <a:gd name="T41" fmla="*/ 407 h 443"/>
                  <a:gd name="T42" fmla="*/ 80 w 479"/>
                  <a:gd name="T43" fmla="*/ 399 h 443"/>
                  <a:gd name="T44" fmla="*/ 26 w 479"/>
                  <a:gd name="T45" fmla="*/ 393 h 443"/>
                  <a:gd name="T46" fmla="*/ 28 w 479"/>
                  <a:gd name="T47" fmla="*/ 347 h 443"/>
                  <a:gd name="T48" fmla="*/ 0 w 479"/>
                  <a:gd name="T49" fmla="*/ 300 h 443"/>
                  <a:gd name="T50" fmla="*/ 16 w 479"/>
                  <a:gd name="T51" fmla="*/ 268 h 443"/>
                  <a:gd name="T52" fmla="*/ 56 w 479"/>
                  <a:gd name="T53" fmla="*/ 276 h 443"/>
                  <a:gd name="T54" fmla="*/ 102 w 479"/>
                  <a:gd name="T55" fmla="*/ 234 h 443"/>
                  <a:gd name="T56" fmla="*/ 122 w 479"/>
                  <a:gd name="T57" fmla="*/ 156 h 443"/>
                  <a:gd name="T58" fmla="*/ 114 w 479"/>
                  <a:gd name="T59" fmla="*/ 98 h 443"/>
                  <a:gd name="T60" fmla="*/ 144 w 479"/>
                  <a:gd name="T61" fmla="*/ 50 h 443"/>
                  <a:gd name="T62" fmla="*/ 192 w 479"/>
                  <a:gd name="T63" fmla="*/ 18 h 443"/>
                  <a:gd name="T64" fmla="*/ 230 w 479"/>
                  <a:gd name="T65" fmla="*/ 4 h 443"/>
                  <a:gd name="T66" fmla="*/ 254 w 479"/>
                  <a:gd name="T67" fmla="*/ 30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79" h="443">
                    <a:moveTo>
                      <a:pt x="282" y="30"/>
                    </a:moveTo>
                    <a:lnTo>
                      <a:pt x="280" y="54"/>
                    </a:lnTo>
                    <a:lnTo>
                      <a:pt x="288" y="86"/>
                    </a:lnTo>
                    <a:lnTo>
                      <a:pt x="318" y="90"/>
                    </a:lnTo>
                    <a:lnTo>
                      <a:pt x="336" y="98"/>
                    </a:lnTo>
                    <a:lnTo>
                      <a:pt x="336" y="114"/>
                    </a:lnTo>
                    <a:lnTo>
                      <a:pt x="363" y="114"/>
                    </a:lnTo>
                    <a:lnTo>
                      <a:pt x="395" y="144"/>
                    </a:lnTo>
                    <a:lnTo>
                      <a:pt x="399" y="182"/>
                    </a:lnTo>
                    <a:lnTo>
                      <a:pt x="375" y="204"/>
                    </a:lnTo>
                    <a:lnTo>
                      <a:pt x="393" y="222"/>
                    </a:lnTo>
                    <a:lnTo>
                      <a:pt x="401" y="212"/>
                    </a:lnTo>
                    <a:lnTo>
                      <a:pt x="421" y="218"/>
                    </a:lnTo>
                    <a:lnTo>
                      <a:pt x="427" y="246"/>
                    </a:lnTo>
                    <a:lnTo>
                      <a:pt x="439" y="258"/>
                    </a:lnTo>
                    <a:lnTo>
                      <a:pt x="459" y="258"/>
                    </a:lnTo>
                    <a:lnTo>
                      <a:pt x="461" y="278"/>
                    </a:lnTo>
                    <a:lnTo>
                      <a:pt x="479" y="294"/>
                    </a:lnTo>
                    <a:lnTo>
                      <a:pt x="479" y="320"/>
                    </a:lnTo>
                    <a:lnTo>
                      <a:pt x="469" y="342"/>
                    </a:lnTo>
                    <a:lnTo>
                      <a:pt x="453" y="355"/>
                    </a:lnTo>
                    <a:lnTo>
                      <a:pt x="427" y="355"/>
                    </a:lnTo>
                    <a:lnTo>
                      <a:pt x="405" y="377"/>
                    </a:lnTo>
                    <a:lnTo>
                      <a:pt x="389" y="393"/>
                    </a:lnTo>
                    <a:lnTo>
                      <a:pt x="389" y="417"/>
                    </a:lnTo>
                    <a:lnTo>
                      <a:pt x="365" y="427"/>
                    </a:lnTo>
                    <a:lnTo>
                      <a:pt x="340" y="425"/>
                    </a:lnTo>
                    <a:lnTo>
                      <a:pt x="324" y="443"/>
                    </a:lnTo>
                    <a:lnTo>
                      <a:pt x="314" y="415"/>
                    </a:lnTo>
                    <a:lnTo>
                      <a:pt x="298" y="399"/>
                    </a:lnTo>
                    <a:lnTo>
                      <a:pt x="280" y="413"/>
                    </a:lnTo>
                    <a:lnTo>
                      <a:pt x="252" y="411"/>
                    </a:lnTo>
                    <a:lnTo>
                      <a:pt x="238" y="397"/>
                    </a:lnTo>
                    <a:lnTo>
                      <a:pt x="208" y="405"/>
                    </a:lnTo>
                    <a:lnTo>
                      <a:pt x="198" y="431"/>
                    </a:lnTo>
                    <a:lnTo>
                      <a:pt x="174" y="425"/>
                    </a:lnTo>
                    <a:lnTo>
                      <a:pt x="160" y="411"/>
                    </a:lnTo>
                    <a:lnTo>
                      <a:pt x="160" y="393"/>
                    </a:lnTo>
                    <a:lnTo>
                      <a:pt x="146" y="389"/>
                    </a:lnTo>
                    <a:lnTo>
                      <a:pt x="138" y="415"/>
                    </a:lnTo>
                    <a:lnTo>
                      <a:pt x="124" y="421"/>
                    </a:lnTo>
                    <a:lnTo>
                      <a:pt x="110" y="407"/>
                    </a:lnTo>
                    <a:lnTo>
                      <a:pt x="94" y="413"/>
                    </a:lnTo>
                    <a:lnTo>
                      <a:pt x="80" y="399"/>
                    </a:lnTo>
                    <a:lnTo>
                      <a:pt x="56" y="421"/>
                    </a:lnTo>
                    <a:lnTo>
                      <a:pt x="26" y="393"/>
                    </a:lnTo>
                    <a:lnTo>
                      <a:pt x="20" y="369"/>
                    </a:lnTo>
                    <a:lnTo>
                      <a:pt x="28" y="347"/>
                    </a:lnTo>
                    <a:lnTo>
                      <a:pt x="28" y="322"/>
                    </a:lnTo>
                    <a:lnTo>
                      <a:pt x="0" y="300"/>
                    </a:lnTo>
                    <a:lnTo>
                      <a:pt x="16" y="284"/>
                    </a:lnTo>
                    <a:lnTo>
                      <a:pt x="16" y="268"/>
                    </a:lnTo>
                    <a:lnTo>
                      <a:pt x="38" y="258"/>
                    </a:lnTo>
                    <a:lnTo>
                      <a:pt x="56" y="276"/>
                    </a:lnTo>
                    <a:lnTo>
                      <a:pt x="84" y="272"/>
                    </a:lnTo>
                    <a:lnTo>
                      <a:pt x="102" y="234"/>
                    </a:lnTo>
                    <a:lnTo>
                      <a:pt x="90" y="188"/>
                    </a:lnTo>
                    <a:lnTo>
                      <a:pt x="122" y="156"/>
                    </a:lnTo>
                    <a:lnTo>
                      <a:pt x="132" y="128"/>
                    </a:lnTo>
                    <a:lnTo>
                      <a:pt x="114" y="98"/>
                    </a:lnTo>
                    <a:lnTo>
                      <a:pt x="112" y="80"/>
                    </a:lnTo>
                    <a:lnTo>
                      <a:pt x="144" y="50"/>
                    </a:lnTo>
                    <a:lnTo>
                      <a:pt x="154" y="18"/>
                    </a:lnTo>
                    <a:lnTo>
                      <a:pt x="192" y="18"/>
                    </a:lnTo>
                    <a:lnTo>
                      <a:pt x="210" y="0"/>
                    </a:lnTo>
                    <a:lnTo>
                      <a:pt x="230" y="4"/>
                    </a:lnTo>
                    <a:lnTo>
                      <a:pt x="234" y="20"/>
                    </a:lnTo>
                    <a:lnTo>
                      <a:pt x="254" y="30"/>
                    </a:lnTo>
                    <a:lnTo>
                      <a:pt x="282" y="3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2" name="Freeform 219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 rot="698053">
                <a:off x="3271888" y="2916733"/>
                <a:ext cx="327357" cy="360134"/>
              </a:xfrm>
              <a:custGeom>
                <a:avLst/>
                <a:gdLst>
                  <a:gd name="T0" fmla="*/ 352 w 428"/>
                  <a:gd name="T1" fmla="*/ 369 h 487"/>
                  <a:gd name="T2" fmla="*/ 316 w 428"/>
                  <a:gd name="T3" fmla="*/ 317 h 487"/>
                  <a:gd name="T4" fmla="*/ 324 w 428"/>
                  <a:gd name="T5" fmla="*/ 270 h 487"/>
                  <a:gd name="T6" fmla="*/ 312 w 428"/>
                  <a:gd name="T7" fmla="*/ 232 h 487"/>
                  <a:gd name="T8" fmla="*/ 334 w 428"/>
                  <a:gd name="T9" fmla="*/ 206 h 487"/>
                  <a:gd name="T10" fmla="*/ 380 w 428"/>
                  <a:gd name="T11" fmla="*/ 220 h 487"/>
                  <a:gd name="T12" fmla="*/ 386 w 428"/>
                  <a:gd name="T13" fmla="*/ 136 h 487"/>
                  <a:gd name="T14" fmla="*/ 428 w 428"/>
                  <a:gd name="T15" fmla="*/ 76 h 487"/>
                  <a:gd name="T16" fmla="*/ 408 w 428"/>
                  <a:gd name="T17" fmla="*/ 28 h 487"/>
                  <a:gd name="T18" fmla="*/ 362 w 428"/>
                  <a:gd name="T19" fmla="*/ 40 h 487"/>
                  <a:gd name="T20" fmla="*/ 334 w 428"/>
                  <a:gd name="T21" fmla="*/ 28 h 487"/>
                  <a:gd name="T22" fmla="*/ 310 w 428"/>
                  <a:gd name="T23" fmla="*/ 10 h 487"/>
                  <a:gd name="T24" fmla="*/ 290 w 428"/>
                  <a:gd name="T25" fmla="*/ 14 h 487"/>
                  <a:gd name="T26" fmla="*/ 232 w 428"/>
                  <a:gd name="T27" fmla="*/ 44 h 487"/>
                  <a:gd name="T28" fmla="*/ 214 w 428"/>
                  <a:gd name="T29" fmla="*/ 62 h 487"/>
                  <a:gd name="T30" fmla="*/ 200 w 428"/>
                  <a:gd name="T31" fmla="*/ 110 h 487"/>
                  <a:gd name="T32" fmla="*/ 152 w 428"/>
                  <a:gd name="T33" fmla="*/ 152 h 487"/>
                  <a:gd name="T34" fmla="*/ 98 w 428"/>
                  <a:gd name="T35" fmla="*/ 94 h 487"/>
                  <a:gd name="T36" fmla="*/ 50 w 428"/>
                  <a:gd name="T37" fmla="*/ 92 h 487"/>
                  <a:gd name="T38" fmla="*/ 0 w 428"/>
                  <a:gd name="T39" fmla="*/ 128 h 487"/>
                  <a:gd name="T40" fmla="*/ 32 w 428"/>
                  <a:gd name="T41" fmla="*/ 148 h 487"/>
                  <a:gd name="T42" fmla="*/ 70 w 428"/>
                  <a:gd name="T43" fmla="*/ 164 h 487"/>
                  <a:gd name="T44" fmla="*/ 42 w 428"/>
                  <a:gd name="T45" fmla="*/ 180 h 487"/>
                  <a:gd name="T46" fmla="*/ 6 w 428"/>
                  <a:gd name="T47" fmla="*/ 192 h 487"/>
                  <a:gd name="T48" fmla="*/ 20 w 428"/>
                  <a:gd name="T49" fmla="*/ 220 h 487"/>
                  <a:gd name="T50" fmla="*/ 82 w 428"/>
                  <a:gd name="T51" fmla="*/ 260 h 487"/>
                  <a:gd name="T52" fmla="*/ 70 w 428"/>
                  <a:gd name="T53" fmla="*/ 286 h 487"/>
                  <a:gd name="T54" fmla="*/ 64 w 428"/>
                  <a:gd name="T55" fmla="*/ 311 h 487"/>
                  <a:gd name="T56" fmla="*/ 92 w 428"/>
                  <a:gd name="T57" fmla="*/ 341 h 487"/>
                  <a:gd name="T58" fmla="*/ 90 w 428"/>
                  <a:gd name="T59" fmla="*/ 367 h 487"/>
                  <a:gd name="T60" fmla="*/ 108 w 428"/>
                  <a:gd name="T61" fmla="*/ 395 h 487"/>
                  <a:gd name="T62" fmla="*/ 134 w 428"/>
                  <a:gd name="T63" fmla="*/ 391 h 487"/>
                  <a:gd name="T64" fmla="*/ 172 w 428"/>
                  <a:gd name="T65" fmla="*/ 399 h 487"/>
                  <a:gd name="T66" fmla="*/ 182 w 428"/>
                  <a:gd name="T67" fmla="*/ 377 h 487"/>
                  <a:gd name="T68" fmla="*/ 204 w 428"/>
                  <a:gd name="T69" fmla="*/ 397 h 487"/>
                  <a:gd name="T70" fmla="*/ 216 w 428"/>
                  <a:gd name="T71" fmla="*/ 427 h 487"/>
                  <a:gd name="T72" fmla="*/ 238 w 428"/>
                  <a:gd name="T73" fmla="*/ 453 h 487"/>
                  <a:gd name="T74" fmla="*/ 252 w 428"/>
                  <a:gd name="T75" fmla="*/ 481 h 487"/>
                  <a:gd name="T76" fmla="*/ 274 w 428"/>
                  <a:gd name="T77" fmla="*/ 479 h 487"/>
                  <a:gd name="T78" fmla="*/ 318 w 428"/>
                  <a:gd name="T79" fmla="*/ 455 h 487"/>
                  <a:gd name="T80" fmla="*/ 376 w 428"/>
                  <a:gd name="T81" fmla="*/ 435 h 487"/>
                  <a:gd name="T82" fmla="*/ 388 w 428"/>
                  <a:gd name="T83" fmla="*/ 389 h 487"/>
                  <a:gd name="T84" fmla="*/ 352 w 428"/>
                  <a:gd name="T85" fmla="*/ 397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8" h="487">
                    <a:moveTo>
                      <a:pt x="352" y="397"/>
                    </a:moveTo>
                    <a:lnTo>
                      <a:pt x="352" y="369"/>
                    </a:lnTo>
                    <a:lnTo>
                      <a:pt x="322" y="341"/>
                    </a:lnTo>
                    <a:lnTo>
                      <a:pt x="316" y="317"/>
                    </a:lnTo>
                    <a:lnTo>
                      <a:pt x="324" y="295"/>
                    </a:lnTo>
                    <a:lnTo>
                      <a:pt x="324" y="270"/>
                    </a:lnTo>
                    <a:lnTo>
                      <a:pt x="296" y="248"/>
                    </a:lnTo>
                    <a:lnTo>
                      <a:pt x="312" y="232"/>
                    </a:lnTo>
                    <a:lnTo>
                      <a:pt x="312" y="216"/>
                    </a:lnTo>
                    <a:lnTo>
                      <a:pt x="334" y="206"/>
                    </a:lnTo>
                    <a:lnTo>
                      <a:pt x="352" y="224"/>
                    </a:lnTo>
                    <a:lnTo>
                      <a:pt x="380" y="220"/>
                    </a:lnTo>
                    <a:lnTo>
                      <a:pt x="398" y="182"/>
                    </a:lnTo>
                    <a:lnTo>
                      <a:pt x="386" y="136"/>
                    </a:lnTo>
                    <a:lnTo>
                      <a:pt x="418" y="104"/>
                    </a:lnTo>
                    <a:lnTo>
                      <a:pt x="428" y="76"/>
                    </a:lnTo>
                    <a:lnTo>
                      <a:pt x="410" y="46"/>
                    </a:lnTo>
                    <a:lnTo>
                      <a:pt x="408" y="28"/>
                    </a:lnTo>
                    <a:lnTo>
                      <a:pt x="374" y="28"/>
                    </a:lnTo>
                    <a:lnTo>
                      <a:pt x="362" y="40"/>
                    </a:lnTo>
                    <a:lnTo>
                      <a:pt x="344" y="40"/>
                    </a:lnTo>
                    <a:lnTo>
                      <a:pt x="334" y="28"/>
                    </a:lnTo>
                    <a:lnTo>
                      <a:pt x="310" y="28"/>
                    </a:lnTo>
                    <a:lnTo>
                      <a:pt x="310" y="10"/>
                    </a:lnTo>
                    <a:lnTo>
                      <a:pt x="300" y="0"/>
                    </a:lnTo>
                    <a:lnTo>
                      <a:pt x="290" y="14"/>
                    </a:lnTo>
                    <a:lnTo>
                      <a:pt x="280" y="36"/>
                    </a:lnTo>
                    <a:lnTo>
                      <a:pt x="232" y="44"/>
                    </a:lnTo>
                    <a:lnTo>
                      <a:pt x="232" y="64"/>
                    </a:lnTo>
                    <a:lnTo>
                      <a:pt x="214" y="62"/>
                    </a:lnTo>
                    <a:lnTo>
                      <a:pt x="196" y="80"/>
                    </a:lnTo>
                    <a:lnTo>
                      <a:pt x="200" y="110"/>
                    </a:lnTo>
                    <a:lnTo>
                      <a:pt x="180" y="122"/>
                    </a:lnTo>
                    <a:lnTo>
                      <a:pt x="152" y="152"/>
                    </a:lnTo>
                    <a:lnTo>
                      <a:pt x="120" y="116"/>
                    </a:lnTo>
                    <a:lnTo>
                      <a:pt x="98" y="94"/>
                    </a:lnTo>
                    <a:lnTo>
                      <a:pt x="76" y="104"/>
                    </a:lnTo>
                    <a:lnTo>
                      <a:pt x="50" y="92"/>
                    </a:lnTo>
                    <a:lnTo>
                      <a:pt x="20" y="106"/>
                    </a:lnTo>
                    <a:lnTo>
                      <a:pt x="0" y="128"/>
                    </a:lnTo>
                    <a:lnTo>
                      <a:pt x="16" y="132"/>
                    </a:lnTo>
                    <a:lnTo>
                      <a:pt x="32" y="148"/>
                    </a:lnTo>
                    <a:lnTo>
                      <a:pt x="54" y="152"/>
                    </a:lnTo>
                    <a:lnTo>
                      <a:pt x="70" y="164"/>
                    </a:lnTo>
                    <a:lnTo>
                      <a:pt x="64" y="188"/>
                    </a:lnTo>
                    <a:lnTo>
                      <a:pt x="42" y="180"/>
                    </a:lnTo>
                    <a:lnTo>
                      <a:pt x="12" y="176"/>
                    </a:lnTo>
                    <a:lnTo>
                      <a:pt x="6" y="192"/>
                    </a:lnTo>
                    <a:lnTo>
                      <a:pt x="6" y="206"/>
                    </a:lnTo>
                    <a:lnTo>
                      <a:pt x="20" y="220"/>
                    </a:lnTo>
                    <a:lnTo>
                      <a:pt x="34" y="212"/>
                    </a:lnTo>
                    <a:lnTo>
                      <a:pt x="82" y="260"/>
                    </a:lnTo>
                    <a:lnTo>
                      <a:pt x="66" y="264"/>
                    </a:lnTo>
                    <a:lnTo>
                      <a:pt x="70" y="286"/>
                    </a:lnTo>
                    <a:lnTo>
                      <a:pt x="52" y="301"/>
                    </a:lnTo>
                    <a:lnTo>
                      <a:pt x="64" y="311"/>
                    </a:lnTo>
                    <a:lnTo>
                      <a:pt x="78" y="335"/>
                    </a:lnTo>
                    <a:lnTo>
                      <a:pt x="92" y="341"/>
                    </a:lnTo>
                    <a:lnTo>
                      <a:pt x="104" y="355"/>
                    </a:lnTo>
                    <a:lnTo>
                      <a:pt x="90" y="367"/>
                    </a:lnTo>
                    <a:lnTo>
                      <a:pt x="92" y="395"/>
                    </a:lnTo>
                    <a:lnTo>
                      <a:pt x="108" y="395"/>
                    </a:lnTo>
                    <a:lnTo>
                      <a:pt x="118" y="405"/>
                    </a:lnTo>
                    <a:lnTo>
                      <a:pt x="134" y="391"/>
                    </a:lnTo>
                    <a:lnTo>
                      <a:pt x="148" y="399"/>
                    </a:lnTo>
                    <a:lnTo>
                      <a:pt x="172" y="399"/>
                    </a:lnTo>
                    <a:lnTo>
                      <a:pt x="182" y="391"/>
                    </a:lnTo>
                    <a:lnTo>
                      <a:pt x="182" y="377"/>
                    </a:lnTo>
                    <a:lnTo>
                      <a:pt x="196" y="377"/>
                    </a:lnTo>
                    <a:lnTo>
                      <a:pt x="204" y="397"/>
                    </a:lnTo>
                    <a:lnTo>
                      <a:pt x="204" y="413"/>
                    </a:lnTo>
                    <a:lnTo>
                      <a:pt x="216" y="427"/>
                    </a:lnTo>
                    <a:lnTo>
                      <a:pt x="232" y="431"/>
                    </a:lnTo>
                    <a:lnTo>
                      <a:pt x="238" y="453"/>
                    </a:lnTo>
                    <a:lnTo>
                      <a:pt x="242" y="471"/>
                    </a:lnTo>
                    <a:lnTo>
                      <a:pt x="252" y="481"/>
                    </a:lnTo>
                    <a:lnTo>
                      <a:pt x="266" y="487"/>
                    </a:lnTo>
                    <a:lnTo>
                      <a:pt x="274" y="479"/>
                    </a:lnTo>
                    <a:lnTo>
                      <a:pt x="290" y="483"/>
                    </a:lnTo>
                    <a:lnTo>
                      <a:pt x="318" y="455"/>
                    </a:lnTo>
                    <a:lnTo>
                      <a:pt x="348" y="455"/>
                    </a:lnTo>
                    <a:lnTo>
                      <a:pt x="376" y="435"/>
                    </a:lnTo>
                    <a:lnTo>
                      <a:pt x="388" y="407"/>
                    </a:lnTo>
                    <a:lnTo>
                      <a:pt x="388" y="389"/>
                    </a:lnTo>
                    <a:lnTo>
                      <a:pt x="368" y="399"/>
                    </a:lnTo>
                    <a:lnTo>
                      <a:pt x="352" y="397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3" name="Freeform 220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 rot="698053">
                <a:off x="3556449" y="3222990"/>
                <a:ext cx="173167" cy="298200"/>
              </a:xfrm>
              <a:custGeom>
                <a:avLst/>
                <a:gdLst>
                  <a:gd name="T0" fmla="*/ 93 w 113"/>
                  <a:gd name="T1" fmla="*/ 23 h 202"/>
                  <a:gd name="T2" fmla="*/ 88 w 113"/>
                  <a:gd name="T3" fmla="*/ 9 h 202"/>
                  <a:gd name="T4" fmla="*/ 80 w 113"/>
                  <a:gd name="T5" fmla="*/ 1 h 202"/>
                  <a:gd name="T6" fmla="*/ 71 w 113"/>
                  <a:gd name="T7" fmla="*/ 8 h 202"/>
                  <a:gd name="T8" fmla="*/ 57 w 113"/>
                  <a:gd name="T9" fmla="*/ 7 h 202"/>
                  <a:gd name="T10" fmla="*/ 50 w 113"/>
                  <a:gd name="T11" fmla="*/ 0 h 202"/>
                  <a:gd name="T12" fmla="*/ 35 w 113"/>
                  <a:gd name="T13" fmla="*/ 4 h 202"/>
                  <a:gd name="T14" fmla="*/ 30 w 113"/>
                  <a:gd name="T15" fmla="*/ 17 h 202"/>
                  <a:gd name="T16" fmla="*/ 34 w 113"/>
                  <a:gd name="T17" fmla="*/ 30 h 202"/>
                  <a:gd name="T18" fmla="*/ 42 w 113"/>
                  <a:gd name="T19" fmla="*/ 35 h 202"/>
                  <a:gd name="T20" fmla="*/ 38 w 113"/>
                  <a:gd name="T21" fmla="*/ 56 h 202"/>
                  <a:gd name="T22" fmla="*/ 39 w 113"/>
                  <a:gd name="T23" fmla="*/ 69 h 202"/>
                  <a:gd name="T24" fmla="*/ 45 w 113"/>
                  <a:gd name="T25" fmla="*/ 77 h 202"/>
                  <a:gd name="T26" fmla="*/ 60 w 113"/>
                  <a:gd name="T27" fmla="*/ 78 h 202"/>
                  <a:gd name="T28" fmla="*/ 57 w 113"/>
                  <a:gd name="T29" fmla="*/ 94 h 202"/>
                  <a:gd name="T30" fmla="*/ 49 w 113"/>
                  <a:gd name="T31" fmla="*/ 98 h 202"/>
                  <a:gd name="T32" fmla="*/ 44 w 113"/>
                  <a:gd name="T33" fmla="*/ 115 h 202"/>
                  <a:gd name="T34" fmla="*/ 51 w 113"/>
                  <a:gd name="T35" fmla="*/ 122 h 202"/>
                  <a:gd name="T36" fmla="*/ 47 w 113"/>
                  <a:gd name="T37" fmla="*/ 133 h 202"/>
                  <a:gd name="T38" fmla="*/ 33 w 113"/>
                  <a:gd name="T39" fmla="*/ 131 h 202"/>
                  <a:gd name="T40" fmla="*/ 31 w 113"/>
                  <a:gd name="T41" fmla="*/ 140 h 202"/>
                  <a:gd name="T42" fmla="*/ 27 w 113"/>
                  <a:gd name="T43" fmla="*/ 140 h 202"/>
                  <a:gd name="T44" fmla="*/ 25 w 113"/>
                  <a:gd name="T45" fmla="*/ 135 h 202"/>
                  <a:gd name="T46" fmla="*/ 18 w 113"/>
                  <a:gd name="T47" fmla="*/ 132 h 202"/>
                  <a:gd name="T48" fmla="*/ 13 w 113"/>
                  <a:gd name="T49" fmla="*/ 137 h 202"/>
                  <a:gd name="T50" fmla="*/ 17 w 113"/>
                  <a:gd name="T51" fmla="*/ 143 h 202"/>
                  <a:gd name="T52" fmla="*/ 17 w 113"/>
                  <a:gd name="T53" fmla="*/ 151 h 202"/>
                  <a:gd name="T54" fmla="*/ 22 w 113"/>
                  <a:gd name="T55" fmla="*/ 156 h 202"/>
                  <a:gd name="T56" fmla="*/ 22 w 113"/>
                  <a:gd name="T57" fmla="*/ 162 h 202"/>
                  <a:gd name="T58" fmla="*/ 0 w 113"/>
                  <a:gd name="T59" fmla="*/ 177 h 202"/>
                  <a:gd name="T60" fmla="*/ 2 w 113"/>
                  <a:gd name="T61" fmla="*/ 182 h 202"/>
                  <a:gd name="T62" fmla="*/ 11 w 113"/>
                  <a:gd name="T63" fmla="*/ 183 h 202"/>
                  <a:gd name="T64" fmla="*/ 18 w 113"/>
                  <a:gd name="T65" fmla="*/ 188 h 202"/>
                  <a:gd name="T66" fmla="*/ 30 w 113"/>
                  <a:gd name="T67" fmla="*/ 190 h 202"/>
                  <a:gd name="T68" fmla="*/ 35 w 113"/>
                  <a:gd name="T69" fmla="*/ 194 h 202"/>
                  <a:gd name="T70" fmla="*/ 45 w 113"/>
                  <a:gd name="T71" fmla="*/ 197 h 202"/>
                  <a:gd name="T72" fmla="*/ 50 w 113"/>
                  <a:gd name="T73" fmla="*/ 202 h 202"/>
                  <a:gd name="T74" fmla="*/ 64 w 113"/>
                  <a:gd name="T75" fmla="*/ 201 h 202"/>
                  <a:gd name="T76" fmla="*/ 70 w 113"/>
                  <a:gd name="T77" fmla="*/ 201 h 202"/>
                  <a:gd name="T78" fmla="*/ 77 w 113"/>
                  <a:gd name="T79" fmla="*/ 201 h 202"/>
                  <a:gd name="T80" fmla="*/ 87 w 113"/>
                  <a:gd name="T81" fmla="*/ 201 h 202"/>
                  <a:gd name="T82" fmla="*/ 98 w 113"/>
                  <a:gd name="T83" fmla="*/ 200 h 202"/>
                  <a:gd name="T84" fmla="*/ 105 w 113"/>
                  <a:gd name="T85" fmla="*/ 193 h 202"/>
                  <a:gd name="T86" fmla="*/ 96 w 113"/>
                  <a:gd name="T87" fmla="*/ 185 h 202"/>
                  <a:gd name="T88" fmla="*/ 91 w 113"/>
                  <a:gd name="T89" fmla="*/ 173 h 202"/>
                  <a:gd name="T90" fmla="*/ 89 w 113"/>
                  <a:gd name="T91" fmla="*/ 161 h 202"/>
                  <a:gd name="T92" fmla="*/ 99 w 113"/>
                  <a:gd name="T93" fmla="*/ 162 h 202"/>
                  <a:gd name="T94" fmla="*/ 106 w 113"/>
                  <a:gd name="T95" fmla="*/ 170 h 202"/>
                  <a:gd name="T96" fmla="*/ 113 w 113"/>
                  <a:gd name="T97" fmla="*/ 163 h 202"/>
                  <a:gd name="T98" fmla="*/ 113 w 113"/>
                  <a:gd name="T99" fmla="*/ 144 h 202"/>
                  <a:gd name="T100" fmla="*/ 109 w 113"/>
                  <a:gd name="T101" fmla="*/ 122 h 202"/>
                  <a:gd name="T102" fmla="*/ 113 w 113"/>
                  <a:gd name="T103" fmla="*/ 104 h 202"/>
                  <a:gd name="T104" fmla="*/ 105 w 113"/>
                  <a:gd name="T105" fmla="*/ 96 h 202"/>
                  <a:gd name="T106" fmla="*/ 92 w 113"/>
                  <a:gd name="T107" fmla="*/ 84 h 202"/>
                  <a:gd name="T108" fmla="*/ 83 w 113"/>
                  <a:gd name="T109" fmla="*/ 79 h 202"/>
                  <a:gd name="T110" fmla="*/ 92 w 113"/>
                  <a:gd name="T111" fmla="*/ 70 h 202"/>
                  <a:gd name="T112" fmla="*/ 96 w 113"/>
                  <a:gd name="T113" fmla="*/ 53 h 202"/>
                  <a:gd name="T114" fmla="*/ 86 w 113"/>
                  <a:gd name="T115" fmla="*/ 43 h 202"/>
                  <a:gd name="T116" fmla="*/ 82 w 113"/>
                  <a:gd name="T117" fmla="*/ 30 h 202"/>
                  <a:gd name="T118" fmla="*/ 93 w 113"/>
                  <a:gd name="T119" fmla="*/ 23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3" h="202">
                    <a:moveTo>
                      <a:pt x="93" y="23"/>
                    </a:moveTo>
                    <a:cubicBezTo>
                      <a:pt x="88" y="9"/>
                      <a:pt x="88" y="9"/>
                      <a:pt x="88" y="9"/>
                    </a:cubicBezTo>
                    <a:cubicBezTo>
                      <a:pt x="80" y="1"/>
                      <a:pt x="80" y="1"/>
                      <a:pt x="80" y="1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9" y="69"/>
                      <a:pt x="39" y="69"/>
                      <a:pt x="39" y="69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60" y="78"/>
                      <a:pt x="60" y="78"/>
                      <a:pt x="60" y="78"/>
                    </a:cubicBezTo>
                    <a:cubicBezTo>
                      <a:pt x="57" y="94"/>
                      <a:pt x="57" y="94"/>
                      <a:pt x="57" y="94"/>
                    </a:cubicBezTo>
                    <a:cubicBezTo>
                      <a:pt x="49" y="98"/>
                      <a:pt x="49" y="98"/>
                      <a:pt x="49" y="98"/>
                    </a:cubicBezTo>
                    <a:cubicBezTo>
                      <a:pt x="44" y="115"/>
                      <a:pt x="44" y="115"/>
                      <a:pt x="44" y="115"/>
                    </a:cubicBezTo>
                    <a:cubicBezTo>
                      <a:pt x="51" y="122"/>
                      <a:pt x="51" y="122"/>
                      <a:pt x="51" y="122"/>
                    </a:cubicBezTo>
                    <a:cubicBezTo>
                      <a:pt x="47" y="133"/>
                      <a:pt x="47" y="133"/>
                      <a:pt x="47" y="133"/>
                    </a:cubicBezTo>
                    <a:cubicBezTo>
                      <a:pt x="33" y="131"/>
                      <a:pt x="33" y="131"/>
                      <a:pt x="33" y="131"/>
                    </a:cubicBezTo>
                    <a:cubicBezTo>
                      <a:pt x="31" y="140"/>
                      <a:pt x="31" y="140"/>
                      <a:pt x="31" y="140"/>
                    </a:cubicBezTo>
                    <a:cubicBezTo>
                      <a:pt x="27" y="140"/>
                      <a:pt x="27" y="140"/>
                      <a:pt x="27" y="140"/>
                    </a:cubicBezTo>
                    <a:cubicBezTo>
                      <a:pt x="25" y="135"/>
                      <a:pt x="25" y="135"/>
                      <a:pt x="25" y="135"/>
                    </a:cubicBezTo>
                    <a:cubicBezTo>
                      <a:pt x="18" y="132"/>
                      <a:pt x="18" y="132"/>
                      <a:pt x="18" y="132"/>
                    </a:cubicBezTo>
                    <a:cubicBezTo>
                      <a:pt x="13" y="137"/>
                      <a:pt x="13" y="137"/>
                      <a:pt x="13" y="137"/>
                    </a:cubicBezTo>
                    <a:cubicBezTo>
                      <a:pt x="17" y="143"/>
                      <a:pt x="17" y="143"/>
                      <a:pt x="17" y="143"/>
                    </a:cubicBezTo>
                    <a:cubicBezTo>
                      <a:pt x="17" y="151"/>
                      <a:pt x="17" y="151"/>
                      <a:pt x="17" y="151"/>
                    </a:cubicBezTo>
                    <a:cubicBezTo>
                      <a:pt x="22" y="156"/>
                      <a:pt x="22" y="156"/>
                      <a:pt x="22" y="156"/>
                    </a:cubicBezTo>
                    <a:cubicBezTo>
                      <a:pt x="22" y="162"/>
                      <a:pt x="22" y="162"/>
                      <a:pt x="22" y="162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2" y="182"/>
                      <a:pt x="2" y="182"/>
                      <a:pt x="2" y="182"/>
                    </a:cubicBezTo>
                    <a:cubicBezTo>
                      <a:pt x="11" y="183"/>
                      <a:pt x="11" y="183"/>
                      <a:pt x="11" y="183"/>
                    </a:cubicBezTo>
                    <a:cubicBezTo>
                      <a:pt x="18" y="188"/>
                      <a:pt x="18" y="188"/>
                      <a:pt x="18" y="188"/>
                    </a:cubicBezTo>
                    <a:cubicBezTo>
                      <a:pt x="30" y="190"/>
                      <a:pt x="30" y="190"/>
                      <a:pt x="30" y="190"/>
                    </a:cubicBezTo>
                    <a:cubicBezTo>
                      <a:pt x="35" y="194"/>
                      <a:pt x="35" y="194"/>
                      <a:pt x="35" y="194"/>
                    </a:cubicBezTo>
                    <a:cubicBezTo>
                      <a:pt x="45" y="197"/>
                      <a:pt x="45" y="197"/>
                      <a:pt x="45" y="197"/>
                    </a:cubicBezTo>
                    <a:cubicBezTo>
                      <a:pt x="45" y="197"/>
                      <a:pt x="43" y="202"/>
                      <a:pt x="50" y="202"/>
                    </a:cubicBezTo>
                    <a:cubicBezTo>
                      <a:pt x="56" y="202"/>
                      <a:pt x="64" y="201"/>
                      <a:pt x="64" y="201"/>
                    </a:cubicBezTo>
                    <a:cubicBezTo>
                      <a:pt x="70" y="201"/>
                      <a:pt x="70" y="201"/>
                      <a:pt x="70" y="201"/>
                    </a:cubicBezTo>
                    <a:cubicBezTo>
                      <a:pt x="77" y="201"/>
                      <a:pt x="77" y="201"/>
                      <a:pt x="77" y="201"/>
                    </a:cubicBezTo>
                    <a:cubicBezTo>
                      <a:pt x="87" y="201"/>
                      <a:pt x="87" y="201"/>
                      <a:pt x="87" y="201"/>
                    </a:cubicBezTo>
                    <a:cubicBezTo>
                      <a:pt x="98" y="200"/>
                      <a:pt x="98" y="200"/>
                      <a:pt x="98" y="200"/>
                    </a:cubicBezTo>
                    <a:cubicBezTo>
                      <a:pt x="105" y="193"/>
                      <a:pt x="105" y="193"/>
                      <a:pt x="105" y="193"/>
                    </a:cubicBezTo>
                    <a:cubicBezTo>
                      <a:pt x="96" y="185"/>
                      <a:pt x="96" y="185"/>
                      <a:pt x="96" y="185"/>
                    </a:cubicBezTo>
                    <a:cubicBezTo>
                      <a:pt x="91" y="173"/>
                      <a:pt x="91" y="173"/>
                      <a:pt x="91" y="173"/>
                    </a:cubicBezTo>
                    <a:cubicBezTo>
                      <a:pt x="89" y="161"/>
                      <a:pt x="89" y="161"/>
                      <a:pt x="89" y="161"/>
                    </a:cubicBezTo>
                    <a:cubicBezTo>
                      <a:pt x="99" y="162"/>
                      <a:pt x="99" y="162"/>
                      <a:pt x="99" y="162"/>
                    </a:cubicBezTo>
                    <a:cubicBezTo>
                      <a:pt x="106" y="170"/>
                      <a:pt x="106" y="170"/>
                      <a:pt x="106" y="170"/>
                    </a:cubicBezTo>
                    <a:cubicBezTo>
                      <a:pt x="113" y="163"/>
                      <a:pt x="113" y="163"/>
                      <a:pt x="113" y="163"/>
                    </a:cubicBezTo>
                    <a:cubicBezTo>
                      <a:pt x="113" y="144"/>
                      <a:pt x="113" y="144"/>
                      <a:pt x="113" y="144"/>
                    </a:cubicBezTo>
                    <a:cubicBezTo>
                      <a:pt x="109" y="122"/>
                      <a:pt x="109" y="122"/>
                      <a:pt x="109" y="122"/>
                    </a:cubicBezTo>
                    <a:cubicBezTo>
                      <a:pt x="113" y="104"/>
                      <a:pt x="113" y="104"/>
                      <a:pt x="113" y="104"/>
                    </a:cubicBezTo>
                    <a:cubicBezTo>
                      <a:pt x="105" y="96"/>
                      <a:pt x="105" y="96"/>
                      <a:pt x="105" y="96"/>
                    </a:cubicBezTo>
                    <a:cubicBezTo>
                      <a:pt x="92" y="84"/>
                      <a:pt x="92" y="84"/>
                      <a:pt x="92" y="84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92" y="70"/>
                      <a:pt x="92" y="70"/>
                      <a:pt x="92" y="70"/>
                    </a:cubicBezTo>
                    <a:cubicBezTo>
                      <a:pt x="96" y="53"/>
                      <a:pt x="96" y="53"/>
                      <a:pt x="96" y="53"/>
                    </a:cubicBezTo>
                    <a:cubicBezTo>
                      <a:pt x="86" y="43"/>
                      <a:pt x="86" y="43"/>
                      <a:pt x="86" y="43"/>
                    </a:cubicBezTo>
                    <a:cubicBezTo>
                      <a:pt x="82" y="30"/>
                      <a:pt x="82" y="30"/>
                      <a:pt x="82" y="30"/>
                    </a:cubicBezTo>
                    <a:lnTo>
                      <a:pt x="93" y="23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4" name="Freeform 221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 rot="698053">
                <a:off x="3545459" y="2542015"/>
                <a:ext cx="158933" cy="172039"/>
              </a:xfrm>
              <a:custGeom>
                <a:avLst/>
                <a:gdLst>
                  <a:gd name="T0" fmla="*/ 30 w 208"/>
                  <a:gd name="T1" fmla="*/ 51 h 233"/>
                  <a:gd name="T2" fmla="*/ 16 w 208"/>
                  <a:gd name="T3" fmla="*/ 51 h 233"/>
                  <a:gd name="T4" fmla="*/ 0 w 208"/>
                  <a:gd name="T5" fmla="*/ 65 h 233"/>
                  <a:gd name="T6" fmla="*/ 8 w 208"/>
                  <a:gd name="T7" fmla="*/ 77 h 233"/>
                  <a:gd name="T8" fmla="*/ 22 w 208"/>
                  <a:gd name="T9" fmla="*/ 83 h 233"/>
                  <a:gd name="T10" fmla="*/ 32 w 208"/>
                  <a:gd name="T11" fmla="*/ 91 h 233"/>
                  <a:gd name="T12" fmla="*/ 32 w 208"/>
                  <a:gd name="T13" fmla="*/ 113 h 233"/>
                  <a:gd name="T14" fmla="*/ 48 w 208"/>
                  <a:gd name="T15" fmla="*/ 117 h 233"/>
                  <a:gd name="T16" fmla="*/ 52 w 208"/>
                  <a:gd name="T17" fmla="*/ 129 h 233"/>
                  <a:gd name="T18" fmla="*/ 66 w 208"/>
                  <a:gd name="T19" fmla="*/ 135 h 233"/>
                  <a:gd name="T20" fmla="*/ 70 w 208"/>
                  <a:gd name="T21" fmla="*/ 165 h 233"/>
                  <a:gd name="T22" fmla="*/ 84 w 208"/>
                  <a:gd name="T23" fmla="*/ 189 h 233"/>
                  <a:gd name="T24" fmla="*/ 88 w 208"/>
                  <a:gd name="T25" fmla="*/ 221 h 233"/>
                  <a:gd name="T26" fmla="*/ 104 w 208"/>
                  <a:gd name="T27" fmla="*/ 223 h 233"/>
                  <a:gd name="T28" fmla="*/ 114 w 208"/>
                  <a:gd name="T29" fmla="*/ 233 h 233"/>
                  <a:gd name="T30" fmla="*/ 130 w 208"/>
                  <a:gd name="T31" fmla="*/ 221 h 233"/>
                  <a:gd name="T32" fmla="*/ 148 w 208"/>
                  <a:gd name="T33" fmla="*/ 221 h 233"/>
                  <a:gd name="T34" fmla="*/ 160 w 208"/>
                  <a:gd name="T35" fmla="*/ 209 h 233"/>
                  <a:gd name="T36" fmla="*/ 152 w 208"/>
                  <a:gd name="T37" fmla="*/ 195 h 233"/>
                  <a:gd name="T38" fmla="*/ 178 w 208"/>
                  <a:gd name="T39" fmla="*/ 179 h 233"/>
                  <a:gd name="T40" fmla="*/ 186 w 208"/>
                  <a:gd name="T41" fmla="*/ 161 h 233"/>
                  <a:gd name="T42" fmla="*/ 208 w 208"/>
                  <a:gd name="T43" fmla="*/ 153 h 233"/>
                  <a:gd name="T44" fmla="*/ 198 w 208"/>
                  <a:gd name="T45" fmla="*/ 125 h 233"/>
                  <a:gd name="T46" fmla="*/ 208 w 208"/>
                  <a:gd name="T47" fmla="*/ 115 h 233"/>
                  <a:gd name="T48" fmla="*/ 184 w 208"/>
                  <a:gd name="T49" fmla="*/ 99 h 233"/>
                  <a:gd name="T50" fmla="*/ 166 w 208"/>
                  <a:gd name="T51" fmla="*/ 65 h 233"/>
                  <a:gd name="T52" fmla="*/ 156 w 208"/>
                  <a:gd name="T53" fmla="*/ 19 h 233"/>
                  <a:gd name="T54" fmla="*/ 128 w 208"/>
                  <a:gd name="T55" fmla="*/ 6 h 233"/>
                  <a:gd name="T56" fmla="*/ 106 w 208"/>
                  <a:gd name="T57" fmla="*/ 6 h 233"/>
                  <a:gd name="T58" fmla="*/ 86 w 208"/>
                  <a:gd name="T59" fmla="*/ 0 h 233"/>
                  <a:gd name="T60" fmla="*/ 78 w 208"/>
                  <a:gd name="T61" fmla="*/ 9 h 233"/>
                  <a:gd name="T62" fmla="*/ 74 w 208"/>
                  <a:gd name="T63" fmla="*/ 27 h 233"/>
                  <a:gd name="T64" fmla="*/ 68 w 208"/>
                  <a:gd name="T65" fmla="*/ 33 h 233"/>
                  <a:gd name="T66" fmla="*/ 56 w 208"/>
                  <a:gd name="T67" fmla="*/ 23 h 233"/>
                  <a:gd name="T68" fmla="*/ 42 w 208"/>
                  <a:gd name="T69" fmla="*/ 23 h 233"/>
                  <a:gd name="T70" fmla="*/ 28 w 208"/>
                  <a:gd name="T71" fmla="*/ 27 h 233"/>
                  <a:gd name="T72" fmla="*/ 32 w 208"/>
                  <a:gd name="T73" fmla="*/ 39 h 233"/>
                  <a:gd name="T74" fmla="*/ 30 w 208"/>
                  <a:gd name="T75" fmla="*/ 51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08" h="233">
                    <a:moveTo>
                      <a:pt x="30" y="51"/>
                    </a:moveTo>
                    <a:lnTo>
                      <a:pt x="16" y="51"/>
                    </a:lnTo>
                    <a:lnTo>
                      <a:pt x="0" y="65"/>
                    </a:lnTo>
                    <a:lnTo>
                      <a:pt x="8" y="77"/>
                    </a:lnTo>
                    <a:lnTo>
                      <a:pt x="22" y="83"/>
                    </a:lnTo>
                    <a:lnTo>
                      <a:pt x="32" y="91"/>
                    </a:lnTo>
                    <a:lnTo>
                      <a:pt x="32" y="113"/>
                    </a:lnTo>
                    <a:lnTo>
                      <a:pt x="48" y="117"/>
                    </a:lnTo>
                    <a:lnTo>
                      <a:pt x="52" y="129"/>
                    </a:lnTo>
                    <a:lnTo>
                      <a:pt x="66" y="135"/>
                    </a:lnTo>
                    <a:lnTo>
                      <a:pt x="70" y="165"/>
                    </a:lnTo>
                    <a:lnTo>
                      <a:pt x="84" y="189"/>
                    </a:lnTo>
                    <a:lnTo>
                      <a:pt x="88" y="221"/>
                    </a:lnTo>
                    <a:lnTo>
                      <a:pt x="104" y="223"/>
                    </a:lnTo>
                    <a:lnTo>
                      <a:pt x="114" y="233"/>
                    </a:lnTo>
                    <a:lnTo>
                      <a:pt x="130" y="221"/>
                    </a:lnTo>
                    <a:lnTo>
                      <a:pt x="148" y="221"/>
                    </a:lnTo>
                    <a:lnTo>
                      <a:pt x="160" y="209"/>
                    </a:lnTo>
                    <a:lnTo>
                      <a:pt x="152" y="195"/>
                    </a:lnTo>
                    <a:lnTo>
                      <a:pt x="178" y="179"/>
                    </a:lnTo>
                    <a:lnTo>
                      <a:pt x="186" y="161"/>
                    </a:lnTo>
                    <a:lnTo>
                      <a:pt x="208" y="153"/>
                    </a:lnTo>
                    <a:lnTo>
                      <a:pt x="198" y="125"/>
                    </a:lnTo>
                    <a:lnTo>
                      <a:pt x="208" y="115"/>
                    </a:lnTo>
                    <a:lnTo>
                      <a:pt x="184" y="99"/>
                    </a:lnTo>
                    <a:lnTo>
                      <a:pt x="166" y="65"/>
                    </a:lnTo>
                    <a:lnTo>
                      <a:pt x="156" y="19"/>
                    </a:lnTo>
                    <a:lnTo>
                      <a:pt x="128" y="6"/>
                    </a:lnTo>
                    <a:lnTo>
                      <a:pt x="106" y="6"/>
                    </a:lnTo>
                    <a:lnTo>
                      <a:pt x="86" y="0"/>
                    </a:lnTo>
                    <a:lnTo>
                      <a:pt x="78" y="9"/>
                    </a:lnTo>
                    <a:lnTo>
                      <a:pt x="74" y="27"/>
                    </a:lnTo>
                    <a:lnTo>
                      <a:pt x="68" y="33"/>
                    </a:lnTo>
                    <a:lnTo>
                      <a:pt x="56" y="23"/>
                    </a:lnTo>
                    <a:lnTo>
                      <a:pt x="42" y="23"/>
                    </a:lnTo>
                    <a:lnTo>
                      <a:pt x="28" y="27"/>
                    </a:lnTo>
                    <a:lnTo>
                      <a:pt x="32" y="39"/>
                    </a:lnTo>
                    <a:lnTo>
                      <a:pt x="30" y="51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5" name="Freeform 222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 rot="698053">
                <a:off x="3610715" y="2674467"/>
                <a:ext cx="179098" cy="162863"/>
              </a:xfrm>
              <a:custGeom>
                <a:avLst/>
                <a:gdLst>
                  <a:gd name="T0" fmla="*/ 184 w 234"/>
                  <a:gd name="T1" fmla="*/ 0 h 220"/>
                  <a:gd name="T2" fmla="*/ 166 w 234"/>
                  <a:gd name="T3" fmla="*/ 2 h 220"/>
                  <a:gd name="T4" fmla="*/ 158 w 234"/>
                  <a:gd name="T5" fmla="*/ 14 h 220"/>
                  <a:gd name="T6" fmla="*/ 138 w 234"/>
                  <a:gd name="T7" fmla="*/ 14 h 220"/>
                  <a:gd name="T8" fmla="*/ 132 w 234"/>
                  <a:gd name="T9" fmla="*/ 30 h 220"/>
                  <a:gd name="T10" fmla="*/ 116 w 234"/>
                  <a:gd name="T11" fmla="*/ 30 h 220"/>
                  <a:gd name="T12" fmla="*/ 102 w 234"/>
                  <a:gd name="T13" fmla="*/ 10 h 220"/>
                  <a:gd name="T14" fmla="*/ 94 w 234"/>
                  <a:gd name="T15" fmla="*/ 0 h 220"/>
                  <a:gd name="T16" fmla="*/ 72 w 234"/>
                  <a:gd name="T17" fmla="*/ 8 h 220"/>
                  <a:gd name="T18" fmla="*/ 64 w 234"/>
                  <a:gd name="T19" fmla="*/ 26 h 220"/>
                  <a:gd name="T20" fmla="*/ 38 w 234"/>
                  <a:gd name="T21" fmla="*/ 42 h 220"/>
                  <a:gd name="T22" fmla="*/ 46 w 234"/>
                  <a:gd name="T23" fmla="*/ 56 h 220"/>
                  <a:gd name="T24" fmla="*/ 34 w 234"/>
                  <a:gd name="T25" fmla="*/ 68 h 220"/>
                  <a:gd name="T26" fmla="*/ 16 w 234"/>
                  <a:gd name="T27" fmla="*/ 68 h 220"/>
                  <a:gd name="T28" fmla="*/ 0 w 234"/>
                  <a:gd name="T29" fmla="*/ 80 h 220"/>
                  <a:gd name="T30" fmla="*/ 0 w 234"/>
                  <a:gd name="T31" fmla="*/ 104 h 220"/>
                  <a:gd name="T32" fmla="*/ 18 w 234"/>
                  <a:gd name="T33" fmla="*/ 106 h 220"/>
                  <a:gd name="T34" fmla="*/ 36 w 234"/>
                  <a:gd name="T35" fmla="*/ 118 h 220"/>
                  <a:gd name="T36" fmla="*/ 60 w 234"/>
                  <a:gd name="T37" fmla="*/ 122 h 220"/>
                  <a:gd name="T38" fmla="*/ 70 w 234"/>
                  <a:gd name="T39" fmla="*/ 142 h 220"/>
                  <a:gd name="T40" fmla="*/ 94 w 234"/>
                  <a:gd name="T41" fmla="*/ 150 h 220"/>
                  <a:gd name="T42" fmla="*/ 88 w 234"/>
                  <a:gd name="T43" fmla="*/ 174 h 220"/>
                  <a:gd name="T44" fmla="*/ 104 w 234"/>
                  <a:gd name="T45" fmla="*/ 190 h 220"/>
                  <a:gd name="T46" fmla="*/ 126 w 234"/>
                  <a:gd name="T47" fmla="*/ 192 h 220"/>
                  <a:gd name="T48" fmla="*/ 146 w 234"/>
                  <a:gd name="T49" fmla="*/ 220 h 220"/>
                  <a:gd name="T50" fmla="*/ 162 w 234"/>
                  <a:gd name="T51" fmla="*/ 208 h 220"/>
                  <a:gd name="T52" fmla="*/ 176 w 234"/>
                  <a:gd name="T53" fmla="*/ 208 h 220"/>
                  <a:gd name="T54" fmla="*/ 180 w 234"/>
                  <a:gd name="T55" fmla="*/ 186 h 220"/>
                  <a:gd name="T56" fmla="*/ 166 w 234"/>
                  <a:gd name="T57" fmla="*/ 172 h 220"/>
                  <a:gd name="T58" fmla="*/ 170 w 234"/>
                  <a:gd name="T59" fmla="*/ 152 h 220"/>
                  <a:gd name="T60" fmla="*/ 162 w 234"/>
                  <a:gd name="T61" fmla="*/ 142 h 220"/>
                  <a:gd name="T62" fmla="*/ 166 w 234"/>
                  <a:gd name="T63" fmla="*/ 128 h 220"/>
                  <a:gd name="T64" fmla="*/ 184 w 234"/>
                  <a:gd name="T65" fmla="*/ 122 h 220"/>
                  <a:gd name="T66" fmla="*/ 206 w 234"/>
                  <a:gd name="T67" fmla="*/ 100 h 220"/>
                  <a:gd name="T68" fmla="*/ 234 w 234"/>
                  <a:gd name="T69" fmla="*/ 80 h 220"/>
                  <a:gd name="T70" fmla="*/ 228 w 234"/>
                  <a:gd name="T71" fmla="*/ 46 h 220"/>
                  <a:gd name="T72" fmla="*/ 210 w 234"/>
                  <a:gd name="T73" fmla="*/ 28 h 220"/>
                  <a:gd name="T74" fmla="*/ 194 w 234"/>
                  <a:gd name="T75" fmla="*/ 38 h 220"/>
                  <a:gd name="T76" fmla="*/ 184 w 234"/>
                  <a:gd name="T77" fmla="*/ 24 h 220"/>
                  <a:gd name="T78" fmla="*/ 192 w 234"/>
                  <a:gd name="T79" fmla="*/ 12 h 220"/>
                  <a:gd name="T80" fmla="*/ 184 w 234"/>
                  <a:gd name="T8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4" h="220">
                    <a:moveTo>
                      <a:pt x="184" y="0"/>
                    </a:moveTo>
                    <a:lnTo>
                      <a:pt x="166" y="2"/>
                    </a:lnTo>
                    <a:lnTo>
                      <a:pt x="158" y="14"/>
                    </a:lnTo>
                    <a:lnTo>
                      <a:pt x="138" y="14"/>
                    </a:lnTo>
                    <a:lnTo>
                      <a:pt x="132" y="30"/>
                    </a:lnTo>
                    <a:lnTo>
                      <a:pt x="116" y="30"/>
                    </a:lnTo>
                    <a:lnTo>
                      <a:pt x="102" y="10"/>
                    </a:lnTo>
                    <a:lnTo>
                      <a:pt x="94" y="0"/>
                    </a:lnTo>
                    <a:lnTo>
                      <a:pt x="72" y="8"/>
                    </a:lnTo>
                    <a:lnTo>
                      <a:pt x="64" y="26"/>
                    </a:lnTo>
                    <a:lnTo>
                      <a:pt x="38" y="42"/>
                    </a:lnTo>
                    <a:lnTo>
                      <a:pt x="46" y="56"/>
                    </a:lnTo>
                    <a:lnTo>
                      <a:pt x="34" y="68"/>
                    </a:lnTo>
                    <a:lnTo>
                      <a:pt x="16" y="68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18" y="106"/>
                    </a:lnTo>
                    <a:lnTo>
                      <a:pt x="36" y="118"/>
                    </a:lnTo>
                    <a:lnTo>
                      <a:pt x="60" y="122"/>
                    </a:lnTo>
                    <a:lnTo>
                      <a:pt x="70" y="142"/>
                    </a:lnTo>
                    <a:lnTo>
                      <a:pt x="94" y="150"/>
                    </a:lnTo>
                    <a:lnTo>
                      <a:pt x="88" y="174"/>
                    </a:lnTo>
                    <a:lnTo>
                      <a:pt x="104" y="190"/>
                    </a:lnTo>
                    <a:lnTo>
                      <a:pt x="126" y="192"/>
                    </a:lnTo>
                    <a:lnTo>
                      <a:pt x="146" y="220"/>
                    </a:lnTo>
                    <a:lnTo>
                      <a:pt x="162" y="208"/>
                    </a:lnTo>
                    <a:lnTo>
                      <a:pt x="176" y="208"/>
                    </a:lnTo>
                    <a:lnTo>
                      <a:pt x="180" y="186"/>
                    </a:lnTo>
                    <a:lnTo>
                      <a:pt x="166" y="172"/>
                    </a:lnTo>
                    <a:lnTo>
                      <a:pt x="170" y="152"/>
                    </a:lnTo>
                    <a:lnTo>
                      <a:pt x="162" y="142"/>
                    </a:lnTo>
                    <a:lnTo>
                      <a:pt x="166" y="128"/>
                    </a:lnTo>
                    <a:lnTo>
                      <a:pt x="184" y="122"/>
                    </a:lnTo>
                    <a:lnTo>
                      <a:pt x="206" y="100"/>
                    </a:lnTo>
                    <a:lnTo>
                      <a:pt x="234" y="80"/>
                    </a:lnTo>
                    <a:lnTo>
                      <a:pt x="228" y="46"/>
                    </a:lnTo>
                    <a:lnTo>
                      <a:pt x="210" y="28"/>
                    </a:lnTo>
                    <a:lnTo>
                      <a:pt x="194" y="38"/>
                    </a:lnTo>
                    <a:lnTo>
                      <a:pt x="184" y="24"/>
                    </a:lnTo>
                    <a:lnTo>
                      <a:pt x="192" y="12"/>
                    </a:lnTo>
                    <a:lnTo>
                      <a:pt x="184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6" name="Freeform 223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 rot="698053">
                <a:off x="3668034" y="2549459"/>
                <a:ext cx="142329" cy="152541"/>
              </a:xfrm>
              <a:custGeom>
                <a:avLst/>
                <a:gdLst>
                  <a:gd name="T0" fmla="*/ 91 w 93"/>
                  <a:gd name="T1" fmla="*/ 56 h 103"/>
                  <a:gd name="T2" fmla="*/ 86 w 93"/>
                  <a:gd name="T3" fmla="*/ 65 h 103"/>
                  <a:gd name="T4" fmla="*/ 86 w 93"/>
                  <a:gd name="T5" fmla="*/ 73 h 103"/>
                  <a:gd name="T6" fmla="*/ 79 w 93"/>
                  <a:gd name="T7" fmla="*/ 78 h 103"/>
                  <a:gd name="T8" fmla="*/ 71 w 93"/>
                  <a:gd name="T9" fmla="*/ 88 h 103"/>
                  <a:gd name="T10" fmla="*/ 62 w 93"/>
                  <a:gd name="T11" fmla="*/ 89 h 103"/>
                  <a:gd name="T12" fmla="*/ 58 w 93"/>
                  <a:gd name="T13" fmla="*/ 95 h 103"/>
                  <a:gd name="T14" fmla="*/ 48 w 93"/>
                  <a:gd name="T15" fmla="*/ 95 h 103"/>
                  <a:gd name="T16" fmla="*/ 45 w 93"/>
                  <a:gd name="T17" fmla="*/ 103 h 103"/>
                  <a:gd name="T18" fmla="*/ 37 w 93"/>
                  <a:gd name="T19" fmla="*/ 103 h 103"/>
                  <a:gd name="T20" fmla="*/ 30 w 93"/>
                  <a:gd name="T21" fmla="*/ 93 h 103"/>
                  <a:gd name="T22" fmla="*/ 26 w 93"/>
                  <a:gd name="T23" fmla="*/ 88 h 103"/>
                  <a:gd name="T24" fmla="*/ 21 w 93"/>
                  <a:gd name="T25" fmla="*/ 74 h 103"/>
                  <a:gd name="T26" fmla="*/ 26 w 93"/>
                  <a:gd name="T27" fmla="*/ 67 h 103"/>
                  <a:gd name="T28" fmla="*/ 14 w 93"/>
                  <a:gd name="T29" fmla="*/ 61 h 103"/>
                  <a:gd name="T30" fmla="*/ 5 w 93"/>
                  <a:gd name="T31" fmla="*/ 44 h 103"/>
                  <a:gd name="T32" fmla="*/ 0 w 93"/>
                  <a:gd name="T33" fmla="*/ 21 h 103"/>
                  <a:gd name="T34" fmla="*/ 10 w 93"/>
                  <a:gd name="T35" fmla="*/ 8 h 103"/>
                  <a:gd name="T36" fmla="*/ 16 w 93"/>
                  <a:gd name="T37" fmla="*/ 11 h 103"/>
                  <a:gd name="T38" fmla="*/ 21 w 93"/>
                  <a:gd name="T39" fmla="*/ 5 h 103"/>
                  <a:gd name="T40" fmla="*/ 33 w 93"/>
                  <a:gd name="T41" fmla="*/ 2 h 103"/>
                  <a:gd name="T42" fmla="*/ 39 w 93"/>
                  <a:gd name="T43" fmla="*/ 6 h 103"/>
                  <a:gd name="T44" fmla="*/ 47 w 93"/>
                  <a:gd name="T45" fmla="*/ 13 h 103"/>
                  <a:gd name="T46" fmla="*/ 56 w 93"/>
                  <a:gd name="T47" fmla="*/ 12 h 103"/>
                  <a:gd name="T48" fmla="*/ 56 w 93"/>
                  <a:gd name="T49" fmla="*/ 4 h 103"/>
                  <a:gd name="T50" fmla="*/ 59 w 93"/>
                  <a:gd name="T51" fmla="*/ 1 h 103"/>
                  <a:gd name="T52" fmla="*/ 69 w 93"/>
                  <a:gd name="T53" fmla="*/ 7 h 103"/>
                  <a:gd name="T54" fmla="*/ 79 w 93"/>
                  <a:gd name="T55" fmla="*/ 0 h 103"/>
                  <a:gd name="T56" fmla="*/ 85 w 93"/>
                  <a:gd name="T57" fmla="*/ 10 h 103"/>
                  <a:gd name="T58" fmla="*/ 93 w 93"/>
                  <a:gd name="T59" fmla="*/ 12 h 103"/>
                  <a:gd name="T60" fmla="*/ 93 w 93"/>
                  <a:gd name="T61" fmla="*/ 19 h 103"/>
                  <a:gd name="T62" fmla="*/ 91 w 93"/>
                  <a:gd name="T63" fmla="*/ 27 h 103"/>
                  <a:gd name="T64" fmla="*/ 93 w 93"/>
                  <a:gd name="T65" fmla="*/ 35 h 103"/>
                  <a:gd name="T66" fmla="*/ 90 w 93"/>
                  <a:gd name="T67" fmla="*/ 46 h 103"/>
                  <a:gd name="T68" fmla="*/ 91 w 93"/>
                  <a:gd name="T69" fmla="*/ 5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3" h="103">
                    <a:moveTo>
                      <a:pt x="91" y="56"/>
                    </a:moveTo>
                    <a:cubicBezTo>
                      <a:pt x="86" y="65"/>
                      <a:pt x="86" y="65"/>
                      <a:pt x="86" y="65"/>
                    </a:cubicBezTo>
                    <a:cubicBezTo>
                      <a:pt x="86" y="73"/>
                      <a:pt x="86" y="73"/>
                      <a:pt x="86" y="73"/>
                    </a:cubicBezTo>
                    <a:cubicBezTo>
                      <a:pt x="79" y="78"/>
                      <a:pt x="79" y="78"/>
                      <a:pt x="79" y="78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62" y="89"/>
                      <a:pt x="62" y="89"/>
                      <a:pt x="62" y="89"/>
                    </a:cubicBezTo>
                    <a:cubicBezTo>
                      <a:pt x="58" y="95"/>
                      <a:pt x="58" y="95"/>
                      <a:pt x="58" y="95"/>
                    </a:cubicBezTo>
                    <a:cubicBezTo>
                      <a:pt x="58" y="95"/>
                      <a:pt x="48" y="93"/>
                      <a:pt x="48" y="95"/>
                    </a:cubicBezTo>
                    <a:cubicBezTo>
                      <a:pt x="48" y="97"/>
                      <a:pt x="45" y="103"/>
                      <a:pt x="45" y="103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30" y="93"/>
                      <a:pt x="30" y="93"/>
                      <a:pt x="30" y="93"/>
                    </a:cubicBezTo>
                    <a:cubicBezTo>
                      <a:pt x="26" y="88"/>
                      <a:pt x="26" y="88"/>
                      <a:pt x="26" y="88"/>
                    </a:cubicBezTo>
                    <a:cubicBezTo>
                      <a:pt x="21" y="74"/>
                      <a:pt x="21" y="74"/>
                      <a:pt x="21" y="74"/>
                    </a:cubicBezTo>
                    <a:cubicBezTo>
                      <a:pt x="26" y="67"/>
                      <a:pt x="26" y="67"/>
                      <a:pt x="26" y="67"/>
                    </a:cubicBezTo>
                    <a:cubicBezTo>
                      <a:pt x="14" y="61"/>
                      <a:pt x="14" y="61"/>
                      <a:pt x="14" y="6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69" y="7"/>
                      <a:pt x="69" y="7"/>
                      <a:pt x="69" y="7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85" y="10"/>
                      <a:pt x="85" y="10"/>
                      <a:pt x="85" y="10"/>
                    </a:cubicBezTo>
                    <a:cubicBezTo>
                      <a:pt x="93" y="12"/>
                      <a:pt x="93" y="12"/>
                      <a:pt x="93" y="12"/>
                    </a:cubicBezTo>
                    <a:cubicBezTo>
                      <a:pt x="93" y="19"/>
                      <a:pt x="93" y="19"/>
                      <a:pt x="93" y="19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3" y="35"/>
                      <a:pt x="93" y="35"/>
                      <a:pt x="93" y="35"/>
                    </a:cubicBezTo>
                    <a:cubicBezTo>
                      <a:pt x="90" y="46"/>
                      <a:pt x="90" y="46"/>
                      <a:pt x="90" y="46"/>
                    </a:cubicBezTo>
                    <a:lnTo>
                      <a:pt x="91" y="5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7" name="Freeform 224"/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 rot="698053">
                <a:off x="3759756" y="2644290"/>
                <a:ext cx="222982" cy="164011"/>
              </a:xfrm>
              <a:custGeom>
                <a:avLst/>
                <a:gdLst>
                  <a:gd name="T0" fmla="*/ 50 w 291"/>
                  <a:gd name="T1" fmla="*/ 170 h 222"/>
                  <a:gd name="T2" fmla="*/ 44 w 291"/>
                  <a:gd name="T3" fmla="*/ 136 h 222"/>
                  <a:gd name="T4" fmla="*/ 26 w 291"/>
                  <a:gd name="T5" fmla="*/ 118 h 222"/>
                  <a:gd name="T6" fmla="*/ 10 w 291"/>
                  <a:gd name="T7" fmla="*/ 128 h 222"/>
                  <a:gd name="T8" fmla="*/ 0 w 291"/>
                  <a:gd name="T9" fmla="*/ 114 h 222"/>
                  <a:gd name="T10" fmla="*/ 8 w 291"/>
                  <a:gd name="T11" fmla="*/ 102 h 222"/>
                  <a:gd name="T12" fmla="*/ 0 w 291"/>
                  <a:gd name="T13" fmla="*/ 90 h 222"/>
                  <a:gd name="T14" fmla="*/ 16 w 291"/>
                  <a:gd name="T15" fmla="*/ 70 h 222"/>
                  <a:gd name="T16" fmla="*/ 30 w 291"/>
                  <a:gd name="T17" fmla="*/ 60 h 222"/>
                  <a:gd name="T18" fmla="*/ 30 w 291"/>
                  <a:gd name="T19" fmla="*/ 44 h 222"/>
                  <a:gd name="T20" fmla="*/ 40 w 291"/>
                  <a:gd name="T21" fmla="*/ 26 h 222"/>
                  <a:gd name="T22" fmla="*/ 60 w 291"/>
                  <a:gd name="T23" fmla="*/ 22 h 222"/>
                  <a:gd name="T24" fmla="*/ 64 w 291"/>
                  <a:gd name="T25" fmla="*/ 8 h 222"/>
                  <a:gd name="T26" fmla="*/ 80 w 291"/>
                  <a:gd name="T27" fmla="*/ 4 h 222"/>
                  <a:gd name="T28" fmla="*/ 84 w 291"/>
                  <a:gd name="T29" fmla="*/ 10 h 222"/>
                  <a:gd name="T30" fmla="*/ 110 w 291"/>
                  <a:gd name="T31" fmla="*/ 8 h 222"/>
                  <a:gd name="T32" fmla="*/ 116 w 291"/>
                  <a:gd name="T33" fmla="*/ 2 h 222"/>
                  <a:gd name="T34" fmla="*/ 139 w 291"/>
                  <a:gd name="T35" fmla="*/ 6 h 222"/>
                  <a:gd name="T36" fmla="*/ 151 w 291"/>
                  <a:gd name="T37" fmla="*/ 10 h 222"/>
                  <a:gd name="T38" fmla="*/ 165 w 291"/>
                  <a:gd name="T39" fmla="*/ 6 h 222"/>
                  <a:gd name="T40" fmla="*/ 171 w 291"/>
                  <a:gd name="T41" fmla="*/ 0 h 222"/>
                  <a:gd name="T42" fmla="*/ 185 w 291"/>
                  <a:gd name="T43" fmla="*/ 2 h 222"/>
                  <a:gd name="T44" fmla="*/ 201 w 291"/>
                  <a:gd name="T45" fmla="*/ 2 h 222"/>
                  <a:gd name="T46" fmla="*/ 215 w 291"/>
                  <a:gd name="T47" fmla="*/ 12 h 222"/>
                  <a:gd name="T48" fmla="*/ 209 w 291"/>
                  <a:gd name="T49" fmla="*/ 28 h 222"/>
                  <a:gd name="T50" fmla="*/ 229 w 291"/>
                  <a:gd name="T51" fmla="*/ 34 h 222"/>
                  <a:gd name="T52" fmla="*/ 233 w 291"/>
                  <a:gd name="T53" fmla="*/ 52 h 222"/>
                  <a:gd name="T54" fmla="*/ 247 w 291"/>
                  <a:gd name="T55" fmla="*/ 56 h 222"/>
                  <a:gd name="T56" fmla="*/ 263 w 291"/>
                  <a:gd name="T57" fmla="*/ 84 h 222"/>
                  <a:gd name="T58" fmla="*/ 263 w 291"/>
                  <a:gd name="T59" fmla="*/ 108 h 222"/>
                  <a:gd name="T60" fmla="*/ 277 w 291"/>
                  <a:gd name="T61" fmla="*/ 118 h 222"/>
                  <a:gd name="T62" fmla="*/ 285 w 291"/>
                  <a:gd name="T63" fmla="*/ 126 h 222"/>
                  <a:gd name="T64" fmla="*/ 285 w 291"/>
                  <a:gd name="T65" fmla="*/ 138 h 222"/>
                  <a:gd name="T66" fmla="*/ 291 w 291"/>
                  <a:gd name="T67" fmla="*/ 152 h 222"/>
                  <a:gd name="T68" fmla="*/ 277 w 291"/>
                  <a:gd name="T69" fmla="*/ 164 h 222"/>
                  <a:gd name="T70" fmla="*/ 261 w 291"/>
                  <a:gd name="T71" fmla="*/ 168 h 222"/>
                  <a:gd name="T72" fmla="*/ 253 w 291"/>
                  <a:gd name="T73" fmla="*/ 176 h 222"/>
                  <a:gd name="T74" fmla="*/ 241 w 291"/>
                  <a:gd name="T75" fmla="*/ 188 h 222"/>
                  <a:gd name="T76" fmla="*/ 225 w 291"/>
                  <a:gd name="T77" fmla="*/ 188 h 222"/>
                  <a:gd name="T78" fmla="*/ 225 w 291"/>
                  <a:gd name="T79" fmla="*/ 200 h 222"/>
                  <a:gd name="T80" fmla="*/ 213 w 291"/>
                  <a:gd name="T81" fmla="*/ 210 h 222"/>
                  <a:gd name="T82" fmla="*/ 199 w 291"/>
                  <a:gd name="T83" fmla="*/ 222 h 222"/>
                  <a:gd name="T84" fmla="*/ 185 w 291"/>
                  <a:gd name="T85" fmla="*/ 216 h 222"/>
                  <a:gd name="T86" fmla="*/ 169 w 291"/>
                  <a:gd name="T87" fmla="*/ 200 h 222"/>
                  <a:gd name="T88" fmla="*/ 157 w 291"/>
                  <a:gd name="T89" fmla="*/ 200 h 222"/>
                  <a:gd name="T90" fmla="*/ 143 w 291"/>
                  <a:gd name="T91" fmla="*/ 184 h 222"/>
                  <a:gd name="T92" fmla="*/ 127 w 291"/>
                  <a:gd name="T93" fmla="*/ 202 h 222"/>
                  <a:gd name="T94" fmla="*/ 102 w 291"/>
                  <a:gd name="T95" fmla="*/ 198 h 222"/>
                  <a:gd name="T96" fmla="*/ 94 w 291"/>
                  <a:gd name="T97" fmla="*/ 176 h 222"/>
                  <a:gd name="T98" fmla="*/ 68 w 291"/>
                  <a:gd name="T99" fmla="*/ 170 h 222"/>
                  <a:gd name="T100" fmla="*/ 50 w 291"/>
                  <a:gd name="T101" fmla="*/ 17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91" h="222">
                    <a:moveTo>
                      <a:pt x="50" y="170"/>
                    </a:moveTo>
                    <a:lnTo>
                      <a:pt x="44" y="136"/>
                    </a:lnTo>
                    <a:lnTo>
                      <a:pt x="26" y="118"/>
                    </a:lnTo>
                    <a:lnTo>
                      <a:pt x="10" y="128"/>
                    </a:lnTo>
                    <a:lnTo>
                      <a:pt x="0" y="114"/>
                    </a:lnTo>
                    <a:lnTo>
                      <a:pt x="8" y="102"/>
                    </a:lnTo>
                    <a:lnTo>
                      <a:pt x="0" y="90"/>
                    </a:lnTo>
                    <a:lnTo>
                      <a:pt x="16" y="70"/>
                    </a:lnTo>
                    <a:lnTo>
                      <a:pt x="30" y="60"/>
                    </a:lnTo>
                    <a:lnTo>
                      <a:pt x="30" y="44"/>
                    </a:lnTo>
                    <a:lnTo>
                      <a:pt x="40" y="26"/>
                    </a:lnTo>
                    <a:lnTo>
                      <a:pt x="60" y="22"/>
                    </a:lnTo>
                    <a:lnTo>
                      <a:pt x="64" y="8"/>
                    </a:lnTo>
                    <a:lnTo>
                      <a:pt x="80" y="4"/>
                    </a:lnTo>
                    <a:lnTo>
                      <a:pt x="84" y="10"/>
                    </a:lnTo>
                    <a:lnTo>
                      <a:pt x="110" y="8"/>
                    </a:lnTo>
                    <a:lnTo>
                      <a:pt x="116" y="2"/>
                    </a:lnTo>
                    <a:lnTo>
                      <a:pt x="139" y="6"/>
                    </a:lnTo>
                    <a:lnTo>
                      <a:pt x="151" y="10"/>
                    </a:lnTo>
                    <a:lnTo>
                      <a:pt x="165" y="6"/>
                    </a:lnTo>
                    <a:lnTo>
                      <a:pt x="171" y="0"/>
                    </a:lnTo>
                    <a:lnTo>
                      <a:pt x="185" y="2"/>
                    </a:lnTo>
                    <a:lnTo>
                      <a:pt x="201" y="2"/>
                    </a:lnTo>
                    <a:lnTo>
                      <a:pt x="215" y="12"/>
                    </a:lnTo>
                    <a:lnTo>
                      <a:pt x="209" y="28"/>
                    </a:lnTo>
                    <a:lnTo>
                      <a:pt x="229" y="34"/>
                    </a:lnTo>
                    <a:lnTo>
                      <a:pt x="233" y="52"/>
                    </a:lnTo>
                    <a:lnTo>
                      <a:pt x="247" y="56"/>
                    </a:lnTo>
                    <a:lnTo>
                      <a:pt x="263" y="84"/>
                    </a:lnTo>
                    <a:lnTo>
                      <a:pt x="263" y="108"/>
                    </a:lnTo>
                    <a:lnTo>
                      <a:pt x="277" y="118"/>
                    </a:lnTo>
                    <a:lnTo>
                      <a:pt x="285" y="126"/>
                    </a:lnTo>
                    <a:lnTo>
                      <a:pt x="285" y="138"/>
                    </a:lnTo>
                    <a:lnTo>
                      <a:pt x="291" y="152"/>
                    </a:lnTo>
                    <a:lnTo>
                      <a:pt x="277" y="164"/>
                    </a:lnTo>
                    <a:lnTo>
                      <a:pt x="261" y="168"/>
                    </a:lnTo>
                    <a:lnTo>
                      <a:pt x="253" y="176"/>
                    </a:lnTo>
                    <a:lnTo>
                      <a:pt x="241" y="188"/>
                    </a:lnTo>
                    <a:lnTo>
                      <a:pt x="225" y="188"/>
                    </a:lnTo>
                    <a:lnTo>
                      <a:pt x="225" y="200"/>
                    </a:lnTo>
                    <a:lnTo>
                      <a:pt x="213" y="210"/>
                    </a:lnTo>
                    <a:lnTo>
                      <a:pt x="199" y="222"/>
                    </a:lnTo>
                    <a:lnTo>
                      <a:pt x="185" y="216"/>
                    </a:lnTo>
                    <a:lnTo>
                      <a:pt x="169" y="200"/>
                    </a:lnTo>
                    <a:lnTo>
                      <a:pt x="157" y="200"/>
                    </a:lnTo>
                    <a:lnTo>
                      <a:pt x="143" y="184"/>
                    </a:lnTo>
                    <a:lnTo>
                      <a:pt x="127" y="202"/>
                    </a:lnTo>
                    <a:lnTo>
                      <a:pt x="102" y="198"/>
                    </a:lnTo>
                    <a:lnTo>
                      <a:pt x="94" y="176"/>
                    </a:lnTo>
                    <a:lnTo>
                      <a:pt x="68" y="170"/>
                    </a:lnTo>
                    <a:lnTo>
                      <a:pt x="50" y="17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8" name="Freeform 225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 rot="698053">
                <a:off x="3706295" y="2754664"/>
                <a:ext cx="170795" cy="191537"/>
              </a:xfrm>
              <a:custGeom>
                <a:avLst/>
                <a:gdLst>
                  <a:gd name="T0" fmla="*/ 78 w 223"/>
                  <a:gd name="T1" fmla="*/ 258 h 258"/>
                  <a:gd name="T2" fmla="*/ 98 w 223"/>
                  <a:gd name="T3" fmla="*/ 248 h 258"/>
                  <a:gd name="T4" fmla="*/ 110 w 223"/>
                  <a:gd name="T5" fmla="*/ 248 h 258"/>
                  <a:gd name="T6" fmla="*/ 124 w 223"/>
                  <a:gd name="T7" fmla="*/ 236 h 258"/>
                  <a:gd name="T8" fmla="*/ 146 w 223"/>
                  <a:gd name="T9" fmla="*/ 222 h 258"/>
                  <a:gd name="T10" fmla="*/ 175 w 223"/>
                  <a:gd name="T11" fmla="*/ 206 h 258"/>
                  <a:gd name="T12" fmla="*/ 181 w 223"/>
                  <a:gd name="T13" fmla="*/ 192 h 258"/>
                  <a:gd name="T14" fmla="*/ 203 w 223"/>
                  <a:gd name="T15" fmla="*/ 192 h 258"/>
                  <a:gd name="T16" fmla="*/ 207 w 223"/>
                  <a:gd name="T17" fmla="*/ 150 h 258"/>
                  <a:gd name="T18" fmla="*/ 195 w 223"/>
                  <a:gd name="T19" fmla="*/ 132 h 258"/>
                  <a:gd name="T20" fmla="*/ 201 w 223"/>
                  <a:gd name="T21" fmla="*/ 96 h 258"/>
                  <a:gd name="T22" fmla="*/ 195 w 223"/>
                  <a:gd name="T23" fmla="*/ 76 h 258"/>
                  <a:gd name="T24" fmla="*/ 209 w 223"/>
                  <a:gd name="T25" fmla="*/ 62 h 258"/>
                  <a:gd name="T26" fmla="*/ 223 w 223"/>
                  <a:gd name="T27" fmla="*/ 46 h 258"/>
                  <a:gd name="T28" fmla="*/ 207 w 223"/>
                  <a:gd name="T29" fmla="*/ 30 h 258"/>
                  <a:gd name="T30" fmla="*/ 195 w 223"/>
                  <a:gd name="T31" fmla="*/ 30 h 258"/>
                  <a:gd name="T32" fmla="*/ 181 w 223"/>
                  <a:gd name="T33" fmla="*/ 14 h 258"/>
                  <a:gd name="T34" fmla="*/ 165 w 223"/>
                  <a:gd name="T35" fmla="*/ 32 h 258"/>
                  <a:gd name="T36" fmla="*/ 140 w 223"/>
                  <a:gd name="T37" fmla="*/ 28 h 258"/>
                  <a:gd name="T38" fmla="*/ 132 w 223"/>
                  <a:gd name="T39" fmla="*/ 6 h 258"/>
                  <a:gd name="T40" fmla="*/ 106 w 223"/>
                  <a:gd name="T41" fmla="*/ 0 h 258"/>
                  <a:gd name="T42" fmla="*/ 88 w 223"/>
                  <a:gd name="T43" fmla="*/ 0 h 258"/>
                  <a:gd name="T44" fmla="*/ 60 w 223"/>
                  <a:gd name="T45" fmla="*/ 20 h 258"/>
                  <a:gd name="T46" fmla="*/ 38 w 223"/>
                  <a:gd name="T47" fmla="*/ 42 h 258"/>
                  <a:gd name="T48" fmla="*/ 20 w 223"/>
                  <a:gd name="T49" fmla="*/ 48 h 258"/>
                  <a:gd name="T50" fmla="*/ 16 w 223"/>
                  <a:gd name="T51" fmla="*/ 62 h 258"/>
                  <a:gd name="T52" fmla="*/ 24 w 223"/>
                  <a:gd name="T53" fmla="*/ 72 h 258"/>
                  <a:gd name="T54" fmla="*/ 20 w 223"/>
                  <a:gd name="T55" fmla="*/ 92 h 258"/>
                  <a:gd name="T56" fmla="*/ 34 w 223"/>
                  <a:gd name="T57" fmla="*/ 106 h 258"/>
                  <a:gd name="T58" fmla="*/ 30 w 223"/>
                  <a:gd name="T59" fmla="*/ 128 h 258"/>
                  <a:gd name="T60" fmla="*/ 16 w 223"/>
                  <a:gd name="T61" fmla="*/ 128 h 258"/>
                  <a:gd name="T62" fmla="*/ 0 w 223"/>
                  <a:gd name="T63" fmla="*/ 140 h 258"/>
                  <a:gd name="T64" fmla="*/ 12 w 223"/>
                  <a:gd name="T65" fmla="*/ 152 h 258"/>
                  <a:gd name="T66" fmla="*/ 6 w 223"/>
                  <a:gd name="T67" fmla="*/ 172 h 258"/>
                  <a:gd name="T68" fmla="*/ 20 w 223"/>
                  <a:gd name="T69" fmla="*/ 188 h 258"/>
                  <a:gd name="T70" fmla="*/ 46 w 223"/>
                  <a:gd name="T71" fmla="*/ 198 h 258"/>
                  <a:gd name="T72" fmla="*/ 54 w 223"/>
                  <a:gd name="T73" fmla="*/ 216 h 258"/>
                  <a:gd name="T74" fmla="*/ 70 w 223"/>
                  <a:gd name="T75" fmla="*/ 232 h 258"/>
                  <a:gd name="T76" fmla="*/ 78 w 223"/>
                  <a:gd name="T77" fmla="*/ 25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3" h="258">
                    <a:moveTo>
                      <a:pt x="78" y="258"/>
                    </a:moveTo>
                    <a:lnTo>
                      <a:pt x="98" y="248"/>
                    </a:lnTo>
                    <a:lnTo>
                      <a:pt x="110" y="248"/>
                    </a:lnTo>
                    <a:lnTo>
                      <a:pt x="124" y="236"/>
                    </a:lnTo>
                    <a:lnTo>
                      <a:pt x="146" y="222"/>
                    </a:lnTo>
                    <a:lnTo>
                      <a:pt x="175" y="206"/>
                    </a:lnTo>
                    <a:lnTo>
                      <a:pt x="181" y="192"/>
                    </a:lnTo>
                    <a:lnTo>
                      <a:pt x="203" y="192"/>
                    </a:lnTo>
                    <a:lnTo>
                      <a:pt x="207" y="150"/>
                    </a:lnTo>
                    <a:lnTo>
                      <a:pt x="195" y="132"/>
                    </a:lnTo>
                    <a:lnTo>
                      <a:pt x="201" y="96"/>
                    </a:lnTo>
                    <a:lnTo>
                      <a:pt x="195" y="76"/>
                    </a:lnTo>
                    <a:lnTo>
                      <a:pt x="209" y="62"/>
                    </a:lnTo>
                    <a:lnTo>
                      <a:pt x="223" y="46"/>
                    </a:lnTo>
                    <a:lnTo>
                      <a:pt x="207" y="30"/>
                    </a:lnTo>
                    <a:lnTo>
                      <a:pt x="195" y="30"/>
                    </a:lnTo>
                    <a:lnTo>
                      <a:pt x="181" y="14"/>
                    </a:lnTo>
                    <a:lnTo>
                      <a:pt x="165" y="32"/>
                    </a:lnTo>
                    <a:lnTo>
                      <a:pt x="140" y="28"/>
                    </a:lnTo>
                    <a:lnTo>
                      <a:pt x="132" y="6"/>
                    </a:lnTo>
                    <a:lnTo>
                      <a:pt x="106" y="0"/>
                    </a:lnTo>
                    <a:lnTo>
                      <a:pt x="88" y="0"/>
                    </a:lnTo>
                    <a:lnTo>
                      <a:pt x="60" y="20"/>
                    </a:lnTo>
                    <a:lnTo>
                      <a:pt x="38" y="42"/>
                    </a:lnTo>
                    <a:lnTo>
                      <a:pt x="20" y="48"/>
                    </a:lnTo>
                    <a:lnTo>
                      <a:pt x="16" y="62"/>
                    </a:lnTo>
                    <a:lnTo>
                      <a:pt x="24" y="72"/>
                    </a:lnTo>
                    <a:lnTo>
                      <a:pt x="20" y="92"/>
                    </a:lnTo>
                    <a:lnTo>
                      <a:pt x="34" y="106"/>
                    </a:lnTo>
                    <a:lnTo>
                      <a:pt x="30" y="128"/>
                    </a:lnTo>
                    <a:lnTo>
                      <a:pt x="16" y="128"/>
                    </a:lnTo>
                    <a:lnTo>
                      <a:pt x="0" y="140"/>
                    </a:lnTo>
                    <a:lnTo>
                      <a:pt x="12" y="152"/>
                    </a:lnTo>
                    <a:lnTo>
                      <a:pt x="6" y="172"/>
                    </a:lnTo>
                    <a:lnTo>
                      <a:pt x="20" y="188"/>
                    </a:lnTo>
                    <a:lnTo>
                      <a:pt x="46" y="198"/>
                    </a:lnTo>
                    <a:lnTo>
                      <a:pt x="54" y="216"/>
                    </a:lnTo>
                    <a:lnTo>
                      <a:pt x="70" y="232"/>
                    </a:lnTo>
                    <a:lnTo>
                      <a:pt x="78" y="25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99" name="Freeform 226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 rot="698053">
                <a:off x="3889856" y="2787728"/>
                <a:ext cx="224168" cy="149101"/>
              </a:xfrm>
              <a:custGeom>
                <a:avLst/>
                <a:gdLst>
                  <a:gd name="T0" fmla="*/ 92 w 294"/>
                  <a:gd name="T1" fmla="*/ 0 h 202"/>
                  <a:gd name="T2" fmla="*/ 106 w 294"/>
                  <a:gd name="T3" fmla="*/ 14 h 202"/>
                  <a:gd name="T4" fmla="*/ 130 w 294"/>
                  <a:gd name="T5" fmla="*/ 14 h 202"/>
                  <a:gd name="T6" fmla="*/ 136 w 294"/>
                  <a:gd name="T7" fmla="*/ 32 h 202"/>
                  <a:gd name="T8" fmla="*/ 150 w 294"/>
                  <a:gd name="T9" fmla="*/ 46 h 202"/>
                  <a:gd name="T10" fmla="*/ 150 w 294"/>
                  <a:gd name="T11" fmla="*/ 70 h 202"/>
                  <a:gd name="T12" fmla="*/ 166 w 294"/>
                  <a:gd name="T13" fmla="*/ 88 h 202"/>
                  <a:gd name="T14" fmla="*/ 174 w 294"/>
                  <a:gd name="T15" fmla="*/ 110 h 202"/>
                  <a:gd name="T16" fmla="*/ 194 w 294"/>
                  <a:gd name="T17" fmla="*/ 116 h 202"/>
                  <a:gd name="T18" fmla="*/ 204 w 294"/>
                  <a:gd name="T19" fmla="*/ 100 h 202"/>
                  <a:gd name="T20" fmla="*/ 236 w 294"/>
                  <a:gd name="T21" fmla="*/ 98 h 202"/>
                  <a:gd name="T22" fmla="*/ 244 w 294"/>
                  <a:gd name="T23" fmla="*/ 92 h 202"/>
                  <a:gd name="T24" fmla="*/ 266 w 294"/>
                  <a:gd name="T25" fmla="*/ 90 h 202"/>
                  <a:gd name="T26" fmla="*/ 262 w 294"/>
                  <a:gd name="T27" fmla="*/ 106 h 202"/>
                  <a:gd name="T28" fmla="*/ 272 w 294"/>
                  <a:gd name="T29" fmla="*/ 116 h 202"/>
                  <a:gd name="T30" fmla="*/ 286 w 294"/>
                  <a:gd name="T31" fmla="*/ 116 h 202"/>
                  <a:gd name="T32" fmla="*/ 294 w 294"/>
                  <a:gd name="T33" fmla="*/ 132 h 202"/>
                  <a:gd name="T34" fmla="*/ 280 w 294"/>
                  <a:gd name="T35" fmla="*/ 152 h 202"/>
                  <a:gd name="T36" fmla="*/ 286 w 294"/>
                  <a:gd name="T37" fmla="*/ 166 h 202"/>
                  <a:gd name="T38" fmla="*/ 276 w 294"/>
                  <a:gd name="T39" fmla="*/ 178 h 202"/>
                  <a:gd name="T40" fmla="*/ 272 w 294"/>
                  <a:gd name="T41" fmla="*/ 196 h 202"/>
                  <a:gd name="T42" fmla="*/ 238 w 294"/>
                  <a:gd name="T43" fmla="*/ 202 h 202"/>
                  <a:gd name="T44" fmla="*/ 224 w 294"/>
                  <a:gd name="T45" fmla="*/ 188 h 202"/>
                  <a:gd name="T46" fmla="*/ 204 w 294"/>
                  <a:gd name="T47" fmla="*/ 202 h 202"/>
                  <a:gd name="T48" fmla="*/ 184 w 294"/>
                  <a:gd name="T49" fmla="*/ 200 h 202"/>
                  <a:gd name="T50" fmla="*/ 166 w 294"/>
                  <a:gd name="T51" fmla="*/ 184 h 202"/>
                  <a:gd name="T52" fmla="*/ 150 w 294"/>
                  <a:gd name="T53" fmla="*/ 166 h 202"/>
                  <a:gd name="T54" fmla="*/ 124 w 294"/>
                  <a:gd name="T55" fmla="*/ 166 h 202"/>
                  <a:gd name="T56" fmla="*/ 116 w 294"/>
                  <a:gd name="T57" fmla="*/ 174 h 202"/>
                  <a:gd name="T58" fmla="*/ 90 w 294"/>
                  <a:gd name="T59" fmla="*/ 150 h 202"/>
                  <a:gd name="T60" fmla="*/ 90 w 294"/>
                  <a:gd name="T61" fmla="*/ 124 h 202"/>
                  <a:gd name="T62" fmla="*/ 68 w 294"/>
                  <a:gd name="T63" fmla="*/ 102 h 202"/>
                  <a:gd name="T64" fmla="*/ 52 w 294"/>
                  <a:gd name="T65" fmla="*/ 102 h 202"/>
                  <a:gd name="T66" fmla="*/ 28 w 294"/>
                  <a:gd name="T67" fmla="*/ 94 h 202"/>
                  <a:gd name="T68" fmla="*/ 16 w 294"/>
                  <a:gd name="T69" fmla="*/ 80 h 202"/>
                  <a:gd name="T70" fmla="*/ 2 w 294"/>
                  <a:gd name="T71" fmla="*/ 86 h 202"/>
                  <a:gd name="T72" fmla="*/ 0 w 294"/>
                  <a:gd name="T73" fmla="*/ 70 h 202"/>
                  <a:gd name="T74" fmla="*/ 14 w 294"/>
                  <a:gd name="T75" fmla="*/ 58 h 202"/>
                  <a:gd name="T76" fmla="*/ 26 w 294"/>
                  <a:gd name="T77" fmla="*/ 48 h 202"/>
                  <a:gd name="T78" fmla="*/ 26 w 294"/>
                  <a:gd name="T79" fmla="*/ 36 h 202"/>
                  <a:gd name="T80" fmla="*/ 42 w 294"/>
                  <a:gd name="T81" fmla="*/ 36 h 202"/>
                  <a:gd name="T82" fmla="*/ 62 w 294"/>
                  <a:gd name="T83" fmla="*/ 16 h 202"/>
                  <a:gd name="T84" fmla="*/ 78 w 294"/>
                  <a:gd name="T85" fmla="*/ 12 h 202"/>
                  <a:gd name="T86" fmla="*/ 92 w 294"/>
                  <a:gd name="T87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94" h="202">
                    <a:moveTo>
                      <a:pt x="92" y="0"/>
                    </a:moveTo>
                    <a:lnTo>
                      <a:pt x="106" y="14"/>
                    </a:lnTo>
                    <a:lnTo>
                      <a:pt x="130" y="14"/>
                    </a:lnTo>
                    <a:lnTo>
                      <a:pt x="136" y="32"/>
                    </a:lnTo>
                    <a:lnTo>
                      <a:pt x="150" y="46"/>
                    </a:lnTo>
                    <a:lnTo>
                      <a:pt x="150" y="70"/>
                    </a:lnTo>
                    <a:lnTo>
                      <a:pt x="166" y="88"/>
                    </a:lnTo>
                    <a:lnTo>
                      <a:pt x="174" y="110"/>
                    </a:lnTo>
                    <a:lnTo>
                      <a:pt x="194" y="116"/>
                    </a:lnTo>
                    <a:lnTo>
                      <a:pt x="204" y="100"/>
                    </a:lnTo>
                    <a:lnTo>
                      <a:pt x="236" y="98"/>
                    </a:lnTo>
                    <a:lnTo>
                      <a:pt x="244" y="92"/>
                    </a:lnTo>
                    <a:lnTo>
                      <a:pt x="266" y="90"/>
                    </a:lnTo>
                    <a:lnTo>
                      <a:pt x="262" y="106"/>
                    </a:lnTo>
                    <a:lnTo>
                      <a:pt x="272" y="116"/>
                    </a:lnTo>
                    <a:lnTo>
                      <a:pt x="286" y="116"/>
                    </a:lnTo>
                    <a:lnTo>
                      <a:pt x="294" y="132"/>
                    </a:lnTo>
                    <a:lnTo>
                      <a:pt x="280" y="152"/>
                    </a:lnTo>
                    <a:lnTo>
                      <a:pt x="286" y="166"/>
                    </a:lnTo>
                    <a:lnTo>
                      <a:pt x="276" y="178"/>
                    </a:lnTo>
                    <a:lnTo>
                      <a:pt x="272" y="196"/>
                    </a:lnTo>
                    <a:lnTo>
                      <a:pt x="238" y="202"/>
                    </a:lnTo>
                    <a:lnTo>
                      <a:pt x="224" y="188"/>
                    </a:lnTo>
                    <a:lnTo>
                      <a:pt x="204" y="202"/>
                    </a:lnTo>
                    <a:lnTo>
                      <a:pt x="184" y="200"/>
                    </a:lnTo>
                    <a:lnTo>
                      <a:pt x="166" y="184"/>
                    </a:lnTo>
                    <a:lnTo>
                      <a:pt x="150" y="166"/>
                    </a:lnTo>
                    <a:lnTo>
                      <a:pt x="124" y="166"/>
                    </a:lnTo>
                    <a:lnTo>
                      <a:pt x="116" y="174"/>
                    </a:lnTo>
                    <a:lnTo>
                      <a:pt x="90" y="150"/>
                    </a:lnTo>
                    <a:lnTo>
                      <a:pt x="90" y="124"/>
                    </a:lnTo>
                    <a:lnTo>
                      <a:pt x="68" y="102"/>
                    </a:lnTo>
                    <a:lnTo>
                      <a:pt x="52" y="102"/>
                    </a:lnTo>
                    <a:lnTo>
                      <a:pt x="28" y="94"/>
                    </a:lnTo>
                    <a:lnTo>
                      <a:pt x="16" y="80"/>
                    </a:lnTo>
                    <a:lnTo>
                      <a:pt x="2" y="86"/>
                    </a:lnTo>
                    <a:lnTo>
                      <a:pt x="0" y="70"/>
                    </a:lnTo>
                    <a:lnTo>
                      <a:pt x="14" y="58"/>
                    </a:lnTo>
                    <a:lnTo>
                      <a:pt x="26" y="48"/>
                    </a:lnTo>
                    <a:lnTo>
                      <a:pt x="26" y="36"/>
                    </a:lnTo>
                    <a:lnTo>
                      <a:pt x="42" y="36"/>
                    </a:lnTo>
                    <a:lnTo>
                      <a:pt x="62" y="16"/>
                    </a:lnTo>
                    <a:lnTo>
                      <a:pt x="78" y="12"/>
                    </a:lnTo>
                    <a:lnTo>
                      <a:pt x="92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0" name="Freeform 227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 rot="698053">
                <a:off x="3827970" y="2821520"/>
                <a:ext cx="212307" cy="220210"/>
              </a:xfrm>
              <a:custGeom>
                <a:avLst/>
                <a:gdLst>
                  <a:gd name="T0" fmla="*/ 48 w 278"/>
                  <a:gd name="T1" fmla="*/ 0 h 298"/>
                  <a:gd name="T2" fmla="*/ 62 w 278"/>
                  <a:gd name="T3" fmla="*/ 6 h 298"/>
                  <a:gd name="T4" fmla="*/ 64 w 278"/>
                  <a:gd name="T5" fmla="*/ 22 h 298"/>
                  <a:gd name="T6" fmla="*/ 78 w 278"/>
                  <a:gd name="T7" fmla="*/ 16 h 298"/>
                  <a:gd name="T8" fmla="*/ 90 w 278"/>
                  <a:gd name="T9" fmla="*/ 30 h 298"/>
                  <a:gd name="T10" fmla="*/ 114 w 278"/>
                  <a:gd name="T11" fmla="*/ 38 h 298"/>
                  <a:gd name="T12" fmla="*/ 130 w 278"/>
                  <a:gd name="T13" fmla="*/ 38 h 298"/>
                  <a:gd name="T14" fmla="*/ 152 w 278"/>
                  <a:gd name="T15" fmla="*/ 60 h 298"/>
                  <a:gd name="T16" fmla="*/ 152 w 278"/>
                  <a:gd name="T17" fmla="*/ 86 h 298"/>
                  <a:gd name="T18" fmla="*/ 178 w 278"/>
                  <a:gd name="T19" fmla="*/ 110 h 298"/>
                  <a:gd name="T20" fmla="*/ 186 w 278"/>
                  <a:gd name="T21" fmla="*/ 102 h 298"/>
                  <a:gd name="T22" fmla="*/ 212 w 278"/>
                  <a:gd name="T23" fmla="*/ 102 h 298"/>
                  <a:gd name="T24" fmla="*/ 246 w 278"/>
                  <a:gd name="T25" fmla="*/ 136 h 298"/>
                  <a:gd name="T26" fmla="*/ 266 w 278"/>
                  <a:gd name="T27" fmla="*/ 138 h 298"/>
                  <a:gd name="T28" fmla="*/ 278 w 278"/>
                  <a:gd name="T29" fmla="*/ 158 h 298"/>
                  <a:gd name="T30" fmla="*/ 278 w 278"/>
                  <a:gd name="T31" fmla="*/ 192 h 298"/>
                  <a:gd name="T32" fmla="*/ 266 w 278"/>
                  <a:gd name="T33" fmla="*/ 204 h 298"/>
                  <a:gd name="T34" fmla="*/ 266 w 278"/>
                  <a:gd name="T35" fmla="*/ 222 h 298"/>
                  <a:gd name="T36" fmla="*/ 276 w 278"/>
                  <a:gd name="T37" fmla="*/ 234 h 298"/>
                  <a:gd name="T38" fmla="*/ 270 w 278"/>
                  <a:gd name="T39" fmla="*/ 248 h 298"/>
                  <a:gd name="T40" fmla="*/ 260 w 278"/>
                  <a:gd name="T41" fmla="*/ 252 h 298"/>
                  <a:gd name="T42" fmla="*/ 248 w 278"/>
                  <a:gd name="T43" fmla="*/ 276 h 298"/>
                  <a:gd name="T44" fmla="*/ 232 w 278"/>
                  <a:gd name="T45" fmla="*/ 298 h 298"/>
                  <a:gd name="T46" fmla="*/ 216 w 278"/>
                  <a:gd name="T47" fmla="*/ 280 h 298"/>
                  <a:gd name="T48" fmla="*/ 196 w 278"/>
                  <a:gd name="T49" fmla="*/ 286 h 298"/>
                  <a:gd name="T50" fmla="*/ 180 w 278"/>
                  <a:gd name="T51" fmla="*/ 286 h 298"/>
                  <a:gd name="T52" fmla="*/ 152 w 278"/>
                  <a:gd name="T53" fmla="*/ 270 h 298"/>
                  <a:gd name="T54" fmla="*/ 122 w 278"/>
                  <a:gd name="T55" fmla="*/ 258 h 298"/>
                  <a:gd name="T56" fmla="*/ 104 w 278"/>
                  <a:gd name="T57" fmla="*/ 246 h 298"/>
                  <a:gd name="T58" fmla="*/ 96 w 278"/>
                  <a:gd name="T59" fmla="*/ 222 h 298"/>
                  <a:gd name="T60" fmla="*/ 68 w 278"/>
                  <a:gd name="T61" fmla="*/ 224 h 298"/>
                  <a:gd name="T62" fmla="*/ 48 w 278"/>
                  <a:gd name="T63" fmla="*/ 204 h 298"/>
                  <a:gd name="T64" fmla="*/ 32 w 278"/>
                  <a:gd name="T65" fmla="*/ 198 h 298"/>
                  <a:gd name="T66" fmla="*/ 22 w 278"/>
                  <a:gd name="T67" fmla="*/ 186 h 298"/>
                  <a:gd name="T68" fmla="*/ 18 w 278"/>
                  <a:gd name="T69" fmla="*/ 172 h 298"/>
                  <a:gd name="T70" fmla="*/ 0 w 278"/>
                  <a:gd name="T71" fmla="*/ 160 h 298"/>
                  <a:gd name="T72" fmla="*/ 6 w 278"/>
                  <a:gd name="T73" fmla="*/ 146 h 298"/>
                  <a:gd name="T74" fmla="*/ 28 w 278"/>
                  <a:gd name="T75" fmla="*/ 146 h 298"/>
                  <a:gd name="T76" fmla="*/ 32 w 278"/>
                  <a:gd name="T77" fmla="*/ 104 h 298"/>
                  <a:gd name="T78" fmla="*/ 20 w 278"/>
                  <a:gd name="T79" fmla="*/ 86 h 298"/>
                  <a:gd name="T80" fmla="*/ 26 w 278"/>
                  <a:gd name="T81" fmla="*/ 50 h 298"/>
                  <a:gd name="T82" fmla="*/ 20 w 278"/>
                  <a:gd name="T83" fmla="*/ 30 h 298"/>
                  <a:gd name="T84" fmla="*/ 48 w 278"/>
                  <a:gd name="T85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8" h="298">
                    <a:moveTo>
                      <a:pt x="48" y="0"/>
                    </a:moveTo>
                    <a:lnTo>
                      <a:pt x="62" y="6"/>
                    </a:lnTo>
                    <a:lnTo>
                      <a:pt x="64" y="22"/>
                    </a:lnTo>
                    <a:lnTo>
                      <a:pt x="78" y="16"/>
                    </a:lnTo>
                    <a:lnTo>
                      <a:pt x="90" y="30"/>
                    </a:lnTo>
                    <a:lnTo>
                      <a:pt x="114" y="38"/>
                    </a:lnTo>
                    <a:lnTo>
                      <a:pt x="130" y="38"/>
                    </a:lnTo>
                    <a:lnTo>
                      <a:pt x="152" y="60"/>
                    </a:lnTo>
                    <a:lnTo>
                      <a:pt x="152" y="86"/>
                    </a:lnTo>
                    <a:lnTo>
                      <a:pt x="178" y="110"/>
                    </a:lnTo>
                    <a:lnTo>
                      <a:pt x="186" y="102"/>
                    </a:lnTo>
                    <a:lnTo>
                      <a:pt x="212" y="102"/>
                    </a:lnTo>
                    <a:lnTo>
                      <a:pt x="246" y="136"/>
                    </a:lnTo>
                    <a:lnTo>
                      <a:pt x="266" y="138"/>
                    </a:lnTo>
                    <a:lnTo>
                      <a:pt x="278" y="158"/>
                    </a:lnTo>
                    <a:lnTo>
                      <a:pt x="278" y="192"/>
                    </a:lnTo>
                    <a:lnTo>
                      <a:pt x="266" y="204"/>
                    </a:lnTo>
                    <a:lnTo>
                      <a:pt x="266" y="222"/>
                    </a:lnTo>
                    <a:lnTo>
                      <a:pt x="276" y="234"/>
                    </a:lnTo>
                    <a:lnTo>
                      <a:pt x="270" y="248"/>
                    </a:lnTo>
                    <a:lnTo>
                      <a:pt x="260" y="252"/>
                    </a:lnTo>
                    <a:lnTo>
                      <a:pt x="248" y="276"/>
                    </a:lnTo>
                    <a:lnTo>
                      <a:pt x="232" y="298"/>
                    </a:lnTo>
                    <a:lnTo>
                      <a:pt x="216" y="280"/>
                    </a:lnTo>
                    <a:lnTo>
                      <a:pt x="196" y="286"/>
                    </a:lnTo>
                    <a:lnTo>
                      <a:pt x="180" y="286"/>
                    </a:lnTo>
                    <a:lnTo>
                      <a:pt x="152" y="270"/>
                    </a:lnTo>
                    <a:lnTo>
                      <a:pt x="122" y="258"/>
                    </a:lnTo>
                    <a:lnTo>
                      <a:pt x="104" y="246"/>
                    </a:lnTo>
                    <a:lnTo>
                      <a:pt x="96" y="222"/>
                    </a:lnTo>
                    <a:lnTo>
                      <a:pt x="68" y="224"/>
                    </a:lnTo>
                    <a:lnTo>
                      <a:pt x="48" y="204"/>
                    </a:lnTo>
                    <a:lnTo>
                      <a:pt x="32" y="198"/>
                    </a:lnTo>
                    <a:lnTo>
                      <a:pt x="22" y="186"/>
                    </a:lnTo>
                    <a:lnTo>
                      <a:pt x="18" y="172"/>
                    </a:lnTo>
                    <a:lnTo>
                      <a:pt x="0" y="160"/>
                    </a:lnTo>
                    <a:lnTo>
                      <a:pt x="6" y="146"/>
                    </a:lnTo>
                    <a:lnTo>
                      <a:pt x="28" y="146"/>
                    </a:lnTo>
                    <a:lnTo>
                      <a:pt x="32" y="104"/>
                    </a:lnTo>
                    <a:lnTo>
                      <a:pt x="20" y="86"/>
                    </a:lnTo>
                    <a:lnTo>
                      <a:pt x="26" y="50"/>
                    </a:lnTo>
                    <a:lnTo>
                      <a:pt x="20" y="3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1" name="Freeform 228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 rot="698053">
                <a:off x="3718614" y="2939239"/>
                <a:ext cx="392590" cy="348666"/>
              </a:xfrm>
              <a:custGeom>
                <a:avLst/>
                <a:gdLst>
                  <a:gd name="T0" fmla="*/ 339 w 513"/>
                  <a:gd name="T1" fmla="*/ 160 h 471"/>
                  <a:gd name="T2" fmla="*/ 403 w 513"/>
                  <a:gd name="T3" fmla="*/ 176 h 471"/>
                  <a:gd name="T4" fmla="*/ 431 w 513"/>
                  <a:gd name="T5" fmla="*/ 216 h 471"/>
                  <a:gd name="T6" fmla="*/ 457 w 513"/>
                  <a:gd name="T7" fmla="*/ 248 h 471"/>
                  <a:gd name="T8" fmla="*/ 491 w 513"/>
                  <a:gd name="T9" fmla="*/ 310 h 471"/>
                  <a:gd name="T10" fmla="*/ 505 w 513"/>
                  <a:gd name="T11" fmla="*/ 358 h 471"/>
                  <a:gd name="T12" fmla="*/ 513 w 513"/>
                  <a:gd name="T13" fmla="*/ 386 h 471"/>
                  <a:gd name="T14" fmla="*/ 463 w 513"/>
                  <a:gd name="T15" fmla="*/ 398 h 471"/>
                  <a:gd name="T16" fmla="*/ 405 w 513"/>
                  <a:gd name="T17" fmla="*/ 394 h 471"/>
                  <a:gd name="T18" fmla="*/ 365 w 513"/>
                  <a:gd name="T19" fmla="*/ 415 h 471"/>
                  <a:gd name="T20" fmla="*/ 305 w 513"/>
                  <a:gd name="T21" fmla="*/ 415 h 471"/>
                  <a:gd name="T22" fmla="*/ 281 w 513"/>
                  <a:gd name="T23" fmla="*/ 447 h 471"/>
                  <a:gd name="T24" fmla="*/ 247 w 513"/>
                  <a:gd name="T25" fmla="*/ 465 h 471"/>
                  <a:gd name="T26" fmla="*/ 227 w 513"/>
                  <a:gd name="T27" fmla="*/ 419 h 471"/>
                  <a:gd name="T28" fmla="*/ 221 w 513"/>
                  <a:gd name="T29" fmla="*/ 378 h 471"/>
                  <a:gd name="T30" fmla="*/ 199 w 513"/>
                  <a:gd name="T31" fmla="*/ 352 h 471"/>
                  <a:gd name="T32" fmla="*/ 179 w 513"/>
                  <a:gd name="T33" fmla="*/ 316 h 471"/>
                  <a:gd name="T34" fmla="*/ 147 w 513"/>
                  <a:gd name="T35" fmla="*/ 304 h 471"/>
                  <a:gd name="T36" fmla="*/ 121 w 513"/>
                  <a:gd name="T37" fmla="*/ 270 h 471"/>
                  <a:gd name="T38" fmla="*/ 95 w 513"/>
                  <a:gd name="T39" fmla="*/ 262 h 471"/>
                  <a:gd name="T40" fmla="*/ 115 w 513"/>
                  <a:gd name="T41" fmla="*/ 202 h 471"/>
                  <a:gd name="T42" fmla="*/ 56 w 513"/>
                  <a:gd name="T43" fmla="*/ 172 h 471"/>
                  <a:gd name="T44" fmla="*/ 38 w 513"/>
                  <a:gd name="T45" fmla="*/ 148 h 471"/>
                  <a:gd name="T46" fmla="*/ 0 w 513"/>
                  <a:gd name="T47" fmla="*/ 112 h 471"/>
                  <a:gd name="T48" fmla="*/ 12 w 513"/>
                  <a:gd name="T49" fmla="*/ 78 h 471"/>
                  <a:gd name="T50" fmla="*/ 20 w 513"/>
                  <a:gd name="T51" fmla="*/ 42 h 471"/>
                  <a:gd name="T52" fmla="*/ 46 w 513"/>
                  <a:gd name="T53" fmla="*/ 30 h 471"/>
                  <a:gd name="T54" fmla="*/ 97 w 513"/>
                  <a:gd name="T55" fmla="*/ 0 h 471"/>
                  <a:gd name="T56" fmla="*/ 119 w 513"/>
                  <a:gd name="T57" fmla="*/ 26 h 471"/>
                  <a:gd name="T58" fmla="*/ 145 w 513"/>
                  <a:gd name="T59" fmla="*/ 44 h 471"/>
                  <a:gd name="T60" fmla="*/ 193 w 513"/>
                  <a:gd name="T61" fmla="*/ 62 h 471"/>
                  <a:gd name="T62" fmla="*/ 219 w 513"/>
                  <a:gd name="T63" fmla="*/ 98 h 471"/>
                  <a:gd name="T64" fmla="*/ 277 w 513"/>
                  <a:gd name="T65" fmla="*/ 126 h 471"/>
                  <a:gd name="T66" fmla="*/ 313 w 513"/>
                  <a:gd name="T67" fmla="*/ 12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13" h="471">
                    <a:moveTo>
                      <a:pt x="329" y="138"/>
                    </a:moveTo>
                    <a:lnTo>
                      <a:pt x="339" y="160"/>
                    </a:lnTo>
                    <a:lnTo>
                      <a:pt x="355" y="176"/>
                    </a:lnTo>
                    <a:lnTo>
                      <a:pt x="403" y="176"/>
                    </a:lnTo>
                    <a:lnTo>
                      <a:pt x="419" y="192"/>
                    </a:lnTo>
                    <a:lnTo>
                      <a:pt x="431" y="216"/>
                    </a:lnTo>
                    <a:lnTo>
                      <a:pt x="431" y="240"/>
                    </a:lnTo>
                    <a:lnTo>
                      <a:pt x="457" y="248"/>
                    </a:lnTo>
                    <a:lnTo>
                      <a:pt x="465" y="284"/>
                    </a:lnTo>
                    <a:lnTo>
                      <a:pt x="491" y="310"/>
                    </a:lnTo>
                    <a:lnTo>
                      <a:pt x="485" y="338"/>
                    </a:lnTo>
                    <a:lnTo>
                      <a:pt x="505" y="358"/>
                    </a:lnTo>
                    <a:lnTo>
                      <a:pt x="513" y="372"/>
                    </a:lnTo>
                    <a:lnTo>
                      <a:pt x="513" y="386"/>
                    </a:lnTo>
                    <a:lnTo>
                      <a:pt x="479" y="380"/>
                    </a:lnTo>
                    <a:lnTo>
                      <a:pt x="463" y="398"/>
                    </a:lnTo>
                    <a:lnTo>
                      <a:pt x="433" y="409"/>
                    </a:lnTo>
                    <a:lnTo>
                      <a:pt x="405" y="394"/>
                    </a:lnTo>
                    <a:lnTo>
                      <a:pt x="377" y="394"/>
                    </a:lnTo>
                    <a:lnTo>
                      <a:pt x="365" y="415"/>
                    </a:lnTo>
                    <a:lnTo>
                      <a:pt x="337" y="415"/>
                    </a:lnTo>
                    <a:lnTo>
                      <a:pt x="305" y="415"/>
                    </a:lnTo>
                    <a:lnTo>
                      <a:pt x="299" y="429"/>
                    </a:lnTo>
                    <a:lnTo>
                      <a:pt x="281" y="447"/>
                    </a:lnTo>
                    <a:lnTo>
                      <a:pt x="279" y="471"/>
                    </a:lnTo>
                    <a:lnTo>
                      <a:pt x="247" y="465"/>
                    </a:lnTo>
                    <a:lnTo>
                      <a:pt x="227" y="447"/>
                    </a:lnTo>
                    <a:lnTo>
                      <a:pt x="227" y="419"/>
                    </a:lnTo>
                    <a:lnTo>
                      <a:pt x="235" y="392"/>
                    </a:lnTo>
                    <a:lnTo>
                      <a:pt x="221" y="378"/>
                    </a:lnTo>
                    <a:lnTo>
                      <a:pt x="199" y="378"/>
                    </a:lnTo>
                    <a:lnTo>
                      <a:pt x="199" y="352"/>
                    </a:lnTo>
                    <a:lnTo>
                      <a:pt x="181" y="336"/>
                    </a:lnTo>
                    <a:lnTo>
                      <a:pt x="179" y="316"/>
                    </a:lnTo>
                    <a:lnTo>
                      <a:pt x="159" y="316"/>
                    </a:lnTo>
                    <a:lnTo>
                      <a:pt x="147" y="304"/>
                    </a:lnTo>
                    <a:lnTo>
                      <a:pt x="141" y="276"/>
                    </a:lnTo>
                    <a:lnTo>
                      <a:pt x="121" y="270"/>
                    </a:lnTo>
                    <a:lnTo>
                      <a:pt x="113" y="280"/>
                    </a:lnTo>
                    <a:lnTo>
                      <a:pt x="95" y="262"/>
                    </a:lnTo>
                    <a:lnTo>
                      <a:pt x="119" y="240"/>
                    </a:lnTo>
                    <a:lnTo>
                      <a:pt x="115" y="202"/>
                    </a:lnTo>
                    <a:lnTo>
                      <a:pt x="83" y="172"/>
                    </a:lnTo>
                    <a:lnTo>
                      <a:pt x="56" y="172"/>
                    </a:lnTo>
                    <a:lnTo>
                      <a:pt x="56" y="156"/>
                    </a:lnTo>
                    <a:lnTo>
                      <a:pt x="38" y="148"/>
                    </a:lnTo>
                    <a:lnTo>
                      <a:pt x="8" y="144"/>
                    </a:lnTo>
                    <a:lnTo>
                      <a:pt x="0" y="112"/>
                    </a:lnTo>
                    <a:lnTo>
                      <a:pt x="2" y="88"/>
                    </a:lnTo>
                    <a:lnTo>
                      <a:pt x="12" y="78"/>
                    </a:lnTo>
                    <a:lnTo>
                      <a:pt x="0" y="52"/>
                    </a:lnTo>
                    <a:lnTo>
                      <a:pt x="20" y="42"/>
                    </a:lnTo>
                    <a:lnTo>
                      <a:pt x="32" y="42"/>
                    </a:lnTo>
                    <a:lnTo>
                      <a:pt x="46" y="30"/>
                    </a:lnTo>
                    <a:lnTo>
                      <a:pt x="68" y="16"/>
                    </a:lnTo>
                    <a:lnTo>
                      <a:pt x="97" y="0"/>
                    </a:lnTo>
                    <a:lnTo>
                      <a:pt x="115" y="12"/>
                    </a:lnTo>
                    <a:lnTo>
                      <a:pt x="119" y="26"/>
                    </a:lnTo>
                    <a:lnTo>
                      <a:pt x="129" y="38"/>
                    </a:lnTo>
                    <a:lnTo>
                      <a:pt x="145" y="44"/>
                    </a:lnTo>
                    <a:lnTo>
                      <a:pt x="165" y="64"/>
                    </a:lnTo>
                    <a:lnTo>
                      <a:pt x="193" y="62"/>
                    </a:lnTo>
                    <a:lnTo>
                      <a:pt x="201" y="86"/>
                    </a:lnTo>
                    <a:lnTo>
                      <a:pt x="219" y="98"/>
                    </a:lnTo>
                    <a:lnTo>
                      <a:pt x="249" y="110"/>
                    </a:lnTo>
                    <a:lnTo>
                      <a:pt x="277" y="126"/>
                    </a:lnTo>
                    <a:lnTo>
                      <a:pt x="293" y="126"/>
                    </a:lnTo>
                    <a:lnTo>
                      <a:pt x="313" y="120"/>
                    </a:lnTo>
                    <a:lnTo>
                      <a:pt x="329" y="13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2" name="Freeform 229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 rot="698053">
                <a:off x="3989958" y="2936399"/>
                <a:ext cx="232471" cy="184655"/>
              </a:xfrm>
              <a:custGeom>
                <a:avLst/>
                <a:gdLst>
                  <a:gd name="T0" fmla="*/ 116 w 304"/>
                  <a:gd name="T1" fmla="*/ 0 h 250"/>
                  <a:gd name="T2" fmla="*/ 152 w 304"/>
                  <a:gd name="T3" fmla="*/ 24 h 250"/>
                  <a:gd name="T4" fmla="*/ 152 w 304"/>
                  <a:gd name="T5" fmla="*/ 46 h 250"/>
                  <a:gd name="T6" fmla="*/ 178 w 304"/>
                  <a:gd name="T7" fmla="*/ 40 h 250"/>
                  <a:gd name="T8" fmla="*/ 200 w 304"/>
                  <a:gd name="T9" fmla="*/ 50 h 250"/>
                  <a:gd name="T10" fmla="*/ 220 w 304"/>
                  <a:gd name="T11" fmla="*/ 70 h 250"/>
                  <a:gd name="T12" fmla="*/ 238 w 304"/>
                  <a:gd name="T13" fmla="*/ 86 h 250"/>
                  <a:gd name="T14" fmla="*/ 260 w 304"/>
                  <a:gd name="T15" fmla="*/ 78 h 250"/>
                  <a:gd name="T16" fmla="*/ 270 w 304"/>
                  <a:gd name="T17" fmla="*/ 90 h 250"/>
                  <a:gd name="T18" fmla="*/ 278 w 304"/>
                  <a:gd name="T19" fmla="*/ 120 h 250"/>
                  <a:gd name="T20" fmla="*/ 296 w 304"/>
                  <a:gd name="T21" fmla="*/ 140 h 250"/>
                  <a:gd name="T22" fmla="*/ 304 w 304"/>
                  <a:gd name="T23" fmla="*/ 156 h 250"/>
                  <a:gd name="T24" fmla="*/ 286 w 304"/>
                  <a:gd name="T25" fmla="*/ 186 h 250"/>
                  <a:gd name="T26" fmla="*/ 260 w 304"/>
                  <a:gd name="T27" fmla="*/ 196 h 250"/>
                  <a:gd name="T28" fmla="*/ 248 w 304"/>
                  <a:gd name="T29" fmla="*/ 208 h 250"/>
                  <a:gd name="T30" fmla="*/ 228 w 304"/>
                  <a:gd name="T31" fmla="*/ 180 h 250"/>
                  <a:gd name="T32" fmla="*/ 200 w 304"/>
                  <a:gd name="T33" fmla="*/ 170 h 250"/>
                  <a:gd name="T34" fmla="*/ 188 w 304"/>
                  <a:gd name="T35" fmla="*/ 182 h 250"/>
                  <a:gd name="T36" fmla="*/ 162 w 304"/>
                  <a:gd name="T37" fmla="*/ 156 h 250"/>
                  <a:gd name="T38" fmla="*/ 146 w 304"/>
                  <a:gd name="T39" fmla="*/ 172 h 250"/>
                  <a:gd name="T40" fmla="*/ 124 w 304"/>
                  <a:gd name="T41" fmla="*/ 166 h 250"/>
                  <a:gd name="T42" fmla="*/ 106 w 304"/>
                  <a:gd name="T43" fmla="*/ 184 h 250"/>
                  <a:gd name="T44" fmla="*/ 106 w 304"/>
                  <a:gd name="T45" fmla="*/ 214 h 250"/>
                  <a:gd name="T46" fmla="*/ 118 w 304"/>
                  <a:gd name="T47" fmla="*/ 226 h 250"/>
                  <a:gd name="T48" fmla="*/ 112 w 304"/>
                  <a:gd name="T49" fmla="*/ 248 h 250"/>
                  <a:gd name="T50" fmla="*/ 90 w 304"/>
                  <a:gd name="T51" fmla="*/ 250 h 250"/>
                  <a:gd name="T52" fmla="*/ 74 w 304"/>
                  <a:gd name="T53" fmla="*/ 234 h 250"/>
                  <a:gd name="T54" fmla="*/ 26 w 304"/>
                  <a:gd name="T55" fmla="*/ 234 h 250"/>
                  <a:gd name="T56" fmla="*/ 10 w 304"/>
                  <a:gd name="T57" fmla="*/ 218 h 250"/>
                  <a:gd name="T58" fmla="*/ 0 w 304"/>
                  <a:gd name="T59" fmla="*/ 196 h 250"/>
                  <a:gd name="T60" fmla="*/ 16 w 304"/>
                  <a:gd name="T61" fmla="*/ 174 h 250"/>
                  <a:gd name="T62" fmla="*/ 28 w 304"/>
                  <a:gd name="T63" fmla="*/ 150 h 250"/>
                  <a:gd name="T64" fmla="*/ 38 w 304"/>
                  <a:gd name="T65" fmla="*/ 146 h 250"/>
                  <a:gd name="T66" fmla="*/ 44 w 304"/>
                  <a:gd name="T67" fmla="*/ 132 h 250"/>
                  <a:gd name="T68" fmla="*/ 34 w 304"/>
                  <a:gd name="T69" fmla="*/ 120 h 250"/>
                  <a:gd name="T70" fmla="*/ 34 w 304"/>
                  <a:gd name="T71" fmla="*/ 102 h 250"/>
                  <a:gd name="T72" fmla="*/ 46 w 304"/>
                  <a:gd name="T73" fmla="*/ 90 h 250"/>
                  <a:gd name="T74" fmla="*/ 46 w 304"/>
                  <a:gd name="T75" fmla="*/ 56 h 250"/>
                  <a:gd name="T76" fmla="*/ 34 w 304"/>
                  <a:gd name="T77" fmla="*/ 36 h 250"/>
                  <a:gd name="T78" fmla="*/ 54 w 304"/>
                  <a:gd name="T79" fmla="*/ 22 h 250"/>
                  <a:gd name="T80" fmla="*/ 68 w 304"/>
                  <a:gd name="T81" fmla="*/ 36 h 250"/>
                  <a:gd name="T82" fmla="*/ 102 w 304"/>
                  <a:gd name="T83" fmla="*/ 30 h 250"/>
                  <a:gd name="T84" fmla="*/ 106 w 304"/>
                  <a:gd name="T85" fmla="*/ 12 h 250"/>
                  <a:gd name="T86" fmla="*/ 116 w 304"/>
                  <a:gd name="T87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04" h="250">
                    <a:moveTo>
                      <a:pt x="116" y="0"/>
                    </a:moveTo>
                    <a:lnTo>
                      <a:pt x="152" y="24"/>
                    </a:lnTo>
                    <a:lnTo>
                      <a:pt x="152" y="46"/>
                    </a:lnTo>
                    <a:lnTo>
                      <a:pt x="178" y="40"/>
                    </a:lnTo>
                    <a:lnTo>
                      <a:pt x="200" y="50"/>
                    </a:lnTo>
                    <a:lnTo>
                      <a:pt x="220" y="70"/>
                    </a:lnTo>
                    <a:lnTo>
                      <a:pt x="238" y="86"/>
                    </a:lnTo>
                    <a:lnTo>
                      <a:pt x="260" y="78"/>
                    </a:lnTo>
                    <a:lnTo>
                      <a:pt x="270" y="90"/>
                    </a:lnTo>
                    <a:lnTo>
                      <a:pt x="278" y="120"/>
                    </a:lnTo>
                    <a:lnTo>
                      <a:pt x="296" y="140"/>
                    </a:lnTo>
                    <a:lnTo>
                      <a:pt x="304" y="156"/>
                    </a:lnTo>
                    <a:lnTo>
                      <a:pt x="286" y="186"/>
                    </a:lnTo>
                    <a:lnTo>
                      <a:pt x="260" y="196"/>
                    </a:lnTo>
                    <a:lnTo>
                      <a:pt x="248" y="208"/>
                    </a:lnTo>
                    <a:lnTo>
                      <a:pt x="228" y="180"/>
                    </a:lnTo>
                    <a:lnTo>
                      <a:pt x="200" y="170"/>
                    </a:lnTo>
                    <a:lnTo>
                      <a:pt x="188" y="182"/>
                    </a:lnTo>
                    <a:lnTo>
                      <a:pt x="162" y="156"/>
                    </a:lnTo>
                    <a:lnTo>
                      <a:pt x="146" y="172"/>
                    </a:lnTo>
                    <a:lnTo>
                      <a:pt x="124" y="166"/>
                    </a:lnTo>
                    <a:lnTo>
                      <a:pt x="106" y="184"/>
                    </a:lnTo>
                    <a:lnTo>
                      <a:pt x="106" y="214"/>
                    </a:lnTo>
                    <a:lnTo>
                      <a:pt x="118" y="226"/>
                    </a:lnTo>
                    <a:lnTo>
                      <a:pt x="112" y="248"/>
                    </a:lnTo>
                    <a:lnTo>
                      <a:pt x="90" y="250"/>
                    </a:lnTo>
                    <a:lnTo>
                      <a:pt x="74" y="234"/>
                    </a:lnTo>
                    <a:lnTo>
                      <a:pt x="26" y="234"/>
                    </a:lnTo>
                    <a:lnTo>
                      <a:pt x="10" y="218"/>
                    </a:lnTo>
                    <a:lnTo>
                      <a:pt x="0" y="196"/>
                    </a:lnTo>
                    <a:lnTo>
                      <a:pt x="16" y="174"/>
                    </a:lnTo>
                    <a:lnTo>
                      <a:pt x="28" y="150"/>
                    </a:lnTo>
                    <a:lnTo>
                      <a:pt x="38" y="146"/>
                    </a:lnTo>
                    <a:lnTo>
                      <a:pt x="44" y="132"/>
                    </a:lnTo>
                    <a:lnTo>
                      <a:pt x="34" y="120"/>
                    </a:lnTo>
                    <a:lnTo>
                      <a:pt x="34" y="102"/>
                    </a:lnTo>
                    <a:lnTo>
                      <a:pt x="46" y="90"/>
                    </a:lnTo>
                    <a:lnTo>
                      <a:pt x="46" y="56"/>
                    </a:lnTo>
                    <a:lnTo>
                      <a:pt x="34" y="36"/>
                    </a:lnTo>
                    <a:lnTo>
                      <a:pt x="54" y="22"/>
                    </a:lnTo>
                    <a:lnTo>
                      <a:pt x="68" y="36"/>
                    </a:lnTo>
                    <a:lnTo>
                      <a:pt x="102" y="30"/>
                    </a:lnTo>
                    <a:lnTo>
                      <a:pt x="106" y="12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3" name="Freeform 230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 rot="698053">
                <a:off x="4033894" y="3064823"/>
                <a:ext cx="245517" cy="203006"/>
              </a:xfrm>
              <a:custGeom>
                <a:avLst/>
                <a:gdLst>
                  <a:gd name="T0" fmla="*/ 320 w 320"/>
                  <a:gd name="T1" fmla="*/ 88 h 274"/>
                  <a:gd name="T2" fmla="*/ 312 w 320"/>
                  <a:gd name="T3" fmla="*/ 66 h 274"/>
                  <a:gd name="T4" fmla="*/ 318 w 320"/>
                  <a:gd name="T5" fmla="*/ 48 h 274"/>
                  <a:gd name="T6" fmla="*/ 284 w 320"/>
                  <a:gd name="T7" fmla="*/ 20 h 274"/>
                  <a:gd name="T8" fmla="*/ 264 w 320"/>
                  <a:gd name="T9" fmla="*/ 20 h 274"/>
                  <a:gd name="T10" fmla="*/ 248 w 320"/>
                  <a:gd name="T11" fmla="*/ 36 h 274"/>
                  <a:gd name="T12" fmla="*/ 214 w 320"/>
                  <a:gd name="T13" fmla="*/ 0 h 274"/>
                  <a:gd name="T14" fmla="*/ 196 w 320"/>
                  <a:gd name="T15" fmla="*/ 30 h 274"/>
                  <a:gd name="T16" fmla="*/ 170 w 320"/>
                  <a:gd name="T17" fmla="*/ 40 h 274"/>
                  <a:gd name="T18" fmla="*/ 158 w 320"/>
                  <a:gd name="T19" fmla="*/ 52 h 274"/>
                  <a:gd name="T20" fmla="*/ 138 w 320"/>
                  <a:gd name="T21" fmla="*/ 24 h 274"/>
                  <a:gd name="T22" fmla="*/ 110 w 320"/>
                  <a:gd name="T23" fmla="*/ 14 h 274"/>
                  <a:gd name="T24" fmla="*/ 98 w 320"/>
                  <a:gd name="T25" fmla="*/ 26 h 274"/>
                  <a:gd name="T26" fmla="*/ 72 w 320"/>
                  <a:gd name="T27" fmla="*/ 0 h 274"/>
                  <a:gd name="T28" fmla="*/ 56 w 320"/>
                  <a:gd name="T29" fmla="*/ 16 h 274"/>
                  <a:gd name="T30" fmla="*/ 34 w 320"/>
                  <a:gd name="T31" fmla="*/ 10 h 274"/>
                  <a:gd name="T32" fmla="*/ 16 w 320"/>
                  <a:gd name="T33" fmla="*/ 28 h 274"/>
                  <a:gd name="T34" fmla="*/ 16 w 320"/>
                  <a:gd name="T35" fmla="*/ 58 h 274"/>
                  <a:gd name="T36" fmla="*/ 28 w 320"/>
                  <a:gd name="T37" fmla="*/ 70 h 274"/>
                  <a:gd name="T38" fmla="*/ 22 w 320"/>
                  <a:gd name="T39" fmla="*/ 92 h 274"/>
                  <a:gd name="T40" fmla="*/ 0 w 320"/>
                  <a:gd name="T41" fmla="*/ 94 h 274"/>
                  <a:gd name="T42" fmla="*/ 12 w 320"/>
                  <a:gd name="T43" fmla="*/ 118 h 274"/>
                  <a:gd name="T44" fmla="*/ 12 w 320"/>
                  <a:gd name="T45" fmla="*/ 142 h 274"/>
                  <a:gd name="T46" fmla="*/ 38 w 320"/>
                  <a:gd name="T47" fmla="*/ 150 h 274"/>
                  <a:gd name="T48" fmla="*/ 46 w 320"/>
                  <a:gd name="T49" fmla="*/ 186 h 274"/>
                  <a:gd name="T50" fmla="*/ 72 w 320"/>
                  <a:gd name="T51" fmla="*/ 212 h 274"/>
                  <a:gd name="T52" fmla="*/ 66 w 320"/>
                  <a:gd name="T53" fmla="*/ 240 h 274"/>
                  <a:gd name="T54" fmla="*/ 86 w 320"/>
                  <a:gd name="T55" fmla="*/ 260 h 274"/>
                  <a:gd name="T56" fmla="*/ 94 w 320"/>
                  <a:gd name="T57" fmla="*/ 274 h 274"/>
                  <a:gd name="T58" fmla="*/ 142 w 320"/>
                  <a:gd name="T59" fmla="*/ 274 h 274"/>
                  <a:gd name="T60" fmla="*/ 156 w 320"/>
                  <a:gd name="T61" fmla="*/ 246 h 274"/>
                  <a:gd name="T62" fmla="*/ 180 w 320"/>
                  <a:gd name="T63" fmla="*/ 228 h 274"/>
                  <a:gd name="T64" fmla="*/ 196 w 320"/>
                  <a:gd name="T65" fmla="*/ 232 h 274"/>
                  <a:gd name="T66" fmla="*/ 204 w 320"/>
                  <a:gd name="T67" fmla="*/ 214 h 274"/>
                  <a:gd name="T68" fmla="*/ 240 w 320"/>
                  <a:gd name="T69" fmla="*/ 208 h 274"/>
                  <a:gd name="T70" fmla="*/ 258 w 320"/>
                  <a:gd name="T71" fmla="*/ 164 h 274"/>
                  <a:gd name="T72" fmla="*/ 290 w 320"/>
                  <a:gd name="T73" fmla="*/ 148 h 274"/>
                  <a:gd name="T74" fmla="*/ 312 w 320"/>
                  <a:gd name="T75" fmla="*/ 124 h 274"/>
                  <a:gd name="T76" fmla="*/ 320 w 320"/>
                  <a:gd name="T77" fmla="*/ 88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0" h="274">
                    <a:moveTo>
                      <a:pt x="320" y="88"/>
                    </a:moveTo>
                    <a:lnTo>
                      <a:pt x="312" y="66"/>
                    </a:lnTo>
                    <a:lnTo>
                      <a:pt x="318" y="48"/>
                    </a:lnTo>
                    <a:lnTo>
                      <a:pt x="284" y="20"/>
                    </a:lnTo>
                    <a:lnTo>
                      <a:pt x="264" y="20"/>
                    </a:lnTo>
                    <a:lnTo>
                      <a:pt x="248" y="36"/>
                    </a:lnTo>
                    <a:lnTo>
                      <a:pt x="214" y="0"/>
                    </a:lnTo>
                    <a:lnTo>
                      <a:pt x="196" y="30"/>
                    </a:lnTo>
                    <a:lnTo>
                      <a:pt x="170" y="40"/>
                    </a:lnTo>
                    <a:lnTo>
                      <a:pt x="158" y="52"/>
                    </a:lnTo>
                    <a:lnTo>
                      <a:pt x="138" y="24"/>
                    </a:lnTo>
                    <a:lnTo>
                      <a:pt x="110" y="14"/>
                    </a:lnTo>
                    <a:lnTo>
                      <a:pt x="98" y="26"/>
                    </a:lnTo>
                    <a:lnTo>
                      <a:pt x="72" y="0"/>
                    </a:lnTo>
                    <a:lnTo>
                      <a:pt x="56" y="16"/>
                    </a:lnTo>
                    <a:lnTo>
                      <a:pt x="34" y="10"/>
                    </a:lnTo>
                    <a:lnTo>
                      <a:pt x="16" y="28"/>
                    </a:lnTo>
                    <a:lnTo>
                      <a:pt x="16" y="58"/>
                    </a:lnTo>
                    <a:lnTo>
                      <a:pt x="28" y="70"/>
                    </a:lnTo>
                    <a:lnTo>
                      <a:pt x="22" y="92"/>
                    </a:lnTo>
                    <a:lnTo>
                      <a:pt x="0" y="94"/>
                    </a:lnTo>
                    <a:lnTo>
                      <a:pt x="12" y="118"/>
                    </a:lnTo>
                    <a:lnTo>
                      <a:pt x="12" y="142"/>
                    </a:lnTo>
                    <a:lnTo>
                      <a:pt x="38" y="150"/>
                    </a:lnTo>
                    <a:lnTo>
                      <a:pt x="46" y="186"/>
                    </a:lnTo>
                    <a:lnTo>
                      <a:pt x="72" y="212"/>
                    </a:lnTo>
                    <a:lnTo>
                      <a:pt x="66" y="240"/>
                    </a:lnTo>
                    <a:lnTo>
                      <a:pt x="86" y="260"/>
                    </a:lnTo>
                    <a:lnTo>
                      <a:pt x="94" y="274"/>
                    </a:lnTo>
                    <a:lnTo>
                      <a:pt x="142" y="274"/>
                    </a:lnTo>
                    <a:lnTo>
                      <a:pt x="156" y="246"/>
                    </a:lnTo>
                    <a:lnTo>
                      <a:pt x="180" y="228"/>
                    </a:lnTo>
                    <a:lnTo>
                      <a:pt x="196" y="232"/>
                    </a:lnTo>
                    <a:lnTo>
                      <a:pt x="204" y="214"/>
                    </a:lnTo>
                    <a:lnTo>
                      <a:pt x="240" y="208"/>
                    </a:lnTo>
                    <a:lnTo>
                      <a:pt x="258" y="164"/>
                    </a:lnTo>
                    <a:lnTo>
                      <a:pt x="290" y="148"/>
                    </a:lnTo>
                    <a:lnTo>
                      <a:pt x="312" y="124"/>
                    </a:lnTo>
                    <a:lnTo>
                      <a:pt x="320" y="8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4" name="Freeform 231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 rot="698053">
                <a:off x="4704000" y="3341474"/>
                <a:ext cx="328542" cy="221357"/>
              </a:xfrm>
              <a:custGeom>
                <a:avLst/>
                <a:gdLst>
                  <a:gd name="T0" fmla="*/ 72 w 429"/>
                  <a:gd name="T1" fmla="*/ 24 h 299"/>
                  <a:gd name="T2" fmla="*/ 106 w 429"/>
                  <a:gd name="T3" fmla="*/ 0 h 299"/>
                  <a:gd name="T4" fmla="*/ 126 w 429"/>
                  <a:gd name="T5" fmla="*/ 10 h 299"/>
                  <a:gd name="T6" fmla="*/ 144 w 429"/>
                  <a:gd name="T7" fmla="*/ 10 h 299"/>
                  <a:gd name="T8" fmla="*/ 164 w 429"/>
                  <a:gd name="T9" fmla="*/ 18 h 299"/>
                  <a:gd name="T10" fmla="*/ 178 w 429"/>
                  <a:gd name="T11" fmla="*/ 14 h 299"/>
                  <a:gd name="T12" fmla="*/ 196 w 429"/>
                  <a:gd name="T13" fmla="*/ 44 h 299"/>
                  <a:gd name="T14" fmla="*/ 229 w 429"/>
                  <a:gd name="T15" fmla="*/ 20 h 299"/>
                  <a:gd name="T16" fmla="*/ 257 w 429"/>
                  <a:gd name="T17" fmla="*/ 20 h 299"/>
                  <a:gd name="T18" fmla="*/ 269 w 429"/>
                  <a:gd name="T19" fmla="*/ 34 h 299"/>
                  <a:gd name="T20" fmla="*/ 253 w 429"/>
                  <a:gd name="T21" fmla="*/ 62 h 299"/>
                  <a:gd name="T22" fmla="*/ 275 w 429"/>
                  <a:gd name="T23" fmla="*/ 94 h 299"/>
                  <a:gd name="T24" fmla="*/ 291 w 429"/>
                  <a:gd name="T25" fmla="*/ 100 h 299"/>
                  <a:gd name="T26" fmla="*/ 291 w 429"/>
                  <a:gd name="T27" fmla="*/ 130 h 299"/>
                  <a:gd name="T28" fmla="*/ 313 w 429"/>
                  <a:gd name="T29" fmla="*/ 134 h 299"/>
                  <a:gd name="T30" fmla="*/ 327 w 429"/>
                  <a:gd name="T31" fmla="*/ 149 h 299"/>
                  <a:gd name="T32" fmla="*/ 351 w 429"/>
                  <a:gd name="T33" fmla="*/ 149 h 299"/>
                  <a:gd name="T34" fmla="*/ 359 w 429"/>
                  <a:gd name="T35" fmla="*/ 167 h 299"/>
                  <a:gd name="T36" fmla="*/ 377 w 429"/>
                  <a:gd name="T37" fmla="*/ 171 h 299"/>
                  <a:gd name="T38" fmla="*/ 373 w 429"/>
                  <a:gd name="T39" fmla="*/ 195 h 299"/>
                  <a:gd name="T40" fmla="*/ 425 w 429"/>
                  <a:gd name="T41" fmla="*/ 227 h 299"/>
                  <a:gd name="T42" fmla="*/ 429 w 429"/>
                  <a:gd name="T43" fmla="*/ 267 h 299"/>
                  <a:gd name="T44" fmla="*/ 413 w 429"/>
                  <a:gd name="T45" fmla="*/ 291 h 299"/>
                  <a:gd name="T46" fmla="*/ 381 w 429"/>
                  <a:gd name="T47" fmla="*/ 291 h 299"/>
                  <a:gd name="T48" fmla="*/ 351 w 429"/>
                  <a:gd name="T49" fmla="*/ 299 h 299"/>
                  <a:gd name="T50" fmla="*/ 327 w 429"/>
                  <a:gd name="T51" fmla="*/ 285 h 299"/>
                  <a:gd name="T52" fmla="*/ 297 w 429"/>
                  <a:gd name="T53" fmla="*/ 291 h 299"/>
                  <a:gd name="T54" fmla="*/ 261 w 429"/>
                  <a:gd name="T55" fmla="*/ 291 h 299"/>
                  <a:gd name="T56" fmla="*/ 227 w 429"/>
                  <a:gd name="T57" fmla="*/ 273 h 299"/>
                  <a:gd name="T58" fmla="*/ 212 w 429"/>
                  <a:gd name="T59" fmla="*/ 273 h 299"/>
                  <a:gd name="T60" fmla="*/ 196 w 429"/>
                  <a:gd name="T61" fmla="*/ 287 h 299"/>
                  <a:gd name="T62" fmla="*/ 170 w 429"/>
                  <a:gd name="T63" fmla="*/ 293 h 299"/>
                  <a:gd name="T64" fmla="*/ 144 w 429"/>
                  <a:gd name="T65" fmla="*/ 279 h 299"/>
                  <a:gd name="T66" fmla="*/ 122 w 429"/>
                  <a:gd name="T67" fmla="*/ 279 h 299"/>
                  <a:gd name="T68" fmla="*/ 92 w 429"/>
                  <a:gd name="T69" fmla="*/ 271 h 299"/>
                  <a:gd name="T70" fmla="*/ 46 w 429"/>
                  <a:gd name="T71" fmla="*/ 271 h 299"/>
                  <a:gd name="T72" fmla="*/ 52 w 429"/>
                  <a:gd name="T73" fmla="*/ 253 h 299"/>
                  <a:gd name="T74" fmla="*/ 72 w 429"/>
                  <a:gd name="T75" fmla="*/ 233 h 299"/>
                  <a:gd name="T76" fmla="*/ 62 w 429"/>
                  <a:gd name="T77" fmla="*/ 207 h 299"/>
                  <a:gd name="T78" fmla="*/ 36 w 429"/>
                  <a:gd name="T79" fmla="*/ 207 h 299"/>
                  <a:gd name="T80" fmla="*/ 32 w 429"/>
                  <a:gd name="T81" fmla="*/ 195 h 299"/>
                  <a:gd name="T82" fmla="*/ 16 w 429"/>
                  <a:gd name="T83" fmla="*/ 193 h 299"/>
                  <a:gd name="T84" fmla="*/ 0 w 429"/>
                  <a:gd name="T85" fmla="*/ 179 h 299"/>
                  <a:gd name="T86" fmla="*/ 4 w 429"/>
                  <a:gd name="T87" fmla="*/ 159 h 299"/>
                  <a:gd name="T88" fmla="*/ 22 w 429"/>
                  <a:gd name="T89" fmla="*/ 159 h 299"/>
                  <a:gd name="T90" fmla="*/ 34 w 429"/>
                  <a:gd name="T91" fmla="*/ 146 h 299"/>
                  <a:gd name="T92" fmla="*/ 26 w 429"/>
                  <a:gd name="T93" fmla="*/ 120 h 299"/>
                  <a:gd name="T94" fmla="*/ 40 w 429"/>
                  <a:gd name="T95" fmla="*/ 108 h 299"/>
                  <a:gd name="T96" fmla="*/ 64 w 429"/>
                  <a:gd name="T97" fmla="*/ 108 h 299"/>
                  <a:gd name="T98" fmla="*/ 76 w 429"/>
                  <a:gd name="T99" fmla="*/ 88 h 299"/>
                  <a:gd name="T100" fmla="*/ 72 w 429"/>
                  <a:gd name="T101" fmla="*/ 54 h 299"/>
                  <a:gd name="T102" fmla="*/ 72 w 429"/>
                  <a:gd name="T103" fmla="*/ 24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29" h="299">
                    <a:moveTo>
                      <a:pt x="72" y="24"/>
                    </a:moveTo>
                    <a:lnTo>
                      <a:pt x="106" y="0"/>
                    </a:lnTo>
                    <a:lnTo>
                      <a:pt x="126" y="10"/>
                    </a:lnTo>
                    <a:lnTo>
                      <a:pt x="144" y="10"/>
                    </a:lnTo>
                    <a:lnTo>
                      <a:pt x="164" y="18"/>
                    </a:lnTo>
                    <a:lnTo>
                      <a:pt x="178" y="14"/>
                    </a:lnTo>
                    <a:lnTo>
                      <a:pt x="196" y="44"/>
                    </a:lnTo>
                    <a:lnTo>
                      <a:pt x="229" y="20"/>
                    </a:lnTo>
                    <a:lnTo>
                      <a:pt x="257" y="20"/>
                    </a:lnTo>
                    <a:lnTo>
                      <a:pt x="269" y="34"/>
                    </a:lnTo>
                    <a:lnTo>
                      <a:pt x="253" y="62"/>
                    </a:lnTo>
                    <a:lnTo>
                      <a:pt x="275" y="94"/>
                    </a:lnTo>
                    <a:lnTo>
                      <a:pt x="291" y="100"/>
                    </a:lnTo>
                    <a:lnTo>
                      <a:pt x="291" y="130"/>
                    </a:lnTo>
                    <a:lnTo>
                      <a:pt x="313" y="134"/>
                    </a:lnTo>
                    <a:lnTo>
                      <a:pt x="327" y="149"/>
                    </a:lnTo>
                    <a:lnTo>
                      <a:pt x="351" y="149"/>
                    </a:lnTo>
                    <a:lnTo>
                      <a:pt x="359" y="167"/>
                    </a:lnTo>
                    <a:lnTo>
                      <a:pt x="377" y="171"/>
                    </a:lnTo>
                    <a:lnTo>
                      <a:pt x="373" y="195"/>
                    </a:lnTo>
                    <a:lnTo>
                      <a:pt x="425" y="227"/>
                    </a:lnTo>
                    <a:lnTo>
                      <a:pt x="429" y="267"/>
                    </a:lnTo>
                    <a:lnTo>
                      <a:pt x="413" y="291"/>
                    </a:lnTo>
                    <a:lnTo>
                      <a:pt x="381" y="291"/>
                    </a:lnTo>
                    <a:lnTo>
                      <a:pt x="351" y="299"/>
                    </a:lnTo>
                    <a:lnTo>
                      <a:pt x="327" y="285"/>
                    </a:lnTo>
                    <a:lnTo>
                      <a:pt x="297" y="291"/>
                    </a:lnTo>
                    <a:lnTo>
                      <a:pt x="261" y="291"/>
                    </a:lnTo>
                    <a:lnTo>
                      <a:pt x="227" y="273"/>
                    </a:lnTo>
                    <a:lnTo>
                      <a:pt x="212" y="273"/>
                    </a:lnTo>
                    <a:lnTo>
                      <a:pt x="196" y="287"/>
                    </a:lnTo>
                    <a:lnTo>
                      <a:pt x="170" y="293"/>
                    </a:lnTo>
                    <a:lnTo>
                      <a:pt x="144" y="279"/>
                    </a:lnTo>
                    <a:lnTo>
                      <a:pt x="122" y="279"/>
                    </a:lnTo>
                    <a:lnTo>
                      <a:pt x="92" y="271"/>
                    </a:lnTo>
                    <a:lnTo>
                      <a:pt x="46" y="271"/>
                    </a:lnTo>
                    <a:lnTo>
                      <a:pt x="52" y="253"/>
                    </a:lnTo>
                    <a:lnTo>
                      <a:pt x="72" y="233"/>
                    </a:lnTo>
                    <a:lnTo>
                      <a:pt x="62" y="207"/>
                    </a:lnTo>
                    <a:lnTo>
                      <a:pt x="36" y="207"/>
                    </a:lnTo>
                    <a:lnTo>
                      <a:pt x="32" y="195"/>
                    </a:lnTo>
                    <a:lnTo>
                      <a:pt x="16" y="193"/>
                    </a:lnTo>
                    <a:lnTo>
                      <a:pt x="0" y="179"/>
                    </a:lnTo>
                    <a:lnTo>
                      <a:pt x="4" y="159"/>
                    </a:lnTo>
                    <a:lnTo>
                      <a:pt x="22" y="159"/>
                    </a:lnTo>
                    <a:lnTo>
                      <a:pt x="34" y="146"/>
                    </a:lnTo>
                    <a:lnTo>
                      <a:pt x="26" y="120"/>
                    </a:lnTo>
                    <a:lnTo>
                      <a:pt x="40" y="108"/>
                    </a:lnTo>
                    <a:lnTo>
                      <a:pt x="64" y="108"/>
                    </a:lnTo>
                    <a:lnTo>
                      <a:pt x="76" y="88"/>
                    </a:lnTo>
                    <a:lnTo>
                      <a:pt x="72" y="54"/>
                    </a:lnTo>
                    <a:lnTo>
                      <a:pt x="72" y="2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5" name="Freeform 232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 rot="698053">
                <a:off x="4290882" y="3091643"/>
                <a:ext cx="354636" cy="448448"/>
              </a:xfrm>
              <a:custGeom>
                <a:avLst/>
                <a:gdLst>
                  <a:gd name="T0" fmla="*/ 441 w 463"/>
                  <a:gd name="T1" fmla="*/ 178 h 607"/>
                  <a:gd name="T2" fmla="*/ 405 w 463"/>
                  <a:gd name="T3" fmla="*/ 154 h 607"/>
                  <a:gd name="T4" fmla="*/ 357 w 463"/>
                  <a:gd name="T5" fmla="*/ 108 h 607"/>
                  <a:gd name="T6" fmla="*/ 325 w 463"/>
                  <a:gd name="T7" fmla="*/ 108 h 607"/>
                  <a:gd name="T8" fmla="*/ 293 w 463"/>
                  <a:gd name="T9" fmla="*/ 68 h 607"/>
                  <a:gd name="T10" fmla="*/ 253 w 463"/>
                  <a:gd name="T11" fmla="*/ 44 h 607"/>
                  <a:gd name="T12" fmla="*/ 227 w 463"/>
                  <a:gd name="T13" fmla="*/ 6 h 607"/>
                  <a:gd name="T14" fmla="*/ 195 w 463"/>
                  <a:gd name="T15" fmla="*/ 14 h 607"/>
                  <a:gd name="T16" fmla="*/ 135 w 463"/>
                  <a:gd name="T17" fmla="*/ 38 h 607"/>
                  <a:gd name="T18" fmla="*/ 147 w 463"/>
                  <a:gd name="T19" fmla="*/ 72 h 607"/>
                  <a:gd name="T20" fmla="*/ 99 w 463"/>
                  <a:gd name="T21" fmla="*/ 94 h 607"/>
                  <a:gd name="T22" fmla="*/ 75 w 463"/>
                  <a:gd name="T23" fmla="*/ 94 h 607"/>
                  <a:gd name="T24" fmla="*/ 65 w 463"/>
                  <a:gd name="T25" fmla="*/ 118 h 607"/>
                  <a:gd name="T26" fmla="*/ 75 w 463"/>
                  <a:gd name="T27" fmla="*/ 138 h 607"/>
                  <a:gd name="T28" fmla="*/ 47 w 463"/>
                  <a:gd name="T29" fmla="*/ 166 h 607"/>
                  <a:gd name="T30" fmla="*/ 26 w 463"/>
                  <a:gd name="T31" fmla="*/ 180 h 607"/>
                  <a:gd name="T32" fmla="*/ 0 w 463"/>
                  <a:gd name="T33" fmla="*/ 200 h 607"/>
                  <a:gd name="T34" fmla="*/ 6 w 463"/>
                  <a:gd name="T35" fmla="*/ 248 h 607"/>
                  <a:gd name="T36" fmla="*/ 8 w 463"/>
                  <a:gd name="T37" fmla="*/ 294 h 607"/>
                  <a:gd name="T38" fmla="*/ 43 w 463"/>
                  <a:gd name="T39" fmla="*/ 322 h 607"/>
                  <a:gd name="T40" fmla="*/ 53 w 463"/>
                  <a:gd name="T41" fmla="*/ 381 h 607"/>
                  <a:gd name="T42" fmla="*/ 55 w 463"/>
                  <a:gd name="T43" fmla="*/ 417 h 607"/>
                  <a:gd name="T44" fmla="*/ 49 w 463"/>
                  <a:gd name="T45" fmla="*/ 457 h 607"/>
                  <a:gd name="T46" fmla="*/ 79 w 463"/>
                  <a:gd name="T47" fmla="*/ 451 h 607"/>
                  <a:gd name="T48" fmla="*/ 111 w 463"/>
                  <a:gd name="T49" fmla="*/ 465 h 607"/>
                  <a:gd name="T50" fmla="*/ 81 w 463"/>
                  <a:gd name="T51" fmla="*/ 495 h 607"/>
                  <a:gd name="T52" fmla="*/ 99 w 463"/>
                  <a:gd name="T53" fmla="*/ 509 h 607"/>
                  <a:gd name="T54" fmla="*/ 87 w 463"/>
                  <a:gd name="T55" fmla="*/ 543 h 607"/>
                  <a:gd name="T56" fmla="*/ 103 w 463"/>
                  <a:gd name="T57" fmla="*/ 563 h 607"/>
                  <a:gd name="T58" fmla="*/ 123 w 463"/>
                  <a:gd name="T59" fmla="*/ 591 h 607"/>
                  <a:gd name="T60" fmla="*/ 151 w 463"/>
                  <a:gd name="T61" fmla="*/ 571 h 607"/>
                  <a:gd name="T62" fmla="*/ 169 w 463"/>
                  <a:gd name="T63" fmla="*/ 593 h 607"/>
                  <a:gd name="T64" fmla="*/ 201 w 463"/>
                  <a:gd name="T65" fmla="*/ 607 h 607"/>
                  <a:gd name="T66" fmla="*/ 229 w 463"/>
                  <a:gd name="T67" fmla="*/ 567 h 607"/>
                  <a:gd name="T68" fmla="*/ 259 w 463"/>
                  <a:gd name="T69" fmla="*/ 545 h 607"/>
                  <a:gd name="T70" fmla="*/ 279 w 463"/>
                  <a:gd name="T71" fmla="*/ 491 h 607"/>
                  <a:gd name="T72" fmla="*/ 293 w 463"/>
                  <a:gd name="T73" fmla="*/ 469 h 607"/>
                  <a:gd name="T74" fmla="*/ 311 w 463"/>
                  <a:gd name="T75" fmla="*/ 429 h 607"/>
                  <a:gd name="T76" fmla="*/ 359 w 463"/>
                  <a:gd name="T77" fmla="*/ 395 h 607"/>
                  <a:gd name="T78" fmla="*/ 381 w 463"/>
                  <a:gd name="T79" fmla="*/ 383 h 607"/>
                  <a:gd name="T80" fmla="*/ 407 w 463"/>
                  <a:gd name="T81" fmla="*/ 397 h 607"/>
                  <a:gd name="T82" fmla="*/ 397 w 463"/>
                  <a:gd name="T83" fmla="*/ 340 h 607"/>
                  <a:gd name="T84" fmla="*/ 351 w 463"/>
                  <a:gd name="T85" fmla="*/ 340 h 607"/>
                  <a:gd name="T86" fmla="*/ 301 w 463"/>
                  <a:gd name="T87" fmla="*/ 310 h 607"/>
                  <a:gd name="T88" fmla="*/ 283 w 463"/>
                  <a:gd name="T89" fmla="*/ 262 h 607"/>
                  <a:gd name="T90" fmla="*/ 307 w 463"/>
                  <a:gd name="T91" fmla="*/ 214 h 607"/>
                  <a:gd name="T92" fmla="*/ 349 w 463"/>
                  <a:gd name="T93" fmla="*/ 230 h 607"/>
                  <a:gd name="T94" fmla="*/ 365 w 463"/>
                  <a:gd name="T95" fmla="*/ 264 h 607"/>
                  <a:gd name="T96" fmla="*/ 409 w 463"/>
                  <a:gd name="T97" fmla="*/ 256 h 607"/>
                  <a:gd name="T98" fmla="*/ 441 w 463"/>
                  <a:gd name="T99" fmla="*/ 232 h 607"/>
                  <a:gd name="T100" fmla="*/ 463 w 463"/>
                  <a:gd name="T101" fmla="*/ 182 h 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63" h="607">
                    <a:moveTo>
                      <a:pt x="457" y="160"/>
                    </a:moveTo>
                    <a:lnTo>
                      <a:pt x="441" y="178"/>
                    </a:lnTo>
                    <a:lnTo>
                      <a:pt x="425" y="154"/>
                    </a:lnTo>
                    <a:lnTo>
                      <a:pt x="405" y="154"/>
                    </a:lnTo>
                    <a:lnTo>
                      <a:pt x="375" y="132"/>
                    </a:lnTo>
                    <a:lnTo>
                      <a:pt x="357" y="108"/>
                    </a:lnTo>
                    <a:lnTo>
                      <a:pt x="341" y="114"/>
                    </a:lnTo>
                    <a:lnTo>
                      <a:pt x="325" y="108"/>
                    </a:lnTo>
                    <a:lnTo>
                      <a:pt x="315" y="72"/>
                    </a:lnTo>
                    <a:lnTo>
                      <a:pt x="293" y="68"/>
                    </a:lnTo>
                    <a:lnTo>
                      <a:pt x="281" y="44"/>
                    </a:lnTo>
                    <a:lnTo>
                      <a:pt x="253" y="44"/>
                    </a:lnTo>
                    <a:lnTo>
                      <a:pt x="227" y="22"/>
                    </a:lnTo>
                    <a:lnTo>
                      <a:pt x="227" y="6"/>
                    </a:lnTo>
                    <a:lnTo>
                      <a:pt x="209" y="0"/>
                    </a:lnTo>
                    <a:lnTo>
                      <a:pt x="195" y="14"/>
                    </a:lnTo>
                    <a:lnTo>
                      <a:pt x="143" y="30"/>
                    </a:lnTo>
                    <a:lnTo>
                      <a:pt x="135" y="38"/>
                    </a:lnTo>
                    <a:lnTo>
                      <a:pt x="147" y="54"/>
                    </a:lnTo>
                    <a:lnTo>
                      <a:pt x="147" y="72"/>
                    </a:lnTo>
                    <a:lnTo>
                      <a:pt x="119" y="94"/>
                    </a:lnTo>
                    <a:lnTo>
                      <a:pt x="99" y="94"/>
                    </a:lnTo>
                    <a:lnTo>
                      <a:pt x="83" y="100"/>
                    </a:lnTo>
                    <a:lnTo>
                      <a:pt x="75" y="94"/>
                    </a:lnTo>
                    <a:lnTo>
                      <a:pt x="61" y="100"/>
                    </a:lnTo>
                    <a:lnTo>
                      <a:pt x="65" y="118"/>
                    </a:lnTo>
                    <a:lnTo>
                      <a:pt x="65" y="130"/>
                    </a:lnTo>
                    <a:lnTo>
                      <a:pt x="75" y="138"/>
                    </a:lnTo>
                    <a:lnTo>
                      <a:pt x="65" y="150"/>
                    </a:lnTo>
                    <a:lnTo>
                      <a:pt x="47" y="166"/>
                    </a:lnTo>
                    <a:lnTo>
                      <a:pt x="32" y="166"/>
                    </a:lnTo>
                    <a:lnTo>
                      <a:pt x="26" y="180"/>
                    </a:lnTo>
                    <a:lnTo>
                      <a:pt x="16" y="194"/>
                    </a:lnTo>
                    <a:lnTo>
                      <a:pt x="0" y="200"/>
                    </a:lnTo>
                    <a:lnTo>
                      <a:pt x="8" y="214"/>
                    </a:lnTo>
                    <a:lnTo>
                      <a:pt x="6" y="248"/>
                    </a:lnTo>
                    <a:lnTo>
                      <a:pt x="16" y="258"/>
                    </a:lnTo>
                    <a:lnTo>
                      <a:pt x="8" y="294"/>
                    </a:lnTo>
                    <a:lnTo>
                      <a:pt x="24" y="304"/>
                    </a:lnTo>
                    <a:lnTo>
                      <a:pt x="43" y="322"/>
                    </a:lnTo>
                    <a:lnTo>
                      <a:pt x="53" y="352"/>
                    </a:lnTo>
                    <a:lnTo>
                      <a:pt x="53" y="381"/>
                    </a:lnTo>
                    <a:lnTo>
                      <a:pt x="63" y="399"/>
                    </a:lnTo>
                    <a:lnTo>
                      <a:pt x="55" y="417"/>
                    </a:lnTo>
                    <a:lnTo>
                      <a:pt x="55" y="443"/>
                    </a:lnTo>
                    <a:lnTo>
                      <a:pt x="49" y="457"/>
                    </a:lnTo>
                    <a:lnTo>
                      <a:pt x="65" y="465"/>
                    </a:lnTo>
                    <a:lnTo>
                      <a:pt x="79" y="451"/>
                    </a:lnTo>
                    <a:lnTo>
                      <a:pt x="101" y="451"/>
                    </a:lnTo>
                    <a:lnTo>
                      <a:pt x="111" y="465"/>
                    </a:lnTo>
                    <a:lnTo>
                      <a:pt x="101" y="485"/>
                    </a:lnTo>
                    <a:lnTo>
                      <a:pt x="81" y="495"/>
                    </a:lnTo>
                    <a:lnTo>
                      <a:pt x="85" y="505"/>
                    </a:lnTo>
                    <a:lnTo>
                      <a:pt x="99" y="509"/>
                    </a:lnTo>
                    <a:lnTo>
                      <a:pt x="95" y="535"/>
                    </a:lnTo>
                    <a:lnTo>
                      <a:pt x="87" y="543"/>
                    </a:lnTo>
                    <a:lnTo>
                      <a:pt x="91" y="563"/>
                    </a:lnTo>
                    <a:lnTo>
                      <a:pt x="103" y="563"/>
                    </a:lnTo>
                    <a:lnTo>
                      <a:pt x="107" y="575"/>
                    </a:lnTo>
                    <a:lnTo>
                      <a:pt x="123" y="591"/>
                    </a:lnTo>
                    <a:lnTo>
                      <a:pt x="139" y="583"/>
                    </a:lnTo>
                    <a:lnTo>
                      <a:pt x="151" y="571"/>
                    </a:lnTo>
                    <a:lnTo>
                      <a:pt x="165" y="579"/>
                    </a:lnTo>
                    <a:lnTo>
                      <a:pt x="169" y="593"/>
                    </a:lnTo>
                    <a:lnTo>
                      <a:pt x="183" y="603"/>
                    </a:lnTo>
                    <a:lnTo>
                      <a:pt x="201" y="607"/>
                    </a:lnTo>
                    <a:lnTo>
                      <a:pt x="217" y="595"/>
                    </a:lnTo>
                    <a:lnTo>
                      <a:pt x="229" y="567"/>
                    </a:lnTo>
                    <a:lnTo>
                      <a:pt x="237" y="553"/>
                    </a:lnTo>
                    <a:lnTo>
                      <a:pt x="259" y="545"/>
                    </a:lnTo>
                    <a:lnTo>
                      <a:pt x="261" y="525"/>
                    </a:lnTo>
                    <a:lnTo>
                      <a:pt x="279" y="491"/>
                    </a:lnTo>
                    <a:lnTo>
                      <a:pt x="293" y="491"/>
                    </a:lnTo>
                    <a:lnTo>
                      <a:pt x="293" y="469"/>
                    </a:lnTo>
                    <a:lnTo>
                      <a:pt x="311" y="445"/>
                    </a:lnTo>
                    <a:lnTo>
                      <a:pt x="311" y="429"/>
                    </a:lnTo>
                    <a:lnTo>
                      <a:pt x="339" y="403"/>
                    </a:lnTo>
                    <a:lnTo>
                      <a:pt x="359" y="395"/>
                    </a:lnTo>
                    <a:lnTo>
                      <a:pt x="359" y="385"/>
                    </a:lnTo>
                    <a:lnTo>
                      <a:pt x="381" y="383"/>
                    </a:lnTo>
                    <a:lnTo>
                      <a:pt x="391" y="397"/>
                    </a:lnTo>
                    <a:lnTo>
                      <a:pt x="407" y="397"/>
                    </a:lnTo>
                    <a:lnTo>
                      <a:pt x="407" y="371"/>
                    </a:lnTo>
                    <a:lnTo>
                      <a:pt x="397" y="340"/>
                    </a:lnTo>
                    <a:lnTo>
                      <a:pt x="365" y="330"/>
                    </a:lnTo>
                    <a:lnTo>
                      <a:pt x="351" y="340"/>
                    </a:lnTo>
                    <a:lnTo>
                      <a:pt x="317" y="336"/>
                    </a:lnTo>
                    <a:lnTo>
                      <a:pt x="301" y="310"/>
                    </a:lnTo>
                    <a:lnTo>
                      <a:pt x="297" y="274"/>
                    </a:lnTo>
                    <a:lnTo>
                      <a:pt x="283" y="262"/>
                    </a:lnTo>
                    <a:lnTo>
                      <a:pt x="279" y="236"/>
                    </a:lnTo>
                    <a:lnTo>
                      <a:pt x="307" y="214"/>
                    </a:lnTo>
                    <a:lnTo>
                      <a:pt x="327" y="220"/>
                    </a:lnTo>
                    <a:lnTo>
                      <a:pt x="349" y="230"/>
                    </a:lnTo>
                    <a:lnTo>
                      <a:pt x="365" y="246"/>
                    </a:lnTo>
                    <a:lnTo>
                      <a:pt x="365" y="264"/>
                    </a:lnTo>
                    <a:lnTo>
                      <a:pt x="393" y="274"/>
                    </a:lnTo>
                    <a:lnTo>
                      <a:pt x="409" y="256"/>
                    </a:lnTo>
                    <a:lnTo>
                      <a:pt x="441" y="248"/>
                    </a:lnTo>
                    <a:lnTo>
                      <a:pt x="441" y="232"/>
                    </a:lnTo>
                    <a:lnTo>
                      <a:pt x="457" y="202"/>
                    </a:lnTo>
                    <a:lnTo>
                      <a:pt x="463" y="182"/>
                    </a:lnTo>
                    <a:lnTo>
                      <a:pt x="457" y="16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6" name="Freeform 233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 rot="698053">
                <a:off x="4005073" y="2217097"/>
                <a:ext cx="527803" cy="414040"/>
              </a:xfrm>
              <a:custGeom>
                <a:avLst/>
                <a:gdLst>
                  <a:gd name="T0" fmla="*/ 84 w 691"/>
                  <a:gd name="T1" fmla="*/ 278 h 560"/>
                  <a:gd name="T2" fmla="*/ 72 w 691"/>
                  <a:gd name="T3" fmla="*/ 250 h 560"/>
                  <a:gd name="T4" fmla="*/ 24 w 691"/>
                  <a:gd name="T5" fmla="*/ 240 h 560"/>
                  <a:gd name="T6" fmla="*/ 36 w 691"/>
                  <a:gd name="T7" fmla="*/ 212 h 560"/>
                  <a:gd name="T8" fmla="*/ 0 w 691"/>
                  <a:gd name="T9" fmla="*/ 176 h 560"/>
                  <a:gd name="T10" fmla="*/ 28 w 691"/>
                  <a:gd name="T11" fmla="*/ 134 h 560"/>
                  <a:gd name="T12" fmla="*/ 62 w 691"/>
                  <a:gd name="T13" fmla="*/ 126 h 560"/>
                  <a:gd name="T14" fmla="*/ 96 w 691"/>
                  <a:gd name="T15" fmla="*/ 100 h 560"/>
                  <a:gd name="T16" fmla="*/ 116 w 691"/>
                  <a:gd name="T17" fmla="*/ 58 h 560"/>
                  <a:gd name="T18" fmla="*/ 166 w 691"/>
                  <a:gd name="T19" fmla="*/ 14 h 560"/>
                  <a:gd name="T20" fmla="*/ 206 w 691"/>
                  <a:gd name="T21" fmla="*/ 8 h 560"/>
                  <a:gd name="T22" fmla="*/ 250 w 691"/>
                  <a:gd name="T23" fmla="*/ 4 h 560"/>
                  <a:gd name="T24" fmla="*/ 290 w 691"/>
                  <a:gd name="T25" fmla="*/ 8 h 560"/>
                  <a:gd name="T26" fmla="*/ 310 w 691"/>
                  <a:gd name="T27" fmla="*/ 32 h 560"/>
                  <a:gd name="T28" fmla="*/ 308 w 691"/>
                  <a:gd name="T29" fmla="*/ 92 h 560"/>
                  <a:gd name="T30" fmla="*/ 300 w 691"/>
                  <a:gd name="T31" fmla="*/ 116 h 560"/>
                  <a:gd name="T32" fmla="*/ 322 w 691"/>
                  <a:gd name="T33" fmla="*/ 162 h 560"/>
                  <a:gd name="T34" fmla="*/ 344 w 691"/>
                  <a:gd name="T35" fmla="*/ 190 h 560"/>
                  <a:gd name="T36" fmla="*/ 358 w 691"/>
                  <a:gd name="T37" fmla="*/ 208 h 560"/>
                  <a:gd name="T38" fmla="*/ 384 w 691"/>
                  <a:gd name="T39" fmla="*/ 220 h 560"/>
                  <a:gd name="T40" fmla="*/ 400 w 691"/>
                  <a:gd name="T41" fmla="*/ 246 h 560"/>
                  <a:gd name="T42" fmla="*/ 446 w 691"/>
                  <a:gd name="T43" fmla="*/ 254 h 560"/>
                  <a:gd name="T44" fmla="*/ 472 w 691"/>
                  <a:gd name="T45" fmla="*/ 266 h 560"/>
                  <a:gd name="T46" fmla="*/ 494 w 691"/>
                  <a:gd name="T47" fmla="*/ 300 h 560"/>
                  <a:gd name="T48" fmla="*/ 504 w 691"/>
                  <a:gd name="T49" fmla="*/ 320 h 560"/>
                  <a:gd name="T50" fmla="*/ 538 w 691"/>
                  <a:gd name="T51" fmla="*/ 324 h 560"/>
                  <a:gd name="T52" fmla="*/ 550 w 691"/>
                  <a:gd name="T53" fmla="*/ 318 h 560"/>
                  <a:gd name="T54" fmla="*/ 564 w 691"/>
                  <a:gd name="T55" fmla="*/ 336 h 560"/>
                  <a:gd name="T56" fmla="*/ 580 w 691"/>
                  <a:gd name="T57" fmla="*/ 346 h 560"/>
                  <a:gd name="T58" fmla="*/ 596 w 691"/>
                  <a:gd name="T59" fmla="*/ 364 h 560"/>
                  <a:gd name="T60" fmla="*/ 620 w 691"/>
                  <a:gd name="T61" fmla="*/ 360 h 560"/>
                  <a:gd name="T62" fmla="*/ 641 w 691"/>
                  <a:gd name="T63" fmla="*/ 354 h 560"/>
                  <a:gd name="T64" fmla="*/ 639 w 691"/>
                  <a:gd name="T65" fmla="*/ 384 h 560"/>
                  <a:gd name="T66" fmla="*/ 655 w 691"/>
                  <a:gd name="T67" fmla="*/ 400 h 560"/>
                  <a:gd name="T68" fmla="*/ 681 w 691"/>
                  <a:gd name="T69" fmla="*/ 406 h 560"/>
                  <a:gd name="T70" fmla="*/ 691 w 691"/>
                  <a:gd name="T71" fmla="*/ 434 h 560"/>
                  <a:gd name="T72" fmla="*/ 643 w 691"/>
                  <a:gd name="T73" fmla="*/ 482 h 560"/>
                  <a:gd name="T74" fmla="*/ 602 w 691"/>
                  <a:gd name="T75" fmla="*/ 482 h 560"/>
                  <a:gd name="T76" fmla="*/ 614 w 691"/>
                  <a:gd name="T77" fmla="*/ 522 h 560"/>
                  <a:gd name="T78" fmla="*/ 604 w 691"/>
                  <a:gd name="T79" fmla="*/ 556 h 560"/>
                  <a:gd name="T80" fmla="*/ 558 w 691"/>
                  <a:gd name="T81" fmla="*/ 554 h 560"/>
                  <a:gd name="T82" fmla="*/ 516 w 691"/>
                  <a:gd name="T83" fmla="*/ 560 h 560"/>
                  <a:gd name="T84" fmla="*/ 470 w 691"/>
                  <a:gd name="T85" fmla="*/ 518 h 560"/>
                  <a:gd name="T86" fmla="*/ 440 w 691"/>
                  <a:gd name="T87" fmla="*/ 482 h 560"/>
                  <a:gd name="T88" fmla="*/ 378 w 691"/>
                  <a:gd name="T89" fmla="*/ 448 h 560"/>
                  <a:gd name="T90" fmla="*/ 334 w 691"/>
                  <a:gd name="T91" fmla="*/ 424 h 560"/>
                  <a:gd name="T92" fmla="*/ 272 w 691"/>
                  <a:gd name="T93" fmla="*/ 420 h 560"/>
                  <a:gd name="T94" fmla="*/ 212 w 691"/>
                  <a:gd name="T95" fmla="*/ 400 h 560"/>
                  <a:gd name="T96" fmla="*/ 212 w 691"/>
                  <a:gd name="T97" fmla="*/ 348 h 560"/>
                  <a:gd name="T98" fmla="*/ 174 w 691"/>
                  <a:gd name="T99" fmla="*/ 336 h 560"/>
                  <a:gd name="T100" fmla="*/ 126 w 691"/>
                  <a:gd name="T101" fmla="*/ 300 h 560"/>
                  <a:gd name="T102" fmla="*/ 84 w 691"/>
                  <a:gd name="T103" fmla="*/ 304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1" h="560">
                    <a:moveTo>
                      <a:pt x="84" y="304"/>
                    </a:moveTo>
                    <a:lnTo>
                      <a:pt x="84" y="278"/>
                    </a:lnTo>
                    <a:lnTo>
                      <a:pt x="92" y="256"/>
                    </a:lnTo>
                    <a:lnTo>
                      <a:pt x="72" y="250"/>
                    </a:lnTo>
                    <a:lnTo>
                      <a:pt x="52" y="254"/>
                    </a:lnTo>
                    <a:lnTo>
                      <a:pt x="24" y="240"/>
                    </a:lnTo>
                    <a:lnTo>
                      <a:pt x="34" y="232"/>
                    </a:lnTo>
                    <a:lnTo>
                      <a:pt x="36" y="212"/>
                    </a:lnTo>
                    <a:lnTo>
                      <a:pt x="20" y="184"/>
                    </a:lnTo>
                    <a:lnTo>
                      <a:pt x="0" y="176"/>
                    </a:lnTo>
                    <a:lnTo>
                      <a:pt x="14" y="148"/>
                    </a:lnTo>
                    <a:lnTo>
                      <a:pt x="28" y="134"/>
                    </a:lnTo>
                    <a:lnTo>
                      <a:pt x="54" y="138"/>
                    </a:lnTo>
                    <a:lnTo>
                      <a:pt x="62" y="126"/>
                    </a:lnTo>
                    <a:lnTo>
                      <a:pt x="80" y="122"/>
                    </a:lnTo>
                    <a:lnTo>
                      <a:pt x="96" y="100"/>
                    </a:lnTo>
                    <a:lnTo>
                      <a:pt x="104" y="82"/>
                    </a:lnTo>
                    <a:lnTo>
                      <a:pt x="116" y="58"/>
                    </a:lnTo>
                    <a:lnTo>
                      <a:pt x="146" y="42"/>
                    </a:lnTo>
                    <a:lnTo>
                      <a:pt x="166" y="14"/>
                    </a:lnTo>
                    <a:lnTo>
                      <a:pt x="180" y="22"/>
                    </a:lnTo>
                    <a:lnTo>
                      <a:pt x="206" y="8"/>
                    </a:lnTo>
                    <a:lnTo>
                      <a:pt x="228" y="0"/>
                    </a:lnTo>
                    <a:lnTo>
                      <a:pt x="250" y="4"/>
                    </a:lnTo>
                    <a:lnTo>
                      <a:pt x="268" y="14"/>
                    </a:lnTo>
                    <a:lnTo>
                      <a:pt x="290" y="8"/>
                    </a:lnTo>
                    <a:lnTo>
                      <a:pt x="308" y="20"/>
                    </a:lnTo>
                    <a:lnTo>
                      <a:pt x="310" y="32"/>
                    </a:lnTo>
                    <a:lnTo>
                      <a:pt x="328" y="52"/>
                    </a:lnTo>
                    <a:lnTo>
                      <a:pt x="308" y="92"/>
                    </a:lnTo>
                    <a:lnTo>
                      <a:pt x="310" y="106"/>
                    </a:lnTo>
                    <a:lnTo>
                      <a:pt x="300" y="116"/>
                    </a:lnTo>
                    <a:lnTo>
                      <a:pt x="308" y="152"/>
                    </a:lnTo>
                    <a:lnTo>
                      <a:pt x="322" y="162"/>
                    </a:lnTo>
                    <a:lnTo>
                      <a:pt x="322" y="178"/>
                    </a:lnTo>
                    <a:lnTo>
                      <a:pt x="344" y="190"/>
                    </a:lnTo>
                    <a:lnTo>
                      <a:pt x="348" y="202"/>
                    </a:lnTo>
                    <a:lnTo>
                      <a:pt x="358" y="208"/>
                    </a:lnTo>
                    <a:lnTo>
                      <a:pt x="370" y="220"/>
                    </a:lnTo>
                    <a:lnTo>
                      <a:pt x="384" y="220"/>
                    </a:lnTo>
                    <a:lnTo>
                      <a:pt x="394" y="232"/>
                    </a:lnTo>
                    <a:lnTo>
                      <a:pt x="400" y="246"/>
                    </a:lnTo>
                    <a:lnTo>
                      <a:pt x="426" y="248"/>
                    </a:lnTo>
                    <a:lnTo>
                      <a:pt x="446" y="254"/>
                    </a:lnTo>
                    <a:lnTo>
                      <a:pt x="456" y="262"/>
                    </a:lnTo>
                    <a:lnTo>
                      <a:pt x="472" y="266"/>
                    </a:lnTo>
                    <a:lnTo>
                      <a:pt x="478" y="284"/>
                    </a:lnTo>
                    <a:lnTo>
                      <a:pt x="494" y="300"/>
                    </a:lnTo>
                    <a:lnTo>
                      <a:pt x="504" y="306"/>
                    </a:lnTo>
                    <a:lnTo>
                      <a:pt x="504" y="320"/>
                    </a:lnTo>
                    <a:lnTo>
                      <a:pt x="516" y="324"/>
                    </a:lnTo>
                    <a:lnTo>
                      <a:pt x="538" y="324"/>
                    </a:lnTo>
                    <a:lnTo>
                      <a:pt x="538" y="316"/>
                    </a:lnTo>
                    <a:lnTo>
                      <a:pt x="550" y="318"/>
                    </a:lnTo>
                    <a:lnTo>
                      <a:pt x="564" y="318"/>
                    </a:lnTo>
                    <a:lnTo>
                      <a:pt x="564" y="336"/>
                    </a:lnTo>
                    <a:lnTo>
                      <a:pt x="572" y="346"/>
                    </a:lnTo>
                    <a:lnTo>
                      <a:pt x="580" y="346"/>
                    </a:lnTo>
                    <a:lnTo>
                      <a:pt x="580" y="356"/>
                    </a:lnTo>
                    <a:lnTo>
                      <a:pt x="596" y="364"/>
                    </a:lnTo>
                    <a:lnTo>
                      <a:pt x="606" y="374"/>
                    </a:lnTo>
                    <a:lnTo>
                      <a:pt x="620" y="360"/>
                    </a:lnTo>
                    <a:lnTo>
                      <a:pt x="624" y="348"/>
                    </a:lnTo>
                    <a:lnTo>
                      <a:pt x="641" y="354"/>
                    </a:lnTo>
                    <a:lnTo>
                      <a:pt x="651" y="372"/>
                    </a:lnTo>
                    <a:lnTo>
                      <a:pt x="639" y="384"/>
                    </a:lnTo>
                    <a:lnTo>
                      <a:pt x="655" y="392"/>
                    </a:lnTo>
                    <a:lnTo>
                      <a:pt x="655" y="400"/>
                    </a:lnTo>
                    <a:lnTo>
                      <a:pt x="665" y="400"/>
                    </a:lnTo>
                    <a:lnTo>
                      <a:pt x="681" y="406"/>
                    </a:lnTo>
                    <a:lnTo>
                      <a:pt x="673" y="412"/>
                    </a:lnTo>
                    <a:lnTo>
                      <a:pt x="691" y="434"/>
                    </a:lnTo>
                    <a:lnTo>
                      <a:pt x="661" y="464"/>
                    </a:lnTo>
                    <a:lnTo>
                      <a:pt x="643" y="482"/>
                    </a:lnTo>
                    <a:lnTo>
                      <a:pt x="618" y="470"/>
                    </a:lnTo>
                    <a:lnTo>
                      <a:pt x="602" y="482"/>
                    </a:lnTo>
                    <a:lnTo>
                      <a:pt x="633" y="514"/>
                    </a:lnTo>
                    <a:lnTo>
                      <a:pt x="614" y="522"/>
                    </a:lnTo>
                    <a:lnTo>
                      <a:pt x="614" y="548"/>
                    </a:lnTo>
                    <a:lnTo>
                      <a:pt x="604" y="556"/>
                    </a:lnTo>
                    <a:lnTo>
                      <a:pt x="574" y="528"/>
                    </a:lnTo>
                    <a:lnTo>
                      <a:pt x="558" y="554"/>
                    </a:lnTo>
                    <a:lnTo>
                      <a:pt x="528" y="548"/>
                    </a:lnTo>
                    <a:lnTo>
                      <a:pt x="516" y="560"/>
                    </a:lnTo>
                    <a:lnTo>
                      <a:pt x="498" y="534"/>
                    </a:lnTo>
                    <a:lnTo>
                      <a:pt x="470" y="518"/>
                    </a:lnTo>
                    <a:lnTo>
                      <a:pt x="448" y="508"/>
                    </a:lnTo>
                    <a:lnTo>
                      <a:pt x="440" y="482"/>
                    </a:lnTo>
                    <a:lnTo>
                      <a:pt x="412" y="456"/>
                    </a:lnTo>
                    <a:lnTo>
                      <a:pt x="378" y="448"/>
                    </a:lnTo>
                    <a:lnTo>
                      <a:pt x="360" y="412"/>
                    </a:lnTo>
                    <a:lnTo>
                      <a:pt x="334" y="424"/>
                    </a:lnTo>
                    <a:lnTo>
                      <a:pt x="304" y="412"/>
                    </a:lnTo>
                    <a:lnTo>
                      <a:pt x="272" y="420"/>
                    </a:lnTo>
                    <a:lnTo>
                      <a:pt x="242" y="432"/>
                    </a:lnTo>
                    <a:lnTo>
                      <a:pt x="212" y="400"/>
                    </a:lnTo>
                    <a:lnTo>
                      <a:pt x="212" y="372"/>
                    </a:lnTo>
                    <a:lnTo>
                      <a:pt x="212" y="348"/>
                    </a:lnTo>
                    <a:lnTo>
                      <a:pt x="186" y="324"/>
                    </a:lnTo>
                    <a:lnTo>
                      <a:pt x="174" y="336"/>
                    </a:lnTo>
                    <a:lnTo>
                      <a:pt x="140" y="314"/>
                    </a:lnTo>
                    <a:lnTo>
                      <a:pt x="126" y="300"/>
                    </a:lnTo>
                    <a:lnTo>
                      <a:pt x="102" y="302"/>
                    </a:lnTo>
                    <a:lnTo>
                      <a:pt x="84" y="30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7" name="Freeform 234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 rot="698053">
                <a:off x="3969754" y="2397173"/>
                <a:ext cx="205191" cy="172039"/>
              </a:xfrm>
              <a:custGeom>
                <a:avLst/>
                <a:gdLst>
                  <a:gd name="T0" fmla="*/ 84 w 268"/>
                  <a:gd name="T1" fmla="*/ 16 h 232"/>
                  <a:gd name="T2" fmla="*/ 110 w 268"/>
                  <a:gd name="T3" fmla="*/ 4 h 232"/>
                  <a:gd name="T4" fmla="*/ 128 w 268"/>
                  <a:gd name="T5" fmla="*/ 2 h 232"/>
                  <a:gd name="T6" fmla="*/ 152 w 268"/>
                  <a:gd name="T7" fmla="*/ 0 h 232"/>
                  <a:gd name="T8" fmla="*/ 166 w 268"/>
                  <a:gd name="T9" fmla="*/ 14 h 232"/>
                  <a:gd name="T10" fmla="*/ 200 w 268"/>
                  <a:gd name="T11" fmla="*/ 36 h 232"/>
                  <a:gd name="T12" fmla="*/ 212 w 268"/>
                  <a:gd name="T13" fmla="*/ 24 h 232"/>
                  <a:gd name="T14" fmla="*/ 238 w 268"/>
                  <a:gd name="T15" fmla="*/ 48 h 232"/>
                  <a:gd name="T16" fmla="*/ 238 w 268"/>
                  <a:gd name="T17" fmla="*/ 100 h 232"/>
                  <a:gd name="T18" fmla="*/ 268 w 268"/>
                  <a:gd name="T19" fmla="*/ 132 h 232"/>
                  <a:gd name="T20" fmla="*/ 268 w 268"/>
                  <a:gd name="T21" fmla="*/ 156 h 232"/>
                  <a:gd name="T22" fmla="*/ 234 w 268"/>
                  <a:gd name="T23" fmla="*/ 158 h 232"/>
                  <a:gd name="T24" fmla="*/ 226 w 268"/>
                  <a:gd name="T25" fmla="*/ 176 h 232"/>
                  <a:gd name="T26" fmla="*/ 208 w 268"/>
                  <a:gd name="T27" fmla="*/ 176 h 232"/>
                  <a:gd name="T28" fmla="*/ 182 w 268"/>
                  <a:gd name="T29" fmla="*/ 202 h 232"/>
                  <a:gd name="T30" fmla="*/ 166 w 268"/>
                  <a:gd name="T31" fmla="*/ 202 h 232"/>
                  <a:gd name="T32" fmla="*/ 158 w 268"/>
                  <a:gd name="T33" fmla="*/ 222 h 232"/>
                  <a:gd name="T34" fmla="*/ 132 w 268"/>
                  <a:gd name="T35" fmla="*/ 216 h 232"/>
                  <a:gd name="T36" fmla="*/ 120 w 268"/>
                  <a:gd name="T37" fmla="*/ 202 h 232"/>
                  <a:gd name="T38" fmla="*/ 88 w 268"/>
                  <a:gd name="T39" fmla="*/ 202 h 232"/>
                  <a:gd name="T40" fmla="*/ 70 w 268"/>
                  <a:gd name="T41" fmla="*/ 222 h 232"/>
                  <a:gd name="T42" fmla="*/ 48 w 268"/>
                  <a:gd name="T43" fmla="*/ 222 h 232"/>
                  <a:gd name="T44" fmla="*/ 36 w 268"/>
                  <a:gd name="T45" fmla="*/ 232 h 232"/>
                  <a:gd name="T46" fmla="*/ 20 w 268"/>
                  <a:gd name="T47" fmla="*/ 216 h 232"/>
                  <a:gd name="T48" fmla="*/ 6 w 268"/>
                  <a:gd name="T49" fmla="*/ 204 h 232"/>
                  <a:gd name="T50" fmla="*/ 4 w 268"/>
                  <a:gd name="T51" fmla="*/ 192 h 232"/>
                  <a:gd name="T52" fmla="*/ 0 w 268"/>
                  <a:gd name="T53" fmla="*/ 176 h 232"/>
                  <a:gd name="T54" fmla="*/ 10 w 268"/>
                  <a:gd name="T55" fmla="*/ 164 h 232"/>
                  <a:gd name="T56" fmla="*/ 24 w 268"/>
                  <a:gd name="T57" fmla="*/ 150 h 232"/>
                  <a:gd name="T58" fmla="*/ 50 w 268"/>
                  <a:gd name="T59" fmla="*/ 132 h 232"/>
                  <a:gd name="T60" fmla="*/ 42 w 268"/>
                  <a:gd name="T61" fmla="*/ 112 h 232"/>
                  <a:gd name="T62" fmla="*/ 42 w 268"/>
                  <a:gd name="T63" fmla="*/ 98 h 232"/>
                  <a:gd name="T64" fmla="*/ 56 w 268"/>
                  <a:gd name="T65" fmla="*/ 84 h 232"/>
                  <a:gd name="T66" fmla="*/ 50 w 268"/>
                  <a:gd name="T67" fmla="*/ 60 h 232"/>
                  <a:gd name="T68" fmla="*/ 58 w 268"/>
                  <a:gd name="T69" fmla="*/ 44 h 232"/>
                  <a:gd name="T70" fmla="*/ 76 w 268"/>
                  <a:gd name="T71" fmla="*/ 44 h 232"/>
                  <a:gd name="T72" fmla="*/ 84 w 268"/>
                  <a:gd name="T73" fmla="*/ 1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8" h="232">
                    <a:moveTo>
                      <a:pt x="84" y="16"/>
                    </a:moveTo>
                    <a:lnTo>
                      <a:pt x="110" y="4"/>
                    </a:lnTo>
                    <a:lnTo>
                      <a:pt x="128" y="2"/>
                    </a:lnTo>
                    <a:lnTo>
                      <a:pt x="152" y="0"/>
                    </a:lnTo>
                    <a:lnTo>
                      <a:pt x="166" y="14"/>
                    </a:lnTo>
                    <a:lnTo>
                      <a:pt x="200" y="36"/>
                    </a:lnTo>
                    <a:lnTo>
                      <a:pt x="212" y="24"/>
                    </a:lnTo>
                    <a:lnTo>
                      <a:pt x="238" y="48"/>
                    </a:lnTo>
                    <a:lnTo>
                      <a:pt x="238" y="100"/>
                    </a:lnTo>
                    <a:lnTo>
                      <a:pt x="268" y="132"/>
                    </a:lnTo>
                    <a:lnTo>
                      <a:pt x="268" y="156"/>
                    </a:lnTo>
                    <a:lnTo>
                      <a:pt x="234" y="158"/>
                    </a:lnTo>
                    <a:lnTo>
                      <a:pt x="226" y="176"/>
                    </a:lnTo>
                    <a:lnTo>
                      <a:pt x="208" y="176"/>
                    </a:lnTo>
                    <a:lnTo>
                      <a:pt x="182" y="202"/>
                    </a:lnTo>
                    <a:lnTo>
                      <a:pt x="166" y="202"/>
                    </a:lnTo>
                    <a:lnTo>
                      <a:pt x="158" y="222"/>
                    </a:lnTo>
                    <a:lnTo>
                      <a:pt x="132" y="216"/>
                    </a:lnTo>
                    <a:lnTo>
                      <a:pt x="120" y="202"/>
                    </a:lnTo>
                    <a:lnTo>
                      <a:pt x="88" y="202"/>
                    </a:lnTo>
                    <a:lnTo>
                      <a:pt x="70" y="222"/>
                    </a:lnTo>
                    <a:lnTo>
                      <a:pt x="48" y="222"/>
                    </a:lnTo>
                    <a:lnTo>
                      <a:pt x="36" y="232"/>
                    </a:lnTo>
                    <a:lnTo>
                      <a:pt x="20" y="216"/>
                    </a:lnTo>
                    <a:lnTo>
                      <a:pt x="6" y="204"/>
                    </a:lnTo>
                    <a:lnTo>
                      <a:pt x="4" y="192"/>
                    </a:lnTo>
                    <a:lnTo>
                      <a:pt x="0" y="176"/>
                    </a:lnTo>
                    <a:lnTo>
                      <a:pt x="10" y="164"/>
                    </a:lnTo>
                    <a:lnTo>
                      <a:pt x="24" y="150"/>
                    </a:lnTo>
                    <a:lnTo>
                      <a:pt x="50" y="132"/>
                    </a:lnTo>
                    <a:lnTo>
                      <a:pt x="42" y="112"/>
                    </a:lnTo>
                    <a:lnTo>
                      <a:pt x="42" y="98"/>
                    </a:lnTo>
                    <a:lnTo>
                      <a:pt x="56" y="84"/>
                    </a:lnTo>
                    <a:lnTo>
                      <a:pt x="50" y="60"/>
                    </a:lnTo>
                    <a:lnTo>
                      <a:pt x="58" y="44"/>
                    </a:lnTo>
                    <a:lnTo>
                      <a:pt x="76" y="44"/>
                    </a:lnTo>
                    <a:lnTo>
                      <a:pt x="84" y="1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8" name="Freeform 235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 rot="698053">
                <a:off x="4068955" y="2521901"/>
                <a:ext cx="360566" cy="192683"/>
              </a:xfrm>
              <a:custGeom>
                <a:avLst/>
                <a:gdLst>
                  <a:gd name="T0" fmla="*/ 456 w 472"/>
                  <a:gd name="T1" fmla="*/ 162 h 261"/>
                  <a:gd name="T2" fmla="*/ 472 w 472"/>
                  <a:gd name="T3" fmla="*/ 144 h 261"/>
                  <a:gd name="T4" fmla="*/ 442 w 472"/>
                  <a:gd name="T5" fmla="*/ 116 h 261"/>
                  <a:gd name="T6" fmla="*/ 426 w 472"/>
                  <a:gd name="T7" fmla="*/ 142 h 261"/>
                  <a:gd name="T8" fmla="*/ 396 w 472"/>
                  <a:gd name="T9" fmla="*/ 136 h 261"/>
                  <a:gd name="T10" fmla="*/ 384 w 472"/>
                  <a:gd name="T11" fmla="*/ 148 h 261"/>
                  <a:gd name="T12" fmla="*/ 366 w 472"/>
                  <a:gd name="T13" fmla="*/ 122 h 261"/>
                  <a:gd name="T14" fmla="*/ 316 w 472"/>
                  <a:gd name="T15" fmla="*/ 96 h 261"/>
                  <a:gd name="T16" fmla="*/ 308 w 472"/>
                  <a:gd name="T17" fmla="*/ 70 h 261"/>
                  <a:gd name="T18" fmla="*/ 280 w 472"/>
                  <a:gd name="T19" fmla="*/ 44 h 261"/>
                  <a:gd name="T20" fmla="*/ 246 w 472"/>
                  <a:gd name="T21" fmla="*/ 36 h 261"/>
                  <a:gd name="T22" fmla="*/ 228 w 472"/>
                  <a:gd name="T23" fmla="*/ 0 h 261"/>
                  <a:gd name="T24" fmla="*/ 202 w 472"/>
                  <a:gd name="T25" fmla="*/ 12 h 261"/>
                  <a:gd name="T26" fmla="*/ 172 w 472"/>
                  <a:gd name="T27" fmla="*/ 0 h 261"/>
                  <a:gd name="T28" fmla="*/ 140 w 472"/>
                  <a:gd name="T29" fmla="*/ 8 h 261"/>
                  <a:gd name="T30" fmla="*/ 110 w 472"/>
                  <a:gd name="T31" fmla="*/ 20 h 261"/>
                  <a:gd name="T32" fmla="*/ 110 w 472"/>
                  <a:gd name="T33" fmla="*/ 44 h 261"/>
                  <a:gd name="T34" fmla="*/ 76 w 472"/>
                  <a:gd name="T35" fmla="*/ 46 h 261"/>
                  <a:gd name="T36" fmla="*/ 68 w 472"/>
                  <a:gd name="T37" fmla="*/ 64 h 261"/>
                  <a:gd name="T38" fmla="*/ 50 w 472"/>
                  <a:gd name="T39" fmla="*/ 64 h 261"/>
                  <a:gd name="T40" fmla="*/ 24 w 472"/>
                  <a:gd name="T41" fmla="*/ 90 h 261"/>
                  <a:gd name="T42" fmla="*/ 8 w 472"/>
                  <a:gd name="T43" fmla="*/ 90 h 261"/>
                  <a:gd name="T44" fmla="*/ 0 w 472"/>
                  <a:gd name="T45" fmla="*/ 110 h 261"/>
                  <a:gd name="T46" fmla="*/ 18 w 472"/>
                  <a:gd name="T47" fmla="*/ 126 h 261"/>
                  <a:gd name="T48" fmla="*/ 42 w 472"/>
                  <a:gd name="T49" fmla="*/ 126 h 261"/>
                  <a:gd name="T50" fmla="*/ 54 w 472"/>
                  <a:gd name="T51" fmla="*/ 138 h 261"/>
                  <a:gd name="T52" fmla="*/ 72 w 472"/>
                  <a:gd name="T53" fmla="*/ 120 h 261"/>
                  <a:gd name="T54" fmla="*/ 82 w 472"/>
                  <a:gd name="T55" fmla="*/ 122 h 261"/>
                  <a:gd name="T56" fmla="*/ 90 w 472"/>
                  <a:gd name="T57" fmla="*/ 146 h 261"/>
                  <a:gd name="T58" fmla="*/ 120 w 472"/>
                  <a:gd name="T59" fmla="*/ 166 h 261"/>
                  <a:gd name="T60" fmla="*/ 138 w 472"/>
                  <a:gd name="T61" fmla="*/ 166 h 261"/>
                  <a:gd name="T62" fmla="*/ 138 w 472"/>
                  <a:gd name="T63" fmla="*/ 196 h 261"/>
                  <a:gd name="T64" fmla="*/ 164 w 472"/>
                  <a:gd name="T65" fmla="*/ 208 h 261"/>
                  <a:gd name="T66" fmla="*/ 164 w 472"/>
                  <a:gd name="T67" fmla="*/ 235 h 261"/>
                  <a:gd name="T68" fmla="*/ 194 w 472"/>
                  <a:gd name="T69" fmla="*/ 241 h 261"/>
                  <a:gd name="T70" fmla="*/ 236 w 472"/>
                  <a:gd name="T71" fmla="*/ 231 h 261"/>
                  <a:gd name="T72" fmla="*/ 252 w 472"/>
                  <a:gd name="T73" fmla="*/ 214 h 261"/>
                  <a:gd name="T74" fmla="*/ 274 w 472"/>
                  <a:gd name="T75" fmla="*/ 214 h 261"/>
                  <a:gd name="T76" fmla="*/ 284 w 472"/>
                  <a:gd name="T77" fmla="*/ 237 h 261"/>
                  <a:gd name="T78" fmla="*/ 298 w 472"/>
                  <a:gd name="T79" fmla="*/ 253 h 261"/>
                  <a:gd name="T80" fmla="*/ 324 w 472"/>
                  <a:gd name="T81" fmla="*/ 253 h 261"/>
                  <a:gd name="T82" fmla="*/ 332 w 472"/>
                  <a:gd name="T83" fmla="*/ 261 h 261"/>
                  <a:gd name="T84" fmla="*/ 354 w 472"/>
                  <a:gd name="T85" fmla="*/ 241 h 261"/>
                  <a:gd name="T86" fmla="*/ 386 w 472"/>
                  <a:gd name="T87" fmla="*/ 229 h 261"/>
                  <a:gd name="T88" fmla="*/ 400 w 472"/>
                  <a:gd name="T89" fmla="*/ 243 h 261"/>
                  <a:gd name="T90" fmla="*/ 414 w 472"/>
                  <a:gd name="T91" fmla="*/ 227 h 261"/>
                  <a:gd name="T92" fmla="*/ 452 w 472"/>
                  <a:gd name="T93" fmla="*/ 227 h 261"/>
                  <a:gd name="T94" fmla="*/ 456 w 472"/>
                  <a:gd name="T95" fmla="*/ 162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72" h="261">
                    <a:moveTo>
                      <a:pt x="456" y="162"/>
                    </a:moveTo>
                    <a:lnTo>
                      <a:pt x="472" y="144"/>
                    </a:lnTo>
                    <a:lnTo>
                      <a:pt x="442" y="116"/>
                    </a:lnTo>
                    <a:lnTo>
                      <a:pt x="426" y="142"/>
                    </a:lnTo>
                    <a:lnTo>
                      <a:pt x="396" y="136"/>
                    </a:lnTo>
                    <a:lnTo>
                      <a:pt x="384" y="148"/>
                    </a:lnTo>
                    <a:lnTo>
                      <a:pt x="366" y="122"/>
                    </a:lnTo>
                    <a:lnTo>
                      <a:pt x="316" y="96"/>
                    </a:lnTo>
                    <a:lnTo>
                      <a:pt x="308" y="70"/>
                    </a:lnTo>
                    <a:lnTo>
                      <a:pt x="280" y="44"/>
                    </a:lnTo>
                    <a:lnTo>
                      <a:pt x="246" y="36"/>
                    </a:lnTo>
                    <a:lnTo>
                      <a:pt x="228" y="0"/>
                    </a:lnTo>
                    <a:lnTo>
                      <a:pt x="202" y="12"/>
                    </a:lnTo>
                    <a:lnTo>
                      <a:pt x="172" y="0"/>
                    </a:lnTo>
                    <a:lnTo>
                      <a:pt x="140" y="8"/>
                    </a:lnTo>
                    <a:lnTo>
                      <a:pt x="110" y="20"/>
                    </a:lnTo>
                    <a:lnTo>
                      <a:pt x="110" y="44"/>
                    </a:lnTo>
                    <a:lnTo>
                      <a:pt x="76" y="46"/>
                    </a:lnTo>
                    <a:lnTo>
                      <a:pt x="68" y="64"/>
                    </a:lnTo>
                    <a:lnTo>
                      <a:pt x="50" y="64"/>
                    </a:lnTo>
                    <a:lnTo>
                      <a:pt x="24" y="90"/>
                    </a:lnTo>
                    <a:lnTo>
                      <a:pt x="8" y="90"/>
                    </a:lnTo>
                    <a:lnTo>
                      <a:pt x="0" y="110"/>
                    </a:lnTo>
                    <a:lnTo>
                      <a:pt x="18" y="126"/>
                    </a:lnTo>
                    <a:lnTo>
                      <a:pt x="42" y="126"/>
                    </a:lnTo>
                    <a:lnTo>
                      <a:pt x="54" y="138"/>
                    </a:lnTo>
                    <a:lnTo>
                      <a:pt x="72" y="120"/>
                    </a:lnTo>
                    <a:lnTo>
                      <a:pt x="82" y="122"/>
                    </a:lnTo>
                    <a:lnTo>
                      <a:pt x="90" y="146"/>
                    </a:lnTo>
                    <a:lnTo>
                      <a:pt x="120" y="166"/>
                    </a:lnTo>
                    <a:lnTo>
                      <a:pt x="138" y="166"/>
                    </a:lnTo>
                    <a:lnTo>
                      <a:pt x="138" y="196"/>
                    </a:lnTo>
                    <a:lnTo>
                      <a:pt x="164" y="208"/>
                    </a:lnTo>
                    <a:lnTo>
                      <a:pt x="164" y="235"/>
                    </a:lnTo>
                    <a:lnTo>
                      <a:pt x="194" y="241"/>
                    </a:lnTo>
                    <a:lnTo>
                      <a:pt x="236" y="231"/>
                    </a:lnTo>
                    <a:lnTo>
                      <a:pt x="252" y="214"/>
                    </a:lnTo>
                    <a:lnTo>
                      <a:pt x="274" y="214"/>
                    </a:lnTo>
                    <a:lnTo>
                      <a:pt x="284" y="237"/>
                    </a:lnTo>
                    <a:lnTo>
                      <a:pt x="298" y="253"/>
                    </a:lnTo>
                    <a:lnTo>
                      <a:pt x="324" y="253"/>
                    </a:lnTo>
                    <a:lnTo>
                      <a:pt x="332" y="261"/>
                    </a:lnTo>
                    <a:lnTo>
                      <a:pt x="354" y="241"/>
                    </a:lnTo>
                    <a:lnTo>
                      <a:pt x="386" y="229"/>
                    </a:lnTo>
                    <a:lnTo>
                      <a:pt x="400" y="243"/>
                    </a:lnTo>
                    <a:lnTo>
                      <a:pt x="414" y="227"/>
                    </a:lnTo>
                    <a:lnTo>
                      <a:pt x="452" y="227"/>
                    </a:lnTo>
                    <a:lnTo>
                      <a:pt x="456" y="16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09" name="Freeform 236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 rot="698053">
                <a:off x="3994311" y="2554634"/>
                <a:ext cx="193330" cy="167451"/>
              </a:xfrm>
              <a:custGeom>
                <a:avLst/>
                <a:gdLst>
                  <a:gd name="T0" fmla="*/ 0 w 252"/>
                  <a:gd name="T1" fmla="*/ 20 h 227"/>
                  <a:gd name="T2" fmla="*/ 18 w 252"/>
                  <a:gd name="T3" fmla="*/ 0 h 227"/>
                  <a:gd name="T4" fmla="*/ 50 w 252"/>
                  <a:gd name="T5" fmla="*/ 0 h 227"/>
                  <a:gd name="T6" fmla="*/ 62 w 252"/>
                  <a:gd name="T7" fmla="*/ 14 h 227"/>
                  <a:gd name="T8" fmla="*/ 88 w 252"/>
                  <a:gd name="T9" fmla="*/ 20 h 227"/>
                  <a:gd name="T10" fmla="*/ 106 w 252"/>
                  <a:gd name="T11" fmla="*/ 36 h 227"/>
                  <a:gd name="T12" fmla="*/ 130 w 252"/>
                  <a:gd name="T13" fmla="*/ 36 h 227"/>
                  <a:gd name="T14" fmla="*/ 142 w 252"/>
                  <a:gd name="T15" fmla="*/ 48 h 227"/>
                  <a:gd name="T16" fmla="*/ 160 w 252"/>
                  <a:gd name="T17" fmla="*/ 30 h 227"/>
                  <a:gd name="T18" fmla="*/ 170 w 252"/>
                  <a:gd name="T19" fmla="*/ 32 h 227"/>
                  <a:gd name="T20" fmla="*/ 178 w 252"/>
                  <a:gd name="T21" fmla="*/ 56 h 227"/>
                  <a:gd name="T22" fmla="*/ 208 w 252"/>
                  <a:gd name="T23" fmla="*/ 76 h 227"/>
                  <a:gd name="T24" fmla="*/ 226 w 252"/>
                  <a:gd name="T25" fmla="*/ 76 h 227"/>
                  <a:gd name="T26" fmla="*/ 226 w 252"/>
                  <a:gd name="T27" fmla="*/ 106 h 227"/>
                  <a:gd name="T28" fmla="*/ 252 w 252"/>
                  <a:gd name="T29" fmla="*/ 118 h 227"/>
                  <a:gd name="T30" fmla="*/ 252 w 252"/>
                  <a:gd name="T31" fmla="*/ 145 h 227"/>
                  <a:gd name="T32" fmla="*/ 224 w 252"/>
                  <a:gd name="T33" fmla="*/ 145 h 227"/>
                  <a:gd name="T34" fmla="*/ 214 w 252"/>
                  <a:gd name="T35" fmla="*/ 171 h 227"/>
                  <a:gd name="T36" fmla="*/ 188 w 252"/>
                  <a:gd name="T37" fmla="*/ 171 h 227"/>
                  <a:gd name="T38" fmla="*/ 168 w 252"/>
                  <a:gd name="T39" fmla="*/ 153 h 227"/>
                  <a:gd name="T40" fmla="*/ 154 w 252"/>
                  <a:gd name="T41" fmla="*/ 167 h 227"/>
                  <a:gd name="T42" fmla="*/ 146 w 252"/>
                  <a:gd name="T43" fmla="*/ 195 h 227"/>
                  <a:gd name="T44" fmla="*/ 130 w 252"/>
                  <a:gd name="T45" fmla="*/ 213 h 227"/>
                  <a:gd name="T46" fmla="*/ 94 w 252"/>
                  <a:gd name="T47" fmla="*/ 217 h 227"/>
                  <a:gd name="T48" fmla="*/ 66 w 252"/>
                  <a:gd name="T49" fmla="*/ 227 h 227"/>
                  <a:gd name="T50" fmla="*/ 78 w 252"/>
                  <a:gd name="T51" fmla="*/ 185 h 227"/>
                  <a:gd name="T52" fmla="*/ 92 w 252"/>
                  <a:gd name="T53" fmla="*/ 149 h 227"/>
                  <a:gd name="T54" fmla="*/ 56 w 252"/>
                  <a:gd name="T55" fmla="*/ 112 h 227"/>
                  <a:gd name="T56" fmla="*/ 36 w 252"/>
                  <a:gd name="T57" fmla="*/ 94 h 227"/>
                  <a:gd name="T58" fmla="*/ 2 w 252"/>
                  <a:gd name="T59" fmla="*/ 82 h 227"/>
                  <a:gd name="T60" fmla="*/ 2 w 252"/>
                  <a:gd name="T61" fmla="*/ 62 h 227"/>
                  <a:gd name="T62" fmla="*/ 14 w 252"/>
                  <a:gd name="T63" fmla="*/ 42 h 227"/>
                  <a:gd name="T64" fmla="*/ 0 w 252"/>
                  <a:gd name="T65" fmla="*/ 2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2" h="227">
                    <a:moveTo>
                      <a:pt x="0" y="20"/>
                    </a:moveTo>
                    <a:lnTo>
                      <a:pt x="18" y="0"/>
                    </a:lnTo>
                    <a:lnTo>
                      <a:pt x="50" y="0"/>
                    </a:lnTo>
                    <a:lnTo>
                      <a:pt x="62" y="14"/>
                    </a:lnTo>
                    <a:lnTo>
                      <a:pt x="88" y="20"/>
                    </a:lnTo>
                    <a:lnTo>
                      <a:pt x="106" y="36"/>
                    </a:lnTo>
                    <a:lnTo>
                      <a:pt x="130" y="36"/>
                    </a:lnTo>
                    <a:lnTo>
                      <a:pt x="142" y="48"/>
                    </a:lnTo>
                    <a:lnTo>
                      <a:pt x="160" y="30"/>
                    </a:lnTo>
                    <a:lnTo>
                      <a:pt x="170" y="32"/>
                    </a:lnTo>
                    <a:lnTo>
                      <a:pt x="178" y="56"/>
                    </a:lnTo>
                    <a:lnTo>
                      <a:pt x="208" y="76"/>
                    </a:lnTo>
                    <a:lnTo>
                      <a:pt x="226" y="76"/>
                    </a:lnTo>
                    <a:lnTo>
                      <a:pt x="226" y="106"/>
                    </a:lnTo>
                    <a:lnTo>
                      <a:pt x="252" y="118"/>
                    </a:lnTo>
                    <a:lnTo>
                      <a:pt x="252" y="145"/>
                    </a:lnTo>
                    <a:lnTo>
                      <a:pt x="224" y="145"/>
                    </a:lnTo>
                    <a:lnTo>
                      <a:pt x="214" y="171"/>
                    </a:lnTo>
                    <a:lnTo>
                      <a:pt x="188" y="171"/>
                    </a:lnTo>
                    <a:lnTo>
                      <a:pt x="168" y="153"/>
                    </a:lnTo>
                    <a:lnTo>
                      <a:pt x="154" y="167"/>
                    </a:lnTo>
                    <a:lnTo>
                      <a:pt x="146" y="195"/>
                    </a:lnTo>
                    <a:lnTo>
                      <a:pt x="130" y="213"/>
                    </a:lnTo>
                    <a:lnTo>
                      <a:pt x="94" y="217"/>
                    </a:lnTo>
                    <a:lnTo>
                      <a:pt x="66" y="227"/>
                    </a:lnTo>
                    <a:lnTo>
                      <a:pt x="78" y="185"/>
                    </a:lnTo>
                    <a:lnTo>
                      <a:pt x="92" y="149"/>
                    </a:lnTo>
                    <a:lnTo>
                      <a:pt x="56" y="112"/>
                    </a:lnTo>
                    <a:lnTo>
                      <a:pt x="36" y="94"/>
                    </a:lnTo>
                    <a:lnTo>
                      <a:pt x="2" y="82"/>
                    </a:lnTo>
                    <a:lnTo>
                      <a:pt x="2" y="62"/>
                    </a:lnTo>
                    <a:lnTo>
                      <a:pt x="14" y="42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0" name="Freeform 237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 rot="698053">
                <a:off x="3908995" y="2523952"/>
                <a:ext cx="156562" cy="205300"/>
              </a:xfrm>
              <a:custGeom>
                <a:avLst/>
                <a:gdLst>
                  <a:gd name="T0" fmla="*/ 78 w 204"/>
                  <a:gd name="T1" fmla="*/ 40 h 277"/>
                  <a:gd name="T2" fmla="*/ 90 w 204"/>
                  <a:gd name="T3" fmla="*/ 30 h 277"/>
                  <a:gd name="T4" fmla="*/ 112 w 204"/>
                  <a:gd name="T5" fmla="*/ 30 h 277"/>
                  <a:gd name="T6" fmla="*/ 126 w 204"/>
                  <a:gd name="T7" fmla="*/ 52 h 277"/>
                  <a:gd name="T8" fmla="*/ 114 w 204"/>
                  <a:gd name="T9" fmla="*/ 72 h 277"/>
                  <a:gd name="T10" fmla="*/ 114 w 204"/>
                  <a:gd name="T11" fmla="*/ 92 h 277"/>
                  <a:gd name="T12" fmla="*/ 148 w 204"/>
                  <a:gd name="T13" fmla="*/ 104 h 277"/>
                  <a:gd name="T14" fmla="*/ 168 w 204"/>
                  <a:gd name="T15" fmla="*/ 122 h 277"/>
                  <a:gd name="T16" fmla="*/ 204 w 204"/>
                  <a:gd name="T17" fmla="*/ 159 h 277"/>
                  <a:gd name="T18" fmla="*/ 190 w 204"/>
                  <a:gd name="T19" fmla="*/ 195 h 277"/>
                  <a:gd name="T20" fmla="*/ 178 w 204"/>
                  <a:gd name="T21" fmla="*/ 237 h 277"/>
                  <a:gd name="T22" fmla="*/ 150 w 204"/>
                  <a:gd name="T23" fmla="*/ 241 h 277"/>
                  <a:gd name="T24" fmla="*/ 134 w 204"/>
                  <a:gd name="T25" fmla="*/ 257 h 277"/>
                  <a:gd name="T26" fmla="*/ 112 w 204"/>
                  <a:gd name="T27" fmla="*/ 261 h 277"/>
                  <a:gd name="T28" fmla="*/ 96 w 204"/>
                  <a:gd name="T29" fmla="*/ 277 h 277"/>
                  <a:gd name="T30" fmla="*/ 80 w 204"/>
                  <a:gd name="T31" fmla="*/ 249 h 277"/>
                  <a:gd name="T32" fmla="*/ 66 w 204"/>
                  <a:gd name="T33" fmla="*/ 245 h 277"/>
                  <a:gd name="T34" fmla="*/ 62 w 204"/>
                  <a:gd name="T35" fmla="*/ 227 h 277"/>
                  <a:gd name="T36" fmla="*/ 42 w 204"/>
                  <a:gd name="T37" fmla="*/ 221 h 277"/>
                  <a:gd name="T38" fmla="*/ 48 w 204"/>
                  <a:gd name="T39" fmla="*/ 205 h 277"/>
                  <a:gd name="T40" fmla="*/ 34 w 204"/>
                  <a:gd name="T41" fmla="*/ 195 h 277"/>
                  <a:gd name="T42" fmla="*/ 34 w 204"/>
                  <a:gd name="T43" fmla="*/ 177 h 277"/>
                  <a:gd name="T44" fmla="*/ 42 w 204"/>
                  <a:gd name="T45" fmla="*/ 173 h 277"/>
                  <a:gd name="T46" fmla="*/ 48 w 204"/>
                  <a:gd name="T47" fmla="*/ 159 h 277"/>
                  <a:gd name="T48" fmla="*/ 50 w 204"/>
                  <a:gd name="T49" fmla="*/ 132 h 277"/>
                  <a:gd name="T50" fmla="*/ 38 w 204"/>
                  <a:gd name="T51" fmla="*/ 122 h 277"/>
                  <a:gd name="T52" fmla="*/ 26 w 204"/>
                  <a:gd name="T53" fmla="*/ 116 h 277"/>
                  <a:gd name="T54" fmla="*/ 20 w 204"/>
                  <a:gd name="T55" fmla="*/ 104 h 277"/>
                  <a:gd name="T56" fmla="*/ 20 w 204"/>
                  <a:gd name="T57" fmla="*/ 86 h 277"/>
                  <a:gd name="T58" fmla="*/ 8 w 204"/>
                  <a:gd name="T59" fmla="*/ 82 h 277"/>
                  <a:gd name="T60" fmla="*/ 0 w 204"/>
                  <a:gd name="T61" fmla="*/ 64 h 277"/>
                  <a:gd name="T62" fmla="*/ 16 w 204"/>
                  <a:gd name="T63" fmla="*/ 52 h 277"/>
                  <a:gd name="T64" fmla="*/ 14 w 204"/>
                  <a:gd name="T65" fmla="*/ 34 h 277"/>
                  <a:gd name="T66" fmla="*/ 26 w 204"/>
                  <a:gd name="T67" fmla="*/ 24 h 277"/>
                  <a:gd name="T68" fmla="*/ 30 w 204"/>
                  <a:gd name="T69" fmla="*/ 6 h 277"/>
                  <a:gd name="T70" fmla="*/ 46 w 204"/>
                  <a:gd name="T71" fmla="*/ 0 h 277"/>
                  <a:gd name="T72" fmla="*/ 48 w 204"/>
                  <a:gd name="T73" fmla="*/ 12 h 277"/>
                  <a:gd name="T74" fmla="*/ 62 w 204"/>
                  <a:gd name="T75" fmla="*/ 24 h 277"/>
                  <a:gd name="T76" fmla="*/ 78 w 204"/>
                  <a:gd name="T77" fmla="*/ 40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4" h="277">
                    <a:moveTo>
                      <a:pt x="78" y="40"/>
                    </a:moveTo>
                    <a:lnTo>
                      <a:pt x="90" y="30"/>
                    </a:lnTo>
                    <a:lnTo>
                      <a:pt x="112" y="30"/>
                    </a:lnTo>
                    <a:lnTo>
                      <a:pt x="126" y="52"/>
                    </a:lnTo>
                    <a:lnTo>
                      <a:pt x="114" y="72"/>
                    </a:lnTo>
                    <a:lnTo>
                      <a:pt x="114" y="92"/>
                    </a:lnTo>
                    <a:lnTo>
                      <a:pt x="148" y="104"/>
                    </a:lnTo>
                    <a:lnTo>
                      <a:pt x="168" y="122"/>
                    </a:lnTo>
                    <a:lnTo>
                      <a:pt x="204" y="159"/>
                    </a:lnTo>
                    <a:lnTo>
                      <a:pt x="190" y="195"/>
                    </a:lnTo>
                    <a:lnTo>
                      <a:pt x="178" y="237"/>
                    </a:lnTo>
                    <a:lnTo>
                      <a:pt x="150" y="241"/>
                    </a:lnTo>
                    <a:lnTo>
                      <a:pt x="134" y="257"/>
                    </a:lnTo>
                    <a:lnTo>
                      <a:pt x="112" y="261"/>
                    </a:lnTo>
                    <a:lnTo>
                      <a:pt x="96" y="277"/>
                    </a:lnTo>
                    <a:lnTo>
                      <a:pt x="80" y="249"/>
                    </a:lnTo>
                    <a:lnTo>
                      <a:pt x="66" y="245"/>
                    </a:lnTo>
                    <a:lnTo>
                      <a:pt x="62" y="227"/>
                    </a:lnTo>
                    <a:lnTo>
                      <a:pt x="42" y="221"/>
                    </a:lnTo>
                    <a:lnTo>
                      <a:pt x="48" y="205"/>
                    </a:lnTo>
                    <a:lnTo>
                      <a:pt x="34" y="195"/>
                    </a:lnTo>
                    <a:lnTo>
                      <a:pt x="34" y="177"/>
                    </a:lnTo>
                    <a:lnTo>
                      <a:pt x="42" y="173"/>
                    </a:lnTo>
                    <a:lnTo>
                      <a:pt x="48" y="159"/>
                    </a:lnTo>
                    <a:lnTo>
                      <a:pt x="50" y="132"/>
                    </a:lnTo>
                    <a:lnTo>
                      <a:pt x="38" y="122"/>
                    </a:lnTo>
                    <a:lnTo>
                      <a:pt x="26" y="116"/>
                    </a:lnTo>
                    <a:lnTo>
                      <a:pt x="20" y="104"/>
                    </a:lnTo>
                    <a:lnTo>
                      <a:pt x="20" y="86"/>
                    </a:lnTo>
                    <a:lnTo>
                      <a:pt x="8" y="82"/>
                    </a:lnTo>
                    <a:lnTo>
                      <a:pt x="0" y="64"/>
                    </a:lnTo>
                    <a:lnTo>
                      <a:pt x="16" y="52"/>
                    </a:lnTo>
                    <a:lnTo>
                      <a:pt x="14" y="34"/>
                    </a:lnTo>
                    <a:lnTo>
                      <a:pt x="26" y="24"/>
                    </a:lnTo>
                    <a:lnTo>
                      <a:pt x="30" y="6"/>
                    </a:lnTo>
                    <a:lnTo>
                      <a:pt x="46" y="0"/>
                    </a:lnTo>
                    <a:lnTo>
                      <a:pt x="48" y="12"/>
                    </a:lnTo>
                    <a:lnTo>
                      <a:pt x="62" y="24"/>
                    </a:lnTo>
                    <a:lnTo>
                      <a:pt x="78" y="4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1" name="Freeform 238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 rot="698053">
                <a:off x="3956584" y="2661563"/>
                <a:ext cx="381916" cy="240855"/>
              </a:xfrm>
              <a:custGeom>
                <a:avLst/>
                <a:gdLst>
                  <a:gd name="T0" fmla="*/ 0 w 500"/>
                  <a:gd name="T1" fmla="*/ 167 h 327"/>
                  <a:gd name="T2" fmla="*/ 0 w 500"/>
                  <a:gd name="T3" fmla="*/ 143 h 327"/>
                  <a:gd name="T4" fmla="*/ 16 w 500"/>
                  <a:gd name="T5" fmla="*/ 127 h 327"/>
                  <a:gd name="T6" fmla="*/ 38 w 500"/>
                  <a:gd name="T7" fmla="*/ 123 h 327"/>
                  <a:gd name="T8" fmla="*/ 54 w 500"/>
                  <a:gd name="T9" fmla="*/ 107 h 327"/>
                  <a:gd name="T10" fmla="*/ 82 w 500"/>
                  <a:gd name="T11" fmla="*/ 103 h 327"/>
                  <a:gd name="T12" fmla="*/ 110 w 500"/>
                  <a:gd name="T13" fmla="*/ 93 h 327"/>
                  <a:gd name="T14" fmla="*/ 146 w 500"/>
                  <a:gd name="T15" fmla="*/ 89 h 327"/>
                  <a:gd name="T16" fmla="*/ 162 w 500"/>
                  <a:gd name="T17" fmla="*/ 71 h 327"/>
                  <a:gd name="T18" fmla="*/ 170 w 500"/>
                  <a:gd name="T19" fmla="*/ 43 h 327"/>
                  <a:gd name="T20" fmla="*/ 184 w 500"/>
                  <a:gd name="T21" fmla="*/ 29 h 327"/>
                  <a:gd name="T22" fmla="*/ 204 w 500"/>
                  <a:gd name="T23" fmla="*/ 47 h 327"/>
                  <a:gd name="T24" fmla="*/ 230 w 500"/>
                  <a:gd name="T25" fmla="*/ 47 h 327"/>
                  <a:gd name="T26" fmla="*/ 240 w 500"/>
                  <a:gd name="T27" fmla="*/ 21 h 327"/>
                  <a:gd name="T28" fmla="*/ 268 w 500"/>
                  <a:gd name="T29" fmla="*/ 21 h 327"/>
                  <a:gd name="T30" fmla="*/ 298 w 500"/>
                  <a:gd name="T31" fmla="*/ 27 h 327"/>
                  <a:gd name="T32" fmla="*/ 340 w 500"/>
                  <a:gd name="T33" fmla="*/ 17 h 327"/>
                  <a:gd name="T34" fmla="*/ 356 w 500"/>
                  <a:gd name="T35" fmla="*/ 0 h 327"/>
                  <a:gd name="T36" fmla="*/ 378 w 500"/>
                  <a:gd name="T37" fmla="*/ 0 h 327"/>
                  <a:gd name="T38" fmla="*/ 388 w 500"/>
                  <a:gd name="T39" fmla="*/ 23 h 327"/>
                  <a:gd name="T40" fmla="*/ 402 w 500"/>
                  <a:gd name="T41" fmla="*/ 39 h 327"/>
                  <a:gd name="T42" fmla="*/ 428 w 500"/>
                  <a:gd name="T43" fmla="*/ 39 h 327"/>
                  <a:gd name="T44" fmla="*/ 436 w 500"/>
                  <a:gd name="T45" fmla="*/ 47 h 327"/>
                  <a:gd name="T46" fmla="*/ 466 w 500"/>
                  <a:gd name="T47" fmla="*/ 69 h 327"/>
                  <a:gd name="T48" fmla="*/ 500 w 500"/>
                  <a:gd name="T49" fmla="*/ 103 h 327"/>
                  <a:gd name="T50" fmla="*/ 478 w 500"/>
                  <a:gd name="T51" fmla="*/ 123 h 327"/>
                  <a:gd name="T52" fmla="*/ 462 w 500"/>
                  <a:gd name="T53" fmla="*/ 141 h 327"/>
                  <a:gd name="T54" fmla="*/ 434 w 500"/>
                  <a:gd name="T55" fmla="*/ 123 h 327"/>
                  <a:gd name="T56" fmla="*/ 412 w 500"/>
                  <a:gd name="T57" fmla="*/ 127 h 327"/>
                  <a:gd name="T58" fmla="*/ 396 w 500"/>
                  <a:gd name="T59" fmla="*/ 143 h 327"/>
                  <a:gd name="T60" fmla="*/ 376 w 500"/>
                  <a:gd name="T61" fmla="*/ 171 h 327"/>
                  <a:gd name="T62" fmla="*/ 340 w 500"/>
                  <a:gd name="T63" fmla="*/ 149 h 327"/>
                  <a:gd name="T64" fmla="*/ 322 w 500"/>
                  <a:gd name="T65" fmla="*/ 165 h 327"/>
                  <a:gd name="T66" fmla="*/ 296 w 500"/>
                  <a:gd name="T67" fmla="*/ 165 h 327"/>
                  <a:gd name="T68" fmla="*/ 298 w 500"/>
                  <a:gd name="T69" fmla="*/ 195 h 327"/>
                  <a:gd name="T70" fmla="*/ 284 w 500"/>
                  <a:gd name="T71" fmla="*/ 209 h 327"/>
                  <a:gd name="T72" fmla="*/ 296 w 500"/>
                  <a:gd name="T73" fmla="*/ 231 h 327"/>
                  <a:gd name="T74" fmla="*/ 258 w 500"/>
                  <a:gd name="T75" fmla="*/ 255 h 327"/>
                  <a:gd name="T76" fmla="*/ 258 w 500"/>
                  <a:gd name="T77" fmla="*/ 287 h 327"/>
                  <a:gd name="T78" fmla="*/ 234 w 500"/>
                  <a:gd name="T79" fmla="*/ 309 h 327"/>
                  <a:gd name="T80" fmla="*/ 222 w 500"/>
                  <a:gd name="T81" fmla="*/ 327 h 327"/>
                  <a:gd name="T82" fmla="*/ 208 w 500"/>
                  <a:gd name="T83" fmla="*/ 327 h 327"/>
                  <a:gd name="T84" fmla="*/ 198 w 500"/>
                  <a:gd name="T85" fmla="*/ 317 h 327"/>
                  <a:gd name="T86" fmla="*/ 202 w 500"/>
                  <a:gd name="T87" fmla="*/ 301 h 327"/>
                  <a:gd name="T88" fmla="*/ 180 w 500"/>
                  <a:gd name="T89" fmla="*/ 303 h 327"/>
                  <a:gd name="T90" fmla="*/ 172 w 500"/>
                  <a:gd name="T91" fmla="*/ 309 h 327"/>
                  <a:gd name="T92" fmla="*/ 140 w 500"/>
                  <a:gd name="T93" fmla="*/ 311 h 327"/>
                  <a:gd name="T94" fmla="*/ 130 w 500"/>
                  <a:gd name="T95" fmla="*/ 327 h 327"/>
                  <a:gd name="T96" fmla="*/ 110 w 500"/>
                  <a:gd name="T97" fmla="*/ 321 h 327"/>
                  <a:gd name="T98" fmla="*/ 102 w 500"/>
                  <a:gd name="T99" fmla="*/ 299 h 327"/>
                  <a:gd name="T100" fmla="*/ 86 w 500"/>
                  <a:gd name="T101" fmla="*/ 281 h 327"/>
                  <a:gd name="T102" fmla="*/ 86 w 500"/>
                  <a:gd name="T103" fmla="*/ 257 h 327"/>
                  <a:gd name="T104" fmla="*/ 72 w 500"/>
                  <a:gd name="T105" fmla="*/ 243 h 327"/>
                  <a:gd name="T106" fmla="*/ 66 w 500"/>
                  <a:gd name="T107" fmla="*/ 225 h 327"/>
                  <a:gd name="T108" fmla="*/ 42 w 500"/>
                  <a:gd name="T109" fmla="*/ 225 h 327"/>
                  <a:gd name="T110" fmla="*/ 28 w 500"/>
                  <a:gd name="T111" fmla="*/ 211 h 327"/>
                  <a:gd name="T112" fmla="*/ 22 w 500"/>
                  <a:gd name="T113" fmla="*/ 197 h 327"/>
                  <a:gd name="T114" fmla="*/ 22 w 500"/>
                  <a:gd name="T115" fmla="*/ 185 h 327"/>
                  <a:gd name="T116" fmla="*/ 0 w 500"/>
                  <a:gd name="T117" fmla="*/ 167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00" h="327">
                    <a:moveTo>
                      <a:pt x="0" y="167"/>
                    </a:moveTo>
                    <a:lnTo>
                      <a:pt x="0" y="143"/>
                    </a:lnTo>
                    <a:lnTo>
                      <a:pt x="16" y="127"/>
                    </a:lnTo>
                    <a:lnTo>
                      <a:pt x="38" y="123"/>
                    </a:lnTo>
                    <a:lnTo>
                      <a:pt x="54" y="107"/>
                    </a:lnTo>
                    <a:lnTo>
                      <a:pt x="82" y="103"/>
                    </a:lnTo>
                    <a:lnTo>
                      <a:pt x="110" y="93"/>
                    </a:lnTo>
                    <a:lnTo>
                      <a:pt x="146" y="89"/>
                    </a:lnTo>
                    <a:lnTo>
                      <a:pt x="162" y="71"/>
                    </a:lnTo>
                    <a:lnTo>
                      <a:pt x="170" y="43"/>
                    </a:lnTo>
                    <a:lnTo>
                      <a:pt x="184" y="29"/>
                    </a:lnTo>
                    <a:lnTo>
                      <a:pt x="204" y="47"/>
                    </a:lnTo>
                    <a:lnTo>
                      <a:pt x="230" y="47"/>
                    </a:lnTo>
                    <a:lnTo>
                      <a:pt x="240" y="21"/>
                    </a:lnTo>
                    <a:lnTo>
                      <a:pt x="268" y="21"/>
                    </a:lnTo>
                    <a:lnTo>
                      <a:pt x="298" y="27"/>
                    </a:lnTo>
                    <a:lnTo>
                      <a:pt x="340" y="17"/>
                    </a:lnTo>
                    <a:lnTo>
                      <a:pt x="356" y="0"/>
                    </a:lnTo>
                    <a:lnTo>
                      <a:pt x="378" y="0"/>
                    </a:lnTo>
                    <a:lnTo>
                      <a:pt x="388" y="23"/>
                    </a:lnTo>
                    <a:lnTo>
                      <a:pt x="402" y="39"/>
                    </a:lnTo>
                    <a:lnTo>
                      <a:pt x="428" y="39"/>
                    </a:lnTo>
                    <a:lnTo>
                      <a:pt x="436" y="47"/>
                    </a:lnTo>
                    <a:lnTo>
                      <a:pt x="466" y="69"/>
                    </a:lnTo>
                    <a:lnTo>
                      <a:pt x="500" y="103"/>
                    </a:lnTo>
                    <a:lnTo>
                      <a:pt x="478" y="123"/>
                    </a:lnTo>
                    <a:lnTo>
                      <a:pt x="462" y="141"/>
                    </a:lnTo>
                    <a:lnTo>
                      <a:pt x="434" y="123"/>
                    </a:lnTo>
                    <a:lnTo>
                      <a:pt x="412" y="127"/>
                    </a:lnTo>
                    <a:lnTo>
                      <a:pt x="396" y="143"/>
                    </a:lnTo>
                    <a:lnTo>
                      <a:pt x="376" y="171"/>
                    </a:lnTo>
                    <a:lnTo>
                      <a:pt x="340" y="149"/>
                    </a:lnTo>
                    <a:lnTo>
                      <a:pt x="322" y="165"/>
                    </a:lnTo>
                    <a:lnTo>
                      <a:pt x="296" y="165"/>
                    </a:lnTo>
                    <a:lnTo>
                      <a:pt x="298" y="195"/>
                    </a:lnTo>
                    <a:lnTo>
                      <a:pt x="284" y="209"/>
                    </a:lnTo>
                    <a:lnTo>
                      <a:pt x="296" y="231"/>
                    </a:lnTo>
                    <a:lnTo>
                      <a:pt x="258" y="255"/>
                    </a:lnTo>
                    <a:lnTo>
                      <a:pt x="258" y="287"/>
                    </a:lnTo>
                    <a:lnTo>
                      <a:pt x="234" y="309"/>
                    </a:lnTo>
                    <a:lnTo>
                      <a:pt x="222" y="327"/>
                    </a:lnTo>
                    <a:lnTo>
                      <a:pt x="208" y="327"/>
                    </a:lnTo>
                    <a:lnTo>
                      <a:pt x="198" y="317"/>
                    </a:lnTo>
                    <a:lnTo>
                      <a:pt x="202" y="301"/>
                    </a:lnTo>
                    <a:lnTo>
                      <a:pt x="180" y="303"/>
                    </a:lnTo>
                    <a:lnTo>
                      <a:pt x="172" y="309"/>
                    </a:lnTo>
                    <a:lnTo>
                      <a:pt x="140" y="311"/>
                    </a:lnTo>
                    <a:lnTo>
                      <a:pt x="130" y="327"/>
                    </a:lnTo>
                    <a:lnTo>
                      <a:pt x="110" y="321"/>
                    </a:lnTo>
                    <a:lnTo>
                      <a:pt x="102" y="299"/>
                    </a:lnTo>
                    <a:lnTo>
                      <a:pt x="86" y="281"/>
                    </a:lnTo>
                    <a:lnTo>
                      <a:pt x="86" y="257"/>
                    </a:lnTo>
                    <a:lnTo>
                      <a:pt x="72" y="243"/>
                    </a:lnTo>
                    <a:lnTo>
                      <a:pt x="66" y="225"/>
                    </a:lnTo>
                    <a:lnTo>
                      <a:pt x="42" y="225"/>
                    </a:lnTo>
                    <a:lnTo>
                      <a:pt x="28" y="211"/>
                    </a:lnTo>
                    <a:lnTo>
                      <a:pt x="22" y="197"/>
                    </a:lnTo>
                    <a:lnTo>
                      <a:pt x="22" y="185"/>
                    </a:lnTo>
                    <a:lnTo>
                      <a:pt x="0" y="167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2" name="Freeform 239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 rot="698053">
                <a:off x="4099312" y="2839362"/>
                <a:ext cx="137585" cy="125014"/>
              </a:xfrm>
              <a:custGeom>
                <a:avLst/>
                <a:gdLst>
                  <a:gd name="T0" fmla="*/ 14 w 180"/>
                  <a:gd name="T1" fmla="*/ 112 h 170"/>
                  <a:gd name="T2" fmla="*/ 6 w 180"/>
                  <a:gd name="T3" fmla="*/ 96 h 170"/>
                  <a:gd name="T4" fmla="*/ 18 w 180"/>
                  <a:gd name="T5" fmla="*/ 78 h 170"/>
                  <a:gd name="T6" fmla="*/ 42 w 180"/>
                  <a:gd name="T7" fmla="*/ 56 h 170"/>
                  <a:gd name="T8" fmla="*/ 42 w 180"/>
                  <a:gd name="T9" fmla="*/ 24 h 170"/>
                  <a:gd name="T10" fmla="*/ 80 w 180"/>
                  <a:gd name="T11" fmla="*/ 0 h 170"/>
                  <a:gd name="T12" fmla="*/ 104 w 180"/>
                  <a:gd name="T13" fmla="*/ 12 h 170"/>
                  <a:gd name="T14" fmla="*/ 154 w 180"/>
                  <a:gd name="T15" fmla="*/ 12 h 170"/>
                  <a:gd name="T16" fmla="*/ 156 w 180"/>
                  <a:gd name="T17" fmla="*/ 38 h 170"/>
                  <a:gd name="T18" fmla="*/ 172 w 180"/>
                  <a:gd name="T19" fmla="*/ 52 h 170"/>
                  <a:gd name="T20" fmla="*/ 164 w 180"/>
                  <a:gd name="T21" fmla="*/ 74 h 170"/>
                  <a:gd name="T22" fmla="*/ 180 w 180"/>
                  <a:gd name="T23" fmla="*/ 102 h 170"/>
                  <a:gd name="T24" fmla="*/ 148 w 180"/>
                  <a:gd name="T25" fmla="*/ 110 h 170"/>
                  <a:gd name="T26" fmla="*/ 116 w 180"/>
                  <a:gd name="T27" fmla="*/ 128 h 170"/>
                  <a:gd name="T28" fmla="*/ 116 w 180"/>
                  <a:gd name="T29" fmla="*/ 160 h 170"/>
                  <a:gd name="T30" fmla="*/ 92 w 180"/>
                  <a:gd name="T31" fmla="*/ 170 h 170"/>
                  <a:gd name="T32" fmla="*/ 68 w 180"/>
                  <a:gd name="T33" fmla="*/ 160 h 170"/>
                  <a:gd name="T34" fmla="*/ 42 w 180"/>
                  <a:gd name="T35" fmla="*/ 170 h 170"/>
                  <a:gd name="T36" fmla="*/ 6 w 180"/>
                  <a:gd name="T37" fmla="*/ 146 h 170"/>
                  <a:gd name="T38" fmla="*/ 0 w 180"/>
                  <a:gd name="T39" fmla="*/ 132 h 170"/>
                  <a:gd name="T40" fmla="*/ 14 w 180"/>
                  <a:gd name="T41" fmla="*/ 11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0" h="170">
                    <a:moveTo>
                      <a:pt x="14" y="112"/>
                    </a:moveTo>
                    <a:lnTo>
                      <a:pt x="6" y="96"/>
                    </a:lnTo>
                    <a:lnTo>
                      <a:pt x="18" y="78"/>
                    </a:lnTo>
                    <a:lnTo>
                      <a:pt x="42" y="56"/>
                    </a:lnTo>
                    <a:lnTo>
                      <a:pt x="42" y="24"/>
                    </a:lnTo>
                    <a:lnTo>
                      <a:pt x="80" y="0"/>
                    </a:lnTo>
                    <a:lnTo>
                      <a:pt x="104" y="12"/>
                    </a:lnTo>
                    <a:lnTo>
                      <a:pt x="154" y="12"/>
                    </a:lnTo>
                    <a:lnTo>
                      <a:pt x="156" y="38"/>
                    </a:lnTo>
                    <a:lnTo>
                      <a:pt x="172" y="52"/>
                    </a:lnTo>
                    <a:lnTo>
                      <a:pt x="164" y="74"/>
                    </a:lnTo>
                    <a:lnTo>
                      <a:pt x="180" y="102"/>
                    </a:lnTo>
                    <a:lnTo>
                      <a:pt x="148" y="110"/>
                    </a:lnTo>
                    <a:lnTo>
                      <a:pt x="116" y="128"/>
                    </a:lnTo>
                    <a:lnTo>
                      <a:pt x="116" y="160"/>
                    </a:lnTo>
                    <a:lnTo>
                      <a:pt x="92" y="170"/>
                    </a:lnTo>
                    <a:lnTo>
                      <a:pt x="68" y="160"/>
                    </a:lnTo>
                    <a:lnTo>
                      <a:pt x="42" y="170"/>
                    </a:lnTo>
                    <a:lnTo>
                      <a:pt x="6" y="146"/>
                    </a:lnTo>
                    <a:lnTo>
                      <a:pt x="0" y="132"/>
                    </a:lnTo>
                    <a:lnTo>
                      <a:pt x="14" y="11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3" name="Freeform 240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 rot="698053">
                <a:off x="4246426" y="2578072"/>
                <a:ext cx="426986" cy="446154"/>
              </a:xfrm>
              <a:custGeom>
                <a:avLst/>
                <a:gdLst>
                  <a:gd name="T0" fmla="*/ 20 w 557"/>
                  <a:gd name="T1" fmla="*/ 347 h 603"/>
                  <a:gd name="T2" fmla="*/ 58 w 557"/>
                  <a:gd name="T3" fmla="*/ 327 h 603"/>
                  <a:gd name="T4" fmla="*/ 124 w 557"/>
                  <a:gd name="T5" fmla="*/ 307 h 603"/>
                  <a:gd name="T6" fmla="*/ 60 w 557"/>
                  <a:gd name="T7" fmla="*/ 251 h 603"/>
                  <a:gd name="T8" fmla="*/ 114 w 557"/>
                  <a:gd name="T9" fmla="*/ 219 h 603"/>
                  <a:gd name="T10" fmla="*/ 142 w 557"/>
                  <a:gd name="T11" fmla="*/ 217 h 603"/>
                  <a:gd name="T12" fmla="*/ 184 w 557"/>
                  <a:gd name="T13" fmla="*/ 152 h 603"/>
                  <a:gd name="T14" fmla="*/ 210 w 557"/>
                  <a:gd name="T15" fmla="*/ 126 h 603"/>
                  <a:gd name="T16" fmla="*/ 229 w 557"/>
                  <a:gd name="T17" fmla="*/ 92 h 603"/>
                  <a:gd name="T18" fmla="*/ 214 w 557"/>
                  <a:gd name="T19" fmla="*/ 48 h 603"/>
                  <a:gd name="T20" fmla="*/ 287 w 557"/>
                  <a:gd name="T21" fmla="*/ 12 h 603"/>
                  <a:gd name="T22" fmla="*/ 311 w 557"/>
                  <a:gd name="T23" fmla="*/ 2 h 603"/>
                  <a:gd name="T24" fmla="*/ 331 w 557"/>
                  <a:gd name="T25" fmla="*/ 48 h 603"/>
                  <a:gd name="T26" fmla="*/ 347 w 557"/>
                  <a:gd name="T27" fmla="*/ 74 h 603"/>
                  <a:gd name="T28" fmla="*/ 329 w 557"/>
                  <a:gd name="T29" fmla="*/ 116 h 603"/>
                  <a:gd name="T30" fmla="*/ 305 w 557"/>
                  <a:gd name="T31" fmla="*/ 140 h 603"/>
                  <a:gd name="T32" fmla="*/ 287 w 557"/>
                  <a:gd name="T33" fmla="*/ 178 h 603"/>
                  <a:gd name="T34" fmla="*/ 301 w 557"/>
                  <a:gd name="T35" fmla="*/ 213 h 603"/>
                  <a:gd name="T36" fmla="*/ 299 w 557"/>
                  <a:gd name="T37" fmla="*/ 253 h 603"/>
                  <a:gd name="T38" fmla="*/ 323 w 557"/>
                  <a:gd name="T39" fmla="*/ 243 h 603"/>
                  <a:gd name="T40" fmla="*/ 355 w 557"/>
                  <a:gd name="T41" fmla="*/ 211 h 603"/>
                  <a:gd name="T42" fmla="*/ 395 w 557"/>
                  <a:gd name="T43" fmla="*/ 237 h 603"/>
                  <a:gd name="T44" fmla="*/ 427 w 557"/>
                  <a:gd name="T45" fmla="*/ 229 h 603"/>
                  <a:gd name="T46" fmla="*/ 453 w 557"/>
                  <a:gd name="T47" fmla="*/ 241 h 603"/>
                  <a:gd name="T48" fmla="*/ 487 w 557"/>
                  <a:gd name="T49" fmla="*/ 229 h 603"/>
                  <a:gd name="T50" fmla="*/ 523 w 557"/>
                  <a:gd name="T51" fmla="*/ 253 h 603"/>
                  <a:gd name="T52" fmla="*/ 557 w 557"/>
                  <a:gd name="T53" fmla="*/ 283 h 603"/>
                  <a:gd name="T54" fmla="*/ 531 w 557"/>
                  <a:gd name="T55" fmla="*/ 325 h 603"/>
                  <a:gd name="T56" fmla="*/ 485 w 557"/>
                  <a:gd name="T57" fmla="*/ 357 h 603"/>
                  <a:gd name="T58" fmla="*/ 499 w 557"/>
                  <a:gd name="T59" fmla="*/ 393 h 603"/>
                  <a:gd name="T60" fmla="*/ 493 w 557"/>
                  <a:gd name="T61" fmla="*/ 435 h 603"/>
                  <a:gd name="T62" fmla="*/ 439 w 557"/>
                  <a:gd name="T63" fmla="*/ 455 h 603"/>
                  <a:gd name="T64" fmla="*/ 411 w 557"/>
                  <a:gd name="T65" fmla="*/ 429 h 603"/>
                  <a:gd name="T66" fmla="*/ 355 w 557"/>
                  <a:gd name="T67" fmla="*/ 417 h 603"/>
                  <a:gd name="T68" fmla="*/ 333 w 557"/>
                  <a:gd name="T69" fmla="*/ 465 h 603"/>
                  <a:gd name="T70" fmla="*/ 293 w 557"/>
                  <a:gd name="T71" fmla="*/ 483 h 603"/>
                  <a:gd name="T72" fmla="*/ 257 w 557"/>
                  <a:gd name="T73" fmla="*/ 495 h 603"/>
                  <a:gd name="T74" fmla="*/ 233 w 557"/>
                  <a:gd name="T75" fmla="*/ 555 h 603"/>
                  <a:gd name="T76" fmla="*/ 204 w 557"/>
                  <a:gd name="T77" fmla="*/ 603 h 603"/>
                  <a:gd name="T78" fmla="*/ 176 w 557"/>
                  <a:gd name="T79" fmla="*/ 543 h 603"/>
                  <a:gd name="T80" fmla="*/ 168 w 557"/>
                  <a:gd name="T81" fmla="*/ 503 h 603"/>
                  <a:gd name="T82" fmla="*/ 146 w 557"/>
                  <a:gd name="T83" fmla="*/ 447 h 603"/>
                  <a:gd name="T84" fmla="*/ 108 w 557"/>
                  <a:gd name="T85" fmla="*/ 411 h 603"/>
                  <a:gd name="T86" fmla="*/ 76 w 557"/>
                  <a:gd name="T87" fmla="*/ 413 h 603"/>
                  <a:gd name="T88" fmla="*/ 36 w 557"/>
                  <a:gd name="T89" fmla="*/ 413 h 603"/>
                  <a:gd name="T90" fmla="*/ 0 w 557"/>
                  <a:gd name="T91" fmla="*/ 375 h 6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57" h="603">
                    <a:moveTo>
                      <a:pt x="0" y="375"/>
                    </a:moveTo>
                    <a:lnTo>
                      <a:pt x="20" y="347"/>
                    </a:lnTo>
                    <a:lnTo>
                      <a:pt x="36" y="331"/>
                    </a:lnTo>
                    <a:lnTo>
                      <a:pt x="58" y="327"/>
                    </a:lnTo>
                    <a:lnTo>
                      <a:pt x="86" y="345"/>
                    </a:lnTo>
                    <a:lnTo>
                      <a:pt x="124" y="307"/>
                    </a:lnTo>
                    <a:lnTo>
                      <a:pt x="90" y="273"/>
                    </a:lnTo>
                    <a:lnTo>
                      <a:pt x="60" y="251"/>
                    </a:lnTo>
                    <a:lnTo>
                      <a:pt x="82" y="231"/>
                    </a:lnTo>
                    <a:lnTo>
                      <a:pt x="114" y="219"/>
                    </a:lnTo>
                    <a:lnTo>
                      <a:pt x="128" y="233"/>
                    </a:lnTo>
                    <a:lnTo>
                      <a:pt x="142" y="217"/>
                    </a:lnTo>
                    <a:lnTo>
                      <a:pt x="180" y="217"/>
                    </a:lnTo>
                    <a:lnTo>
                      <a:pt x="184" y="152"/>
                    </a:lnTo>
                    <a:lnTo>
                      <a:pt x="200" y="134"/>
                    </a:lnTo>
                    <a:lnTo>
                      <a:pt x="210" y="126"/>
                    </a:lnTo>
                    <a:lnTo>
                      <a:pt x="210" y="100"/>
                    </a:lnTo>
                    <a:lnTo>
                      <a:pt x="229" y="92"/>
                    </a:lnTo>
                    <a:lnTo>
                      <a:pt x="198" y="60"/>
                    </a:lnTo>
                    <a:lnTo>
                      <a:pt x="214" y="48"/>
                    </a:lnTo>
                    <a:lnTo>
                      <a:pt x="239" y="60"/>
                    </a:lnTo>
                    <a:lnTo>
                      <a:pt x="287" y="12"/>
                    </a:lnTo>
                    <a:lnTo>
                      <a:pt x="301" y="0"/>
                    </a:lnTo>
                    <a:lnTo>
                      <a:pt x="311" y="2"/>
                    </a:lnTo>
                    <a:lnTo>
                      <a:pt x="337" y="32"/>
                    </a:lnTo>
                    <a:lnTo>
                      <a:pt x="331" y="48"/>
                    </a:lnTo>
                    <a:lnTo>
                      <a:pt x="343" y="54"/>
                    </a:lnTo>
                    <a:lnTo>
                      <a:pt x="347" y="74"/>
                    </a:lnTo>
                    <a:lnTo>
                      <a:pt x="329" y="90"/>
                    </a:lnTo>
                    <a:lnTo>
                      <a:pt x="329" y="116"/>
                    </a:lnTo>
                    <a:lnTo>
                      <a:pt x="305" y="122"/>
                    </a:lnTo>
                    <a:lnTo>
                      <a:pt x="305" y="140"/>
                    </a:lnTo>
                    <a:lnTo>
                      <a:pt x="287" y="158"/>
                    </a:lnTo>
                    <a:lnTo>
                      <a:pt x="287" y="178"/>
                    </a:lnTo>
                    <a:lnTo>
                      <a:pt x="301" y="192"/>
                    </a:lnTo>
                    <a:lnTo>
                      <a:pt x="301" y="213"/>
                    </a:lnTo>
                    <a:lnTo>
                      <a:pt x="307" y="233"/>
                    </a:lnTo>
                    <a:lnTo>
                      <a:pt x="299" y="253"/>
                    </a:lnTo>
                    <a:lnTo>
                      <a:pt x="307" y="261"/>
                    </a:lnTo>
                    <a:lnTo>
                      <a:pt x="323" y="243"/>
                    </a:lnTo>
                    <a:lnTo>
                      <a:pt x="333" y="217"/>
                    </a:lnTo>
                    <a:lnTo>
                      <a:pt x="355" y="211"/>
                    </a:lnTo>
                    <a:lnTo>
                      <a:pt x="381" y="221"/>
                    </a:lnTo>
                    <a:lnTo>
                      <a:pt x="395" y="237"/>
                    </a:lnTo>
                    <a:lnTo>
                      <a:pt x="417" y="217"/>
                    </a:lnTo>
                    <a:lnTo>
                      <a:pt x="427" y="229"/>
                    </a:lnTo>
                    <a:lnTo>
                      <a:pt x="433" y="243"/>
                    </a:lnTo>
                    <a:lnTo>
                      <a:pt x="453" y="241"/>
                    </a:lnTo>
                    <a:lnTo>
                      <a:pt x="467" y="229"/>
                    </a:lnTo>
                    <a:lnTo>
                      <a:pt x="487" y="229"/>
                    </a:lnTo>
                    <a:lnTo>
                      <a:pt x="501" y="241"/>
                    </a:lnTo>
                    <a:lnTo>
                      <a:pt x="523" y="253"/>
                    </a:lnTo>
                    <a:lnTo>
                      <a:pt x="543" y="271"/>
                    </a:lnTo>
                    <a:lnTo>
                      <a:pt x="557" y="283"/>
                    </a:lnTo>
                    <a:lnTo>
                      <a:pt x="553" y="307"/>
                    </a:lnTo>
                    <a:lnTo>
                      <a:pt x="531" y="325"/>
                    </a:lnTo>
                    <a:lnTo>
                      <a:pt x="509" y="333"/>
                    </a:lnTo>
                    <a:lnTo>
                      <a:pt x="485" y="357"/>
                    </a:lnTo>
                    <a:lnTo>
                      <a:pt x="485" y="379"/>
                    </a:lnTo>
                    <a:lnTo>
                      <a:pt x="499" y="393"/>
                    </a:lnTo>
                    <a:lnTo>
                      <a:pt x="493" y="413"/>
                    </a:lnTo>
                    <a:lnTo>
                      <a:pt x="493" y="435"/>
                    </a:lnTo>
                    <a:lnTo>
                      <a:pt x="463" y="455"/>
                    </a:lnTo>
                    <a:lnTo>
                      <a:pt x="439" y="455"/>
                    </a:lnTo>
                    <a:lnTo>
                      <a:pt x="439" y="427"/>
                    </a:lnTo>
                    <a:lnTo>
                      <a:pt x="411" y="429"/>
                    </a:lnTo>
                    <a:lnTo>
                      <a:pt x="381" y="399"/>
                    </a:lnTo>
                    <a:lnTo>
                      <a:pt x="355" y="417"/>
                    </a:lnTo>
                    <a:lnTo>
                      <a:pt x="341" y="441"/>
                    </a:lnTo>
                    <a:lnTo>
                      <a:pt x="333" y="465"/>
                    </a:lnTo>
                    <a:lnTo>
                      <a:pt x="317" y="483"/>
                    </a:lnTo>
                    <a:lnTo>
                      <a:pt x="293" y="483"/>
                    </a:lnTo>
                    <a:lnTo>
                      <a:pt x="281" y="469"/>
                    </a:lnTo>
                    <a:lnTo>
                      <a:pt x="257" y="495"/>
                    </a:lnTo>
                    <a:lnTo>
                      <a:pt x="257" y="533"/>
                    </a:lnTo>
                    <a:lnTo>
                      <a:pt x="233" y="555"/>
                    </a:lnTo>
                    <a:lnTo>
                      <a:pt x="216" y="571"/>
                    </a:lnTo>
                    <a:lnTo>
                      <a:pt x="204" y="603"/>
                    </a:lnTo>
                    <a:lnTo>
                      <a:pt x="182" y="577"/>
                    </a:lnTo>
                    <a:lnTo>
                      <a:pt x="176" y="543"/>
                    </a:lnTo>
                    <a:lnTo>
                      <a:pt x="176" y="523"/>
                    </a:lnTo>
                    <a:lnTo>
                      <a:pt x="168" y="503"/>
                    </a:lnTo>
                    <a:lnTo>
                      <a:pt x="168" y="461"/>
                    </a:lnTo>
                    <a:lnTo>
                      <a:pt x="146" y="447"/>
                    </a:lnTo>
                    <a:lnTo>
                      <a:pt x="138" y="417"/>
                    </a:lnTo>
                    <a:lnTo>
                      <a:pt x="108" y="411"/>
                    </a:lnTo>
                    <a:lnTo>
                      <a:pt x="86" y="397"/>
                    </a:lnTo>
                    <a:lnTo>
                      <a:pt x="76" y="413"/>
                    </a:lnTo>
                    <a:lnTo>
                      <a:pt x="60" y="399"/>
                    </a:lnTo>
                    <a:lnTo>
                      <a:pt x="36" y="413"/>
                    </a:lnTo>
                    <a:lnTo>
                      <a:pt x="16" y="399"/>
                    </a:lnTo>
                    <a:lnTo>
                      <a:pt x="0" y="375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4" name="Freeform 241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 rot="698053">
                <a:off x="4160200" y="2798301"/>
                <a:ext cx="205191" cy="135337"/>
              </a:xfrm>
              <a:custGeom>
                <a:avLst/>
                <a:gdLst>
                  <a:gd name="T0" fmla="*/ 38 w 268"/>
                  <a:gd name="T1" fmla="*/ 16 h 184"/>
                  <a:gd name="T2" fmla="*/ 56 w 268"/>
                  <a:gd name="T3" fmla="*/ 0 h 184"/>
                  <a:gd name="T4" fmla="*/ 92 w 268"/>
                  <a:gd name="T5" fmla="*/ 22 h 184"/>
                  <a:gd name="T6" fmla="*/ 108 w 268"/>
                  <a:gd name="T7" fmla="*/ 46 h 184"/>
                  <a:gd name="T8" fmla="*/ 128 w 268"/>
                  <a:gd name="T9" fmla="*/ 60 h 184"/>
                  <a:gd name="T10" fmla="*/ 152 w 268"/>
                  <a:gd name="T11" fmla="*/ 46 h 184"/>
                  <a:gd name="T12" fmla="*/ 168 w 268"/>
                  <a:gd name="T13" fmla="*/ 60 h 184"/>
                  <a:gd name="T14" fmla="*/ 178 w 268"/>
                  <a:gd name="T15" fmla="*/ 44 h 184"/>
                  <a:gd name="T16" fmla="*/ 200 w 268"/>
                  <a:gd name="T17" fmla="*/ 58 h 184"/>
                  <a:gd name="T18" fmla="*/ 230 w 268"/>
                  <a:gd name="T19" fmla="*/ 64 h 184"/>
                  <a:gd name="T20" fmla="*/ 238 w 268"/>
                  <a:gd name="T21" fmla="*/ 94 h 184"/>
                  <a:gd name="T22" fmla="*/ 260 w 268"/>
                  <a:gd name="T23" fmla="*/ 108 h 184"/>
                  <a:gd name="T24" fmla="*/ 260 w 268"/>
                  <a:gd name="T25" fmla="*/ 150 h 184"/>
                  <a:gd name="T26" fmla="*/ 268 w 268"/>
                  <a:gd name="T27" fmla="*/ 170 h 184"/>
                  <a:gd name="T28" fmla="*/ 244 w 268"/>
                  <a:gd name="T29" fmla="*/ 182 h 184"/>
                  <a:gd name="T30" fmla="*/ 228 w 268"/>
                  <a:gd name="T31" fmla="*/ 166 h 184"/>
                  <a:gd name="T32" fmla="*/ 198 w 268"/>
                  <a:gd name="T33" fmla="*/ 166 h 184"/>
                  <a:gd name="T34" fmla="*/ 186 w 268"/>
                  <a:gd name="T35" fmla="*/ 154 h 184"/>
                  <a:gd name="T36" fmla="*/ 156 w 268"/>
                  <a:gd name="T37" fmla="*/ 172 h 184"/>
                  <a:gd name="T38" fmla="*/ 112 w 268"/>
                  <a:gd name="T39" fmla="*/ 184 h 184"/>
                  <a:gd name="T40" fmla="*/ 96 w 268"/>
                  <a:gd name="T41" fmla="*/ 156 h 184"/>
                  <a:gd name="T42" fmla="*/ 104 w 268"/>
                  <a:gd name="T43" fmla="*/ 134 h 184"/>
                  <a:gd name="T44" fmla="*/ 88 w 268"/>
                  <a:gd name="T45" fmla="*/ 120 h 184"/>
                  <a:gd name="T46" fmla="*/ 86 w 268"/>
                  <a:gd name="T47" fmla="*/ 94 h 184"/>
                  <a:gd name="T48" fmla="*/ 36 w 268"/>
                  <a:gd name="T49" fmla="*/ 94 h 184"/>
                  <a:gd name="T50" fmla="*/ 12 w 268"/>
                  <a:gd name="T51" fmla="*/ 82 h 184"/>
                  <a:gd name="T52" fmla="*/ 0 w 268"/>
                  <a:gd name="T53" fmla="*/ 60 h 184"/>
                  <a:gd name="T54" fmla="*/ 14 w 268"/>
                  <a:gd name="T55" fmla="*/ 46 h 184"/>
                  <a:gd name="T56" fmla="*/ 12 w 268"/>
                  <a:gd name="T57" fmla="*/ 16 h 184"/>
                  <a:gd name="T58" fmla="*/ 38 w 268"/>
                  <a:gd name="T59" fmla="*/ 1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68" h="184">
                    <a:moveTo>
                      <a:pt x="38" y="16"/>
                    </a:moveTo>
                    <a:lnTo>
                      <a:pt x="56" y="0"/>
                    </a:lnTo>
                    <a:lnTo>
                      <a:pt x="92" y="22"/>
                    </a:lnTo>
                    <a:lnTo>
                      <a:pt x="108" y="46"/>
                    </a:lnTo>
                    <a:lnTo>
                      <a:pt x="128" y="60"/>
                    </a:lnTo>
                    <a:lnTo>
                      <a:pt x="152" y="46"/>
                    </a:lnTo>
                    <a:lnTo>
                      <a:pt x="168" y="60"/>
                    </a:lnTo>
                    <a:lnTo>
                      <a:pt x="178" y="44"/>
                    </a:lnTo>
                    <a:lnTo>
                      <a:pt x="200" y="58"/>
                    </a:lnTo>
                    <a:lnTo>
                      <a:pt x="230" y="64"/>
                    </a:lnTo>
                    <a:lnTo>
                      <a:pt x="238" y="94"/>
                    </a:lnTo>
                    <a:lnTo>
                      <a:pt x="260" y="108"/>
                    </a:lnTo>
                    <a:lnTo>
                      <a:pt x="260" y="150"/>
                    </a:lnTo>
                    <a:lnTo>
                      <a:pt x="268" y="170"/>
                    </a:lnTo>
                    <a:lnTo>
                      <a:pt x="244" y="182"/>
                    </a:lnTo>
                    <a:lnTo>
                      <a:pt x="228" y="166"/>
                    </a:lnTo>
                    <a:lnTo>
                      <a:pt x="198" y="166"/>
                    </a:lnTo>
                    <a:lnTo>
                      <a:pt x="186" y="154"/>
                    </a:lnTo>
                    <a:lnTo>
                      <a:pt x="156" y="172"/>
                    </a:lnTo>
                    <a:lnTo>
                      <a:pt x="112" y="184"/>
                    </a:lnTo>
                    <a:lnTo>
                      <a:pt x="96" y="156"/>
                    </a:lnTo>
                    <a:lnTo>
                      <a:pt x="104" y="134"/>
                    </a:lnTo>
                    <a:lnTo>
                      <a:pt x="88" y="120"/>
                    </a:lnTo>
                    <a:lnTo>
                      <a:pt x="86" y="94"/>
                    </a:lnTo>
                    <a:lnTo>
                      <a:pt x="36" y="94"/>
                    </a:lnTo>
                    <a:lnTo>
                      <a:pt x="12" y="82"/>
                    </a:lnTo>
                    <a:lnTo>
                      <a:pt x="0" y="60"/>
                    </a:lnTo>
                    <a:lnTo>
                      <a:pt x="14" y="46"/>
                    </a:lnTo>
                    <a:lnTo>
                      <a:pt x="12" y="16"/>
                    </a:lnTo>
                    <a:lnTo>
                      <a:pt x="38" y="1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5" name="Freeform 242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 rot="698053">
                <a:off x="4104602" y="2918726"/>
                <a:ext cx="343962" cy="274115"/>
              </a:xfrm>
              <a:custGeom>
                <a:avLst/>
                <a:gdLst>
                  <a:gd name="T0" fmla="*/ 437 w 449"/>
                  <a:gd name="T1" fmla="*/ 208 h 370"/>
                  <a:gd name="T2" fmla="*/ 449 w 449"/>
                  <a:gd name="T3" fmla="*/ 224 h 370"/>
                  <a:gd name="T4" fmla="*/ 449 w 449"/>
                  <a:gd name="T5" fmla="*/ 242 h 370"/>
                  <a:gd name="T6" fmla="*/ 421 w 449"/>
                  <a:gd name="T7" fmla="*/ 264 h 370"/>
                  <a:gd name="T8" fmla="*/ 401 w 449"/>
                  <a:gd name="T9" fmla="*/ 264 h 370"/>
                  <a:gd name="T10" fmla="*/ 385 w 449"/>
                  <a:gd name="T11" fmla="*/ 270 h 370"/>
                  <a:gd name="T12" fmla="*/ 377 w 449"/>
                  <a:gd name="T13" fmla="*/ 264 h 370"/>
                  <a:gd name="T14" fmla="*/ 363 w 449"/>
                  <a:gd name="T15" fmla="*/ 270 h 370"/>
                  <a:gd name="T16" fmla="*/ 367 w 449"/>
                  <a:gd name="T17" fmla="*/ 288 h 370"/>
                  <a:gd name="T18" fmla="*/ 367 w 449"/>
                  <a:gd name="T19" fmla="*/ 300 h 370"/>
                  <a:gd name="T20" fmla="*/ 377 w 449"/>
                  <a:gd name="T21" fmla="*/ 308 h 370"/>
                  <a:gd name="T22" fmla="*/ 349 w 449"/>
                  <a:gd name="T23" fmla="*/ 336 h 370"/>
                  <a:gd name="T24" fmla="*/ 334 w 449"/>
                  <a:gd name="T25" fmla="*/ 336 h 370"/>
                  <a:gd name="T26" fmla="*/ 318 w 449"/>
                  <a:gd name="T27" fmla="*/ 364 h 370"/>
                  <a:gd name="T28" fmla="*/ 302 w 449"/>
                  <a:gd name="T29" fmla="*/ 370 h 370"/>
                  <a:gd name="T30" fmla="*/ 288 w 449"/>
                  <a:gd name="T31" fmla="*/ 356 h 370"/>
                  <a:gd name="T32" fmla="*/ 302 w 449"/>
                  <a:gd name="T33" fmla="*/ 340 h 370"/>
                  <a:gd name="T34" fmla="*/ 280 w 449"/>
                  <a:gd name="T35" fmla="*/ 318 h 370"/>
                  <a:gd name="T36" fmla="*/ 258 w 449"/>
                  <a:gd name="T37" fmla="*/ 318 h 370"/>
                  <a:gd name="T38" fmla="*/ 250 w 449"/>
                  <a:gd name="T39" fmla="*/ 296 h 370"/>
                  <a:gd name="T40" fmla="*/ 256 w 449"/>
                  <a:gd name="T41" fmla="*/ 278 h 370"/>
                  <a:gd name="T42" fmla="*/ 222 w 449"/>
                  <a:gd name="T43" fmla="*/ 250 h 370"/>
                  <a:gd name="T44" fmla="*/ 202 w 449"/>
                  <a:gd name="T45" fmla="*/ 250 h 370"/>
                  <a:gd name="T46" fmla="*/ 186 w 449"/>
                  <a:gd name="T47" fmla="*/ 266 h 370"/>
                  <a:gd name="T48" fmla="*/ 152 w 449"/>
                  <a:gd name="T49" fmla="*/ 230 h 370"/>
                  <a:gd name="T50" fmla="*/ 144 w 449"/>
                  <a:gd name="T51" fmla="*/ 214 h 370"/>
                  <a:gd name="T52" fmla="*/ 126 w 449"/>
                  <a:gd name="T53" fmla="*/ 194 h 370"/>
                  <a:gd name="T54" fmla="*/ 118 w 449"/>
                  <a:gd name="T55" fmla="*/ 164 h 370"/>
                  <a:gd name="T56" fmla="*/ 108 w 449"/>
                  <a:gd name="T57" fmla="*/ 152 h 370"/>
                  <a:gd name="T58" fmla="*/ 86 w 449"/>
                  <a:gd name="T59" fmla="*/ 160 h 370"/>
                  <a:gd name="T60" fmla="*/ 48 w 449"/>
                  <a:gd name="T61" fmla="*/ 124 h 370"/>
                  <a:gd name="T62" fmla="*/ 26 w 449"/>
                  <a:gd name="T63" fmla="*/ 114 h 370"/>
                  <a:gd name="T64" fmla="*/ 0 w 449"/>
                  <a:gd name="T65" fmla="*/ 120 h 370"/>
                  <a:gd name="T66" fmla="*/ 0 w 449"/>
                  <a:gd name="T67" fmla="*/ 98 h 370"/>
                  <a:gd name="T68" fmla="*/ 26 w 449"/>
                  <a:gd name="T69" fmla="*/ 88 h 370"/>
                  <a:gd name="T70" fmla="*/ 50 w 449"/>
                  <a:gd name="T71" fmla="*/ 98 h 370"/>
                  <a:gd name="T72" fmla="*/ 74 w 449"/>
                  <a:gd name="T73" fmla="*/ 88 h 370"/>
                  <a:gd name="T74" fmla="*/ 74 w 449"/>
                  <a:gd name="T75" fmla="*/ 56 h 370"/>
                  <a:gd name="T76" fmla="*/ 106 w 449"/>
                  <a:gd name="T77" fmla="*/ 38 h 370"/>
                  <a:gd name="T78" fmla="*/ 138 w 449"/>
                  <a:gd name="T79" fmla="*/ 30 h 370"/>
                  <a:gd name="T80" fmla="*/ 182 w 449"/>
                  <a:gd name="T81" fmla="*/ 18 h 370"/>
                  <a:gd name="T82" fmla="*/ 212 w 449"/>
                  <a:gd name="T83" fmla="*/ 0 h 370"/>
                  <a:gd name="T84" fmla="*/ 224 w 449"/>
                  <a:gd name="T85" fmla="*/ 12 h 370"/>
                  <a:gd name="T86" fmla="*/ 254 w 449"/>
                  <a:gd name="T87" fmla="*/ 12 h 370"/>
                  <a:gd name="T88" fmla="*/ 270 w 449"/>
                  <a:gd name="T89" fmla="*/ 28 h 370"/>
                  <a:gd name="T90" fmla="*/ 294 w 449"/>
                  <a:gd name="T91" fmla="*/ 16 h 370"/>
                  <a:gd name="T92" fmla="*/ 294 w 449"/>
                  <a:gd name="T93" fmla="*/ 36 h 370"/>
                  <a:gd name="T94" fmla="*/ 300 w 449"/>
                  <a:gd name="T95" fmla="*/ 70 h 370"/>
                  <a:gd name="T96" fmla="*/ 322 w 449"/>
                  <a:gd name="T97" fmla="*/ 96 h 370"/>
                  <a:gd name="T98" fmla="*/ 351 w 449"/>
                  <a:gd name="T99" fmla="*/ 98 h 370"/>
                  <a:gd name="T100" fmla="*/ 363 w 449"/>
                  <a:gd name="T101" fmla="*/ 116 h 370"/>
                  <a:gd name="T102" fmla="*/ 387 w 449"/>
                  <a:gd name="T103" fmla="*/ 126 h 370"/>
                  <a:gd name="T104" fmla="*/ 397 w 449"/>
                  <a:gd name="T105" fmla="*/ 140 h 370"/>
                  <a:gd name="T106" fmla="*/ 411 w 449"/>
                  <a:gd name="T107" fmla="*/ 140 h 370"/>
                  <a:gd name="T108" fmla="*/ 415 w 449"/>
                  <a:gd name="T109" fmla="*/ 164 h 370"/>
                  <a:gd name="T110" fmla="*/ 433 w 449"/>
                  <a:gd name="T111" fmla="*/ 178 h 370"/>
                  <a:gd name="T112" fmla="*/ 415 w 449"/>
                  <a:gd name="T113" fmla="*/ 188 h 370"/>
                  <a:gd name="T114" fmla="*/ 417 w 449"/>
                  <a:gd name="T115" fmla="*/ 200 h 370"/>
                  <a:gd name="T116" fmla="*/ 437 w 449"/>
                  <a:gd name="T117" fmla="*/ 208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49" h="370">
                    <a:moveTo>
                      <a:pt x="437" y="208"/>
                    </a:moveTo>
                    <a:lnTo>
                      <a:pt x="449" y="224"/>
                    </a:lnTo>
                    <a:lnTo>
                      <a:pt x="449" y="242"/>
                    </a:lnTo>
                    <a:lnTo>
                      <a:pt x="421" y="264"/>
                    </a:lnTo>
                    <a:lnTo>
                      <a:pt x="401" y="264"/>
                    </a:lnTo>
                    <a:lnTo>
                      <a:pt x="385" y="270"/>
                    </a:lnTo>
                    <a:lnTo>
                      <a:pt x="377" y="264"/>
                    </a:lnTo>
                    <a:lnTo>
                      <a:pt x="363" y="270"/>
                    </a:lnTo>
                    <a:lnTo>
                      <a:pt x="367" y="288"/>
                    </a:lnTo>
                    <a:lnTo>
                      <a:pt x="367" y="300"/>
                    </a:lnTo>
                    <a:lnTo>
                      <a:pt x="377" y="308"/>
                    </a:lnTo>
                    <a:lnTo>
                      <a:pt x="349" y="336"/>
                    </a:lnTo>
                    <a:lnTo>
                      <a:pt x="334" y="336"/>
                    </a:lnTo>
                    <a:lnTo>
                      <a:pt x="318" y="364"/>
                    </a:lnTo>
                    <a:lnTo>
                      <a:pt x="302" y="370"/>
                    </a:lnTo>
                    <a:lnTo>
                      <a:pt x="288" y="356"/>
                    </a:lnTo>
                    <a:lnTo>
                      <a:pt x="302" y="340"/>
                    </a:lnTo>
                    <a:lnTo>
                      <a:pt x="280" y="318"/>
                    </a:lnTo>
                    <a:lnTo>
                      <a:pt x="258" y="318"/>
                    </a:lnTo>
                    <a:lnTo>
                      <a:pt x="250" y="296"/>
                    </a:lnTo>
                    <a:lnTo>
                      <a:pt x="256" y="278"/>
                    </a:lnTo>
                    <a:lnTo>
                      <a:pt x="222" y="250"/>
                    </a:lnTo>
                    <a:lnTo>
                      <a:pt x="202" y="250"/>
                    </a:lnTo>
                    <a:lnTo>
                      <a:pt x="186" y="266"/>
                    </a:lnTo>
                    <a:lnTo>
                      <a:pt x="152" y="230"/>
                    </a:lnTo>
                    <a:lnTo>
                      <a:pt x="144" y="214"/>
                    </a:lnTo>
                    <a:lnTo>
                      <a:pt x="126" y="194"/>
                    </a:lnTo>
                    <a:lnTo>
                      <a:pt x="118" y="164"/>
                    </a:lnTo>
                    <a:lnTo>
                      <a:pt x="108" y="152"/>
                    </a:lnTo>
                    <a:lnTo>
                      <a:pt x="86" y="160"/>
                    </a:lnTo>
                    <a:lnTo>
                      <a:pt x="48" y="124"/>
                    </a:lnTo>
                    <a:lnTo>
                      <a:pt x="26" y="114"/>
                    </a:lnTo>
                    <a:lnTo>
                      <a:pt x="0" y="120"/>
                    </a:lnTo>
                    <a:lnTo>
                      <a:pt x="0" y="98"/>
                    </a:lnTo>
                    <a:lnTo>
                      <a:pt x="26" y="88"/>
                    </a:lnTo>
                    <a:lnTo>
                      <a:pt x="50" y="98"/>
                    </a:lnTo>
                    <a:lnTo>
                      <a:pt x="74" y="88"/>
                    </a:lnTo>
                    <a:lnTo>
                      <a:pt x="74" y="56"/>
                    </a:lnTo>
                    <a:lnTo>
                      <a:pt x="106" y="38"/>
                    </a:lnTo>
                    <a:lnTo>
                      <a:pt x="138" y="30"/>
                    </a:lnTo>
                    <a:lnTo>
                      <a:pt x="182" y="18"/>
                    </a:lnTo>
                    <a:lnTo>
                      <a:pt x="212" y="0"/>
                    </a:lnTo>
                    <a:lnTo>
                      <a:pt x="224" y="12"/>
                    </a:lnTo>
                    <a:lnTo>
                      <a:pt x="254" y="12"/>
                    </a:lnTo>
                    <a:lnTo>
                      <a:pt x="270" y="28"/>
                    </a:lnTo>
                    <a:lnTo>
                      <a:pt x="294" y="16"/>
                    </a:lnTo>
                    <a:lnTo>
                      <a:pt x="294" y="36"/>
                    </a:lnTo>
                    <a:lnTo>
                      <a:pt x="300" y="70"/>
                    </a:lnTo>
                    <a:lnTo>
                      <a:pt x="322" y="96"/>
                    </a:lnTo>
                    <a:lnTo>
                      <a:pt x="351" y="98"/>
                    </a:lnTo>
                    <a:lnTo>
                      <a:pt x="363" y="116"/>
                    </a:lnTo>
                    <a:lnTo>
                      <a:pt x="387" y="126"/>
                    </a:lnTo>
                    <a:lnTo>
                      <a:pt x="397" y="140"/>
                    </a:lnTo>
                    <a:lnTo>
                      <a:pt x="411" y="140"/>
                    </a:lnTo>
                    <a:lnTo>
                      <a:pt x="415" y="164"/>
                    </a:lnTo>
                    <a:lnTo>
                      <a:pt x="433" y="178"/>
                    </a:lnTo>
                    <a:lnTo>
                      <a:pt x="415" y="188"/>
                    </a:lnTo>
                    <a:lnTo>
                      <a:pt x="417" y="200"/>
                    </a:lnTo>
                    <a:lnTo>
                      <a:pt x="437" y="20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6" name="Freeform 243"/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 rot="698053">
                <a:off x="4366620" y="2878056"/>
                <a:ext cx="198075" cy="233973"/>
              </a:xfrm>
              <a:custGeom>
                <a:avLst/>
                <a:gdLst>
                  <a:gd name="T0" fmla="*/ 12 w 259"/>
                  <a:gd name="T1" fmla="*/ 172 h 316"/>
                  <a:gd name="T2" fmla="*/ 53 w 259"/>
                  <a:gd name="T3" fmla="*/ 134 h 316"/>
                  <a:gd name="T4" fmla="*/ 53 w 259"/>
                  <a:gd name="T5" fmla="*/ 96 h 316"/>
                  <a:gd name="T6" fmla="*/ 77 w 259"/>
                  <a:gd name="T7" fmla="*/ 70 h 316"/>
                  <a:gd name="T8" fmla="*/ 89 w 259"/>
                  <a:gd name="T9" fmla="*/ 84 h 316"/>
                  <a:gd name="T10" fmla="*/ 113 w 259"/>
                  <a:gd name="T11" fmla="*/ 84 h 316"/>
                  <a:gd name="T12" fmla="*/ 129 w 259"/>
                  <a:gd name="T13" fmla="*/ 66 h 316"/>
                  <a:gd name="T14" fmla="*/ 137 w 259"/>
                  <a:gd name="T15" fmla="*/ 42 h 316"/>
                  <a:gd name="T16" fmla="*/ 151 w 259"/>
                  <a:gd name="T17" fmla="*/ 18 h 316"/>
                  <a:gd name="T18" fmla="*/ 177 w 259"/>
                  <a:gd name="T19" fmla="*/ 0 h 316"/>
                  <a:gd name="T20" fmla="*/ 207 w 259"/>
                  <a:gd name="T21" fmla="*/ 30 h 316"/>
                  <a:gd name="T22" fmla="*/ 235 w 259"/>
                  <a:gd name="T23" fmla="*/ 28 h 316"/>
                  <a:gd name="T24" fmla="*/ 235 w 259"/>
                  <a:gd name="T25" fmla="*/ 56 h 316"/>
                  <a:gd name="T26" fmla="*/ 259 w 259"/>
                  <a:gd name="T27" fmla="*/ 56 h 316"/>
                  <a:gd name="T28" fmla="*/ 253 w 259"/>
                  <a:gd name="T29" fmla="*/ 84 h 316"/>
                  <a:gd name="T30" fmla="*/ 253 w 259"/>
                  <a:gd name="T31" fmla="*/ 118 h 316"/>
                  <a:gd name="T32" fmla="*/ 235 w 259"/>
                  <a:gd name="T33" fmla="*/ 148 h 316"/>
                  <a:gd name="T34" fmla="*/ 231 w 259"/>
                  <a:gd name="T35" fmla="*/ 180 h 316"/>
                  <a:gd name="T36" fmla="*/ 215 w 259"/>
                  <a:gd name="T37" fmla="*/ 214 h 316"/>
                  <a:gd name="T38" fmla="*/ 173 w 259"/>
                  <a:gd name="T39" fmla="*/ 236 h 316"/>
                  <a:gd name="T40" fmla="*/ 173 w 259"/>
                  <a:gd name="T41" fmla="*/ 252 h 316"/>
                  <a:gd name="T42" fmla="*/ 189 w 259"/>
                  <a:gd name="T43" fmla="*/ 278 h 316"/>
                  <a:gd name="T44" fmla="*/ 175 w 259"/>
                  <a:gd name="T45" fmla="*/ 292 h 316"/>
                  <a:gd name="T46" fmla="*/ 123 w 259"/>
                  <a:gd name="T47" fmla="*/ 308 h 316"/>
                  <a:gd name="T48" fmla="*/ 115 w 259"/>
                  <a:gd name="T49" fmla="*/ 316 h 316"/>
                  <a:gd name="T50" fmla="*/ 95 w 259"/>
                  <a:gd name="T51" fmla="*/ 308 h 316"/>
                  <a:gd name="T52" fmla="*/ 93 w 259"/>
                  <a:gd name="T53" fmla="*/ 296 h 316"/>
                  <a:gd name="T54" fmla="*/ 111 w 259"/>
                  <a:gd name="T55" fmla="*/ 286 h 316"/>
                  <a:gd name="T56" fmla="*/ 93 w 259"/>
                  <a:gd name="T57" fmla="*/ 272 h 316"/>
                  <a:gd name="T58" fmla="*/ 89 w 259"/>
                  <a:gd name="T59" fmla="*/ 248 h 316"/>
                  <a:gd name="T60" fmla="*/ 75 w 259"/>
                  <a:gd name="T61" fmla="*/ 248 h 316"/>
                  <a:gd name="T62" fmla="*/ 65 w 259"/>
                  <a:gd name="T63" fmla="*/ 234 h 316"/>
                  <a:gd name="T64" fmla="*/ 41 w 259"/>
                  <a:gd name="T65" fmla="*/ 224 h 316"/>
                  <a:gd name="T66" fmla="*/ 29 w 259"/>
                  <a:gd name="T67" fmla="*/ 206 h 316"/>
                  <a:gd name="T68" fmla="*/ 0 w 259"/>
                  <a:gd name="T69" fmla="*/ 204 h 316"/>
                  <a:gd name="T70" fmla="*/ 12 w 259"/>
                  <a:gd name="T71" fmla="*/ 172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9" h="316">
                    <a:moveTo>
                      <a:pt x="12" y="172"/>
                    </a:moveTo>
                    <a:lnTo>
                      <a:pt x="53" y="134"/>
                    </a:lnTo>
                    <a:lnTo>
                      <a:pt x="53" y="96"/>
                    </a:lnTo>
                    <a:lnTo>
                      <a:pt x="77" y="70"/>
                    </a:lnTo>
                    <a:lnTo>
                      <a:pt x="89" y="84"/>
                    </a:lnTo>
                    <a:lnTo>
                      <a:pt x="113" y="84"/>
                    </a:lnTo>
                    <a:lnTo>
                      <a:pt x="129" y="66"/>
                    </a:lnTo>
                    <a:lnTo>
                      <a:pt x="137" y="42"/>
                    </a:lnTo>
                    <a:lnTo>
                      <a:pt x="151" y="18"/>
                    </a:lnTo>
                    <a:lnTo>
                      <a:pt x="177" y="0"/>
                    </a:lnTo>
                    <a:lnTo>
                      <a:pt x="207" y="30"/>
                    </a:lnTo>
                    <a:lnTo>
                      <a:pt x="235" y="28"/>
                    </a:lnTo>
                    <a:lnTo>
                      <a:pt x="235" y="56"/>
                    </a:lnTo>
                    <a:lnTo>
                      <a:pt x="259" y="56"/>
                    </a:lnTo>
                    <a:lnTo>
                      <a:pt x="253" y="84"/>
                    </a:lnTo>
                    <a:lnTo>
                      <a:pt x="253" y="118"/>
                    </a:lnTo>
                    <a:lnTo>
                      <a:pt x="235" y="148"/>
                    </a:lnTo>
                    <a:lnTo>
                      <a:pt x="231" y="180"/>
                    </a:lnTo>
                    <a:lnTo>
                      <a:pt x="215" y="214"/>
                    </a:lnTo>
                    <a:lnTo>
                      <a:pt x="173" y="236"/>
                    </a:lnTo>
                    <a:lnTo>
                      <a:pt x="173" y="252"/>
                    </a:lnTo>
                    <a:lnTo>
                      <a:pt x="189" y="278"/>
                    </a:lnTo>
                    <a:lnTo>
                      <a:pt x="175" y="292"/>
                    </a:lnTo>
                    <a:lnTo>
                      <a:pt x="123" y="308"/>
                    </a:lnTo>
                    <a:lnTo>
                      <a:pt x="115" y="316"/>
                    </a:lnTo>
                    <a:lnTo>
                      <a:pt x="95" y="308"/>
                    </a:lnTo>
                    <a:lnTo>
                      <a:pt x="93" y="296"/>
                    </a:lnTo>
                    <a:lnTo>
                      <a:pt x="111" y="286"/>
                    </a:lnTo>
                    <a:lnTo>
                      <a:pt x="93" y="272"/>
                    </a:lnTo>
                    <a:lnTo>
                      <a:pt x="89" y="248"/>
                    </a:lnTo>
                    <a:lnTo>
                      <a:pt x="75" y="248"/>
                    </a:lnTo>
                    <a:lnTo>
                      <a:pt x="65" y="234"/>
                    </a:lnTo>
                    <a:lnTo>
                      <a:pt x="41" y="224"/>
                    </a:lnTo>
                    <a:lnTo>
                      <a:pt x="29" y="206"/>
                    </a:lnTo>
                    <a:lnTo>
                      <a:pt x="0" y="204"/>
                    </a:lnTo>
                    <a:lnTo>
                      <a:pt x="12" y="17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7" name="Freeform 244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 rot="698053">
                <a:off x="4510059" y="2350360"/>
                <a:ext cx="936999" cy="540201"/>
              </a:xfrm>
              <a:custGeom>
                <a:avLst/>
                <a:gdLst>
                  <a:gd name="T0" fmla="*/ 1139 w 1225"/>
                  <a:gd name="T1" fmla="*/ 130 h 731"/>
                  <a:gd name="T2" fmla="*/ 1069 w 1225"/>
                  <a:gd name="T3" fmla="*/ 180 h 731"/>
                  <a:gd name="T4" fmla="*/ 967 w 1225"/>
                  <a:gd name="T5" fmla="*/ 190 h 731"/>
                  <a:gd name="T6" fmla="*/ 863 w 1225"/>
                  <a:gd name="T7" fmla="*/ 140 h 731"/>
                  <a:gd name="T8" fmla="*/ 745 w 1225"/>
                  <a:gd name="T9" fmla="*/ 90 h 731"/>
                  <a:gd name="T10" fmla="*/ 616 w 1225"/>
                  <a:gd name="T11" fmla="*/ 0 h 731"/>
                  <a:gd name="T12" fmla="*/ 412 w 1225"/>
                  <a:gd name="T13" fmla="*/ 32 h 731"/>
                  <a:gd name="T14" fmla="*/ 386 w 1225"/>
                  <a:gd name="T15" fmla="*/ 82 h 731"/>
                  <a:gd name="T16" fmla="*/ 402 w 1225"/>
                  <a:gd name="T17" fmla="*/ 132 h 731"/>
                  <a:gd name="T18" fmla="*/ 394 w 1225"/>
                  <a:gd name="T19" fmla="*/ 198 h 731"/>
                  <a:gd name="T20" fmla="*/ 346 w 1225"/>
                  <a:gd name="T21" fmla="*/ 188 h 731"/>
                  <a:gd name="T22" fmla="*/ 282 w 1225"/>
                  <a:gd name="T23" fmla="*/ 190 h 731"/>
                  <a:gd name="T24" fmla="*/ 214 w 1225"/>
                  <a:gd name="T25" fmla="*/ 132 h 731"/>
                  <a:gd name="T26" fmla="*/ 152 w 1225"/>
                  <a:gd name="T27" fmla="*/ 102 h 731"/>
                  <a:gd name="T28" fmla="*/ 182 w 1225"/>
                  <a:gd name="T29" fmla="*/ 170 h 731"/>
                  <a:gd name="T30" fmla="*/ 154 w 1225"/>
                  <a:gd name="T31" fmla="*/ 240 h 731"/>
                  <a:gd name="T32" fmla="*/ 144 w 1225"/>
                  <a:gd name="T33" fmla="*/ 278 h 731"/>
                  <a:gd name="T34" fmla="*/ 120 w 1225"/>
                  <a:gd name="T35" fmla="*/ 316 h 731"/>
                  <a:gd name="T36" fmla="*/ 134 w 1225"/>
                  <a:gd name="T37" fmla="*/ 358 h 731"/>
                  <a:gd name="T38" fmla="*/ 172 w 1225"/>
                  <a:gd name="T39" fmla="*/ 338 h 731"/>
                  <a:gd name="T40" fmla="*/ 224 w 1225"/>
                  <a:gd name="T41" fmla="*/ 336 h 731"/>
                  <a:gd name="T42" fmla="*/ 208 w 1225"/>
                  <a:gd name="T43" fmla="*/ 388 h 731"/>
                  <a:gd name="T44" fmla="*/ 152 w 1225"/>
                  <a:gd name="T45" fmla="*/ 440 h 731"/>
                  <a:gd name="T46" fmla="*/ 132 w 1225"/>
                  <a:gd name="T47" fmla="*/ 494 h 731"/>
                  <a:gd name="T48" fmla="*/ 84 w 1225"/>
                  <a:gd name="T49" fmla="*/ 494 h 731"/>
                  <a:gd name="T50" fmla="*/ 60 w 1225"/>
                  <a:gd name="T51" fmla="*/ 526 h 731"/>
                  <a:gd name="T52" fmla="*/ 18 w 1225"/>
                  <a:gd name="T53" fmla="*/ 592 h 731"/>
                  <a:gd name="T54" fmla="*/ 14 w 1225"/>
                  <a:gd name="T55" fmla="*/ 665 h 731"/>
                  <a:gd name="T56" fmla="*/ 36 w 1225"/>
                  <a:gd name="T57" fmla="*/ 695 h 731"/>
                  <a:gd name="T58" fmla="*/ 108 w 1225"/>
                  <a:gd name="T59" fmla="*/ 689 h 731"/>
                  <a:gd name="T60" fmla="*/ 166 w 1225"/>
                  <a:gd name="T61" fmla="*/ 693 h 731"/>
                  <a:gd name="T62" fmla="*/ 222 w 1225"/>
                  <a:gd name="T63" fmla="*/ 656 h 731"/>
                  <a:gd name="T64" fmla="*/ 256 w 1225"/>
                  <a:gd name="T65" fmla="*/ 622 h 731"/>
                  <a:gd name="T66" fmla="*/ 304 w 1225"/>
                  <a:gd name="T67" fmla="*/ 636 h 731"/>
                  <a:gd name="T68" fmla="*/ 360 w 1225"/>
                  <a:gd name="T69" fmla="*/ 679 h 731"/>
                  <a:gd name="T70" fmla="*/ 438 w 1225"/>
                  <a:gd name="T71" fmla="*/ 681 h 731"/>
                  <a:gd name="T72" fmla="*/ 482 w 1225"/>
                  <a:gd name="T73" fmla="*/ 675 h 731"/>
                  <a:gd name="T74" fmla="*/ 592 w 1225"/>
                  <a:gd name="T75" fmla="*/ 725 h 731"/>
                  <a:gd name="T76" fmla="*/ 662 w 1225"/>
                  <a:gd name="T77" fmla="*/ 677 h 731"/>
                  <a:gd name="T78" fmla="*/ 701 w 1225"/>
                  <a:gd name="T79" fmla="*/ 580 h 731"/>
                  <a:gd name="T80" fmla="*/ 781 w 1225"/>
                  <a:gd name="T81" fmla="*/ 486 h 731"/>
                  <a:gd name="T82" fmla="*/ 837 w 1225"/>
                  <a:gd name="T83" fmla="*/ 386 h 731"/>
                  <a:gd name="T84" fmla="*/ 901 w 1225"/>
                  <a:gd name="T85" fmla="*/ 384 h 731"/>
                  <a:gd name="T86" fmla="*/ 1001 w 1225"/>
                  <a:gd name="T87" fmla="*/ 352 h 731"/>
                  <a:gd name="T88" fmla="*/ 1131 w 1225"/>
                  <a:gd name="T89" fmla="*/ 290 h 731"/>
                  <a:gd name="T90" fmla="*/ 1221 w 1225"/>
                  <a:gd name="T91" fmla="*/ 220 h 731"/>
                  <a:gd name="T92" fmla="*/ 1199 w 1225"/>
                  <a:gd name="T93" fmla="*/ 160 h 731"/>
                  <a:gd name="T94" fmla="*/ 1205 w 1225"/>
                  <a:gd name="T95" fmla="*/ 106 h 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25" h="731">
                    <a:moveTo>
                      <a:pt x="1205" y="106"/>
                    </a:moveTo>
                    <a:lnTo>
                      <a:pt x="1189" y="106"/>
                    </a:lnTo>
                    <a:lnTo>
                      <a:pt x="1163" y="128"/>
                    </a:lnTo>
                    <a:lnTo>
                      <a:pt x="1139" y="130"/>
                    </a:lnTo>
                    <a:lnTo>
                      <a:pt x="1129" y="156"/>
                    </a:lnTo>
                    <a:lnTo>
                      <a:pt x="1093" y="150"/>
                    </a:lnTo>
                    <a:lnTo>
                      <a:pt x="1083" y="164"/>
                    </a:lnTo>
                    <a:lnTo>
                      <a:pt x="1069" y="180"/>
                    </a:lnTo>
                    <a:lnTo>
                      <a:pt x="1053" y="188"/>
                    </a:lnTo>
                    <a:lnTo>
                      <a:pt x="1023" y="200"/>
                    </a:lnTo>
                    <a:lnTo>
                      <a:pt x="997" y="206"/>
                    </a:lnTo>
                    <a:lnTo>
                      <a:pt x="967" y="190"/>
                    </a:lnTo>
                    <a:lnTo>
                      <a:pt x="951" y="194"/>
                    </a:lnTo>
                    <a:lnTo>
                      <a:pt x="933" y="178"/>
                    </a:lnTo>
                    <a:lnTo>
                      <a:pt x="899" y="164"/>
                    </a:lnTo>
                    <a:lnTo>
                      <a:pt x="863" y="140"/>
                    </a:lnTo>
                    <a:lnTo>
                      <a:pt x="835" y="130"/>
                    </a:lnTo>
                    <a:lnTo>
                      <a:pt x="793" y="114"/>
                    </a:lnTo>
                    <a:lnTo>
                      <a:pt x="771" y="92"/>
                    </a:lnTo>
                    <a:lnTo>
                      <a:pt x="745" y="90"/>
                    </a:lnTo>
                    <a:lnTo>
                      <a:pt x="703" y="62"/>
                    </a:lnTo>
                    <a:lnTo>
                      <a:pt x="683" y="42"/>
                    </a:lnTo>
                    <a:lnTo>
                      <a:pt x="648" y="26"/>
                    </a:lnTo>
                    <a:lnTo>
                      <a:pt x="616" y="0"/>
                    </a:lnTo>
                    <a:lnTo>
                      <a:pt x="588" y="2"/>
                    </a:lnTo>
                    <a:lnTo>
                      <a:pt x="566" y="18"/>
                    </a:lnTo>
                    <a:lnTo>
                      <a:pt x="426" y="18"/>
                    </a:lnTo>
                    <a:lnTo>
                      <a:pt x="412" y="32"/>
                    </a:lnTo>
                    <a:lnTo>
                      <a:pt x="404" y="54"/>
                    </a:lnTo>
                    <a:lnTo>
                      <a:pt x="396" y="62"/>
                    </a:lnTo>
                    <a:lnTo>
                      <a:pt x="396" y="72"/>
                    </a:lnTo>
                    <a:lnTo>
                      <a:pt x="386" y="82"/>
                    </a:lnTo>
                    <a:lnTo>
                      <a:pt x="374" y="92"/>
                    </a:lnTo>
                    <a:lnTo>
                      <a:pt x="380" y="104"/>
                    </a:lnTo>
                    <a:lnTo>
                      <a:pt x="394" y="120"/>
                    </a:lnTo>
                    <a:lnTo>
                      <a:pt x="402" y="132"/>
                    </a:lnTo>
                    <a:lnTo>
                      <a:pt x="392" y="150"/>
                    </a:lnTo>
                    <a:lnTo>
                      <a:pt x="396" y="168"/>
                    </a:lnTo>
                    <a:lnTo>
                      <a:pt x="406" y="178"/>
                    </a:lnTo>
                    <a:lnTo>
                      <a:pt x="394" y="198"/>
                    </a:lnTo>
                    <a:lnTo>
                      <a:pt x="384" y="210"/>
                    </a:lnTo>
                    <a:lnTo>
                      <a:pt x="374" y="202"/>
                    </a:lnTo>
                    <a:lnTo>
                      <a:pt x="362" y="202"/>
                    </a:lnTo>
                    <a:lnTo>
                      <a:pt x="346" y="188"/>
                    </a:lnTo>
                    <a:lnTo>
                      <a:pt x="328" y="184"/>
                    </a:lnTo>
                    <a:lnTo>
                      <a:pt x="314" y="176"/>
                    </a:lnTo>
                    <a:lnTo>
                      <a:pt x="296" y="182"/>
                    </a:lnTo>
                    <a:lnTo>
                      <a:pt x="282" y="190"/>
                    </a:lnTo>
                    <a:lnTo>
                      <a:pt x="278" y="170"/>
                    </a:lnTo>
                    <a:lnTo>
                      <a:pt x="256" y="148"/>
                    </a:lnTo>
                    <a:lnTo>
                      <a:pt x="236" y="138"/>
                    </a:lnTo>
                    <a:lnTo>
                      <a:pt x="214" y="132"/>
                    </a:lnTo>
                    <a:lnTo>
                      <a:pt x="202" y="122"/>
                    </a:lnTo>
                    <a:lnTo>
                      <a:pt x="186" y="116"/>
                    </a:lnTo>
                    <a:lnTo>
                      <a:pt x="168" y="102"/>
                    </a:lnTo>
                    <a:lnTo>
                      <a:pt x="152" y="102"/>
                    </a:lnTo>
                    <a:lnTo>
                      <a:pt x="154" y="120"/>
                    </a:lnTo>
                    <a:lnTo>
                      <a:pt x="154" y="136"/>
                    </a:lnTo>
                    <a:lnTo>
                      <a:pt x="168" y="156"/>
                    </a:lnTo>
                    <a:lnTo>
                      <a:pt x="182" y="170"/>
                    </a:lnTo>
                    <a:lnTo>
                      <a:pt x="178" y="188"/>
                    </a:lnTo>
                    <a:lnTo>
                      <a:pt x="178" y="208"/>
                    </a:lnTo>
                    <a:lnTo>
                      <a:pt x="160" y="220"/>
                    </a:lnTo>
                    <a:lnTo>
                      <a:pt x="154" y="240"/>
                    </a:lnTo>
                    <a:lnTo>
                      <a:pt x="164" y="250"/>
                    </a:lnTo>
                    <a:lnTo>
                      <a:pt x="166" y="270"/>
                    </a:lnTo>
                    <a:lnTo>
                      <a:pt x="164" y="282"/>
                    </a:lnTo>
                    <a:lnTo>
                      <a:pt x="144" y="278"/>
                    </a:lnTo>
                    <a:lnTo>
                      <a:pt x="130" y="282"/>
                    </a:lnTo>
                    <a:lnTo>
                      <a:pt x="124" y="296"/>
                    </a:lnTo>
                    <a:lnTo>
                      <a:pt x="118" y="302"/>
                    </a:lnTo>
                    <a:lnTo>
                      <a:pt x="120" y="316"/>
                    </a:lnTo>
                    <a:lnTo>
                      <a:pt x="104" y="324"/>
                    </a:lnTo>
                    <a:lnTo>
                      <a:pt x="106" y="348"/>
                    </a:lnTo>
                    <a:lnTo>
                      <a:pt x="120" y="354"/>
                    </a:lnTo>
                    <a:lnTo>
                      <a:pt x="134" y="358"/>
                    </a:lnTo>
                    <a:lnTo>
                      <a:pt x="144" y="370"/>
                    </a:lnTo>
                    <a:lnTo>
                      <a:pt x="156" y="352"/>
                    </a:lnTo>
                    <a:lnTo>
                      <a:pt x="166" y="356"/>
                    </a:lnTo>
                    <a:lnTo>
                      <a:pt x="172" y="338"/>
                    </a:lnTo>
                    <a:lnTo>
                      <a:pt x="190" y="334"/>
                    </a:lnTo>
                    <a:lnTo>
                      <a:pt x="202" y="334"/>
                    </a:lnTo>
                    <a:lnTo>
                      <a:pt x="210" y="344"/>
                    </a:lnTo>
                    <a:lnTo>
                      <a:pt x="224" y="336"/>
                    </a:lnTo>
                    <a:lnTo>
                      <a:pt x="226" y="354"/>
                    </a:lnTo>
                    <a:lnTo>
                      <a:pt x="236" y="366"/>
                    </a:lnTo>
                    <a:lnTo>
                      <a:pt x="220" y="382"/>
                    </a:lnTo>
                    <a:lnTo>
                      <a:pt x="208" y="388"/>
                    </a:lnTo>
                    <a:lnTo>
                      <a:pt x="190" y="406"/>
                    </a:lnTo>
                    <a:lnTo>
                      <a:pt x="170" y="418"/>
                    </a:lnTo>
                    <a:lnTo>
                      <a:pt x="168" y="430"/>
                    </a:lnTo>
                    <a:lnTo>
                      <a:pt x="152" y="440"/>
                    </a:lnTo>
                    <a:lnTo>
                      <a:pt x="142" y="450"/>
                    </a:lnTo>
                    <a:lnTo>
                      <a:pt x="156" y="466"/>
                    </a:lnTo>
                    <a:lnTo>
                      <a:pt x="146" y="484"/>
                    </a:lnTo>
                    <a:lnTo>
                      <a:pt x="132" y="494"/>
                    </a:lnTo>
                    <a:lnTo>
                      <a:pt x="120" y="508"/>
                    </a:lnTo>
                    <a:lnTo>
                      <a:pt x="108" y="506"/>
                    </a:lnTo>
                    <a:lnTo>
                      <a:pt x="104" y="494"/>
                    </a:lnTo>
                    <a:lnTo>
                      <a:pt x="84" y="494"/>
                    </a:lnTo>
                    <a:lnTo>
                      <a:pt x="72" y="492"/>
                    </a:lnTo>
                    <a:lnTo>
                      <a:pt x="74" y="500"/>
                    </a:lnTo>
                    <a:lnTo>
                      <a:pt x="56" y="506"/>
                    </a:lnTo>
                    <a:lnTo>
                      <a:pt x="60" y="526"/>
                    </a:lnTo>
                    <a:lnTo>
                      <a:pt x="42" y="542"/>
                    </a:lnTo>
                    <a:lnTo>
                      <a:pt x="42" y="568"/>
                    </a:lnTo>
                    <a:lnTo>
                      <a:pt x="18" y="574"/>
                    </a:lnTo>
                    <a:lnTo>
                      <a:pt x="18" y="592"/>
                    </a:lnTo>
                    <a:lnTo>
                      <a:pt x="0" y="610"/>
                    </a:lnTo>
                    <a:lnTo>
                      <a:pt x="0" y="630"/>
                    </a:lnTo>
                    <a:lnTo>
                      <a:pt x="14" y="644"/>
                    </a:lnTo>
                    <a:lnTo>
                      <a:pt x="14" y="665"/>
                    </a:lnTo>
                    <a:lnTo>
                      <a:pt x="20" y="685"/>
                    </a:lnTo>
                    <a:lnTo>
                      <a:pt x="12" y="705"/>
                    </a:lnTo>
                    <a:lnTo>
                      <a:pt x="20" y="713"/>
                    </a:lnTo>
                    <a:lnTo>
                      <a:pt x="36" y="695"/>
                    </a:lnTo>
                    <a:lnTo>
                      <a:pt x="46" y="669"/>
                    </a:lnTo>
                    <a:lnTo>
                      <a:pt x="68" y="663"/>
                    </a:lnTo>
                    <a:lnTo>
                      <a:pt x="94" y="673"/>
                    </a:lnTo>
                    <a:lnTo>
                      <a:pt x="108" y="689"/>
                    </a:lnTo>
                    <a:lnTo>
                      <a:pt x="130" y="669"/>
                    </a:lnTo>
                    <a:lnTo>
                      <a:pt x="140" y="681"/>
                    </a:lnTo>
                    <a:lnTo>
                      <a:pt x="146" y="695"/>
                    </a:lnTo>
                    <a:lnTo>
                      <a:pt x="166" y="693"/>
                    </a:lnTo>
                    <a:lnTo>
                      <a:pt x="180" y="681"/>
                    </a:lnTo>
                    <a:lnTo>
                      <a:pt x="200" y="681"/>
                    </a:lnTo>
                    <a:lnTo>
                      <a:pt x="222" y="673"/>
                    </a:lnTo>
                    <a:lnTo>
                      <a:pt x="222" y="656"/>
                    </a:lnTo>
                    <a:lnTo>
                      <a:pt x="208" y="642"/>
                    </a:lnTo>
                    <a:lnTo>
                      <a:pt x="220" y="618"/>
                    </a:lnTo>
                    <a:lnTo>
                      <a:pt x="248" y="632"/>
                    </a:lnTo>
                    <a:lnTo>
                      <a:pt x="256" y="622"/>
                    </a:lnTo>
                    <a:lnTo>
                      <a:pt x="266" y="632"/>
                    </a:lnTo>
                    <a:lnTo>
                      <a:pt x="280" y="620"/>
                    </a:lnTo>
                    <a:lnTo>
                      <a:pt x="296" y="626"/>
                    </a:lnTo>
                    <a:lnTo>
                      <a:pt x="304" y="636"/>
                    </a:lnTo>
                    <a:lnTo>
                      <a:pt x="300" y="654"/>
                    </a:lnTo>
                    <a:lnTo>
                      <a:pt x="314" y="671"/>
                    </a:lnTo>
                    <a:lnTo>
                      <a:pt x="332" y="665"/>
                    </a:lnTo>
                    <a:lnTo>
                      <a:pt x="360" y="679"/>
                    </a:lnTo>
                    <a:lnTo>
                      <a:pt x="380" y="697"/>
                    </a:lnTo>
                    <a:lnTo>
                      <a:pt x="400" y="687"/>
                    </a:lnTo>
                    <a:lnTo>
                      <a:pt x="424" y="695"/>
                    </a:lnTo>
                    <a:lnTo>
                      <a:pt x="438" y="681"/>
                    </a:lnTo>
                    <a:lnTo>
                      <a:pt x="452" y="687"/>
                    </a:lnTo>
                    <a:lnTo>
                      <a:pt x="460" y="695"/>
                    </a:lnTo>
                    <a:lnTo>
                      <a:pt x="474" y="691"/>
                    </a:lnTo>
                    <a:lnTo>
                      <a:pt x="482" y="675"/>
                    </a:lnTo>
                    <a:lnTo>
                      <a:pt x="496" y="675"/>
                    </a:lnTo>
                    <a:lnTo>
                      <a:pt x="528" y="695"/>
                    </a:lnTo>
                    <a:lnTo>
                      <a:pt x="558" y="711"/>
                    </a:lnTo>
                    <a:lnTo>
                      <a:pt x="592" y="725"/>
                    </a:lnTo>
                    <a:lnTo>
                      <a:pt x="638" y="731"/>
                    </a:lnTo>
                    <a:lnTo>
                      <a:pt x="644" y="713"/>
                    </a:lnTo>
                    <a:lnTo>
                      <a:pt x="656" y="699"/>
                    </a:lnTo>
                    <a:lnTo>
                      <a:pt x="662" y="677"/>
                    </a:lnTo>
                    <a:lnTo>
                      <a:pt x="695" y="642"/>
                    </a:lnTo>
                    <a:lnTo>
                      <a:pt x="695" y="624"/>
                    </a:lnTo>
                    <a:lnTo>
                      <a:pt x="707" y="604"/>
                    </a:lnTo>
                    <a:lnTo>
                      <a:pt x="701" y="580"/>
                    </a:lnTo>
                    <a:lnTo>
                      <a:pt x="719" y="546"/>
                    </a:lnTo>
                    <a:lnTo>
                      <a:pt x="747" y="530"/>
                    </a:lnTo>
                    <a:lnTo>
                      <a:pt x="749" y="506"/>
                    </a:lnTo>
                    <a:lnTo>
                      <a:pt x="781" y="486"/>
                    </a:lnTo>
                    <a:lnTo>
                      <a:pt x="777" y="456"/>
                    </a:lnTo>
                    <a:lnTo>
                      <a:pt x="789" y="434"/>
                    </a:lnTo>
                    <a:lnTo>
                      <a:pt x="815" y="406"/>
                    </a:lnTo>
                    <a:lnTo>
                      <a:pt x="837" y="386"/>
                    </a:lnTo>
                    <a:lnTo>
                      <a:pt x="853" y="392"/>
                    </a:lnTo>
                    <a:lnTo>
                      <a:pt x="853" y="412"/>
                    </a:lnTo>
                    <a:lnTo>
                      <a:pt x="877" y="410"/>
                    </a:lnTo>
                    <a:lnTo>
                      <a:pt x="901" y="384"/>
                    </a:lnTo>
                    <a:lnTo>
                      <a:pt x="927" y="372"/>
                    </a:lnTo>
                    <a:lnTo>
                      <a:pt x="941" y="356"/>
                    </a:lnTo>
                    <a:lnTo>
                      <a:pt x="965" y="352"/>
                    </a:lnTo>
                    <a:lnTo>
                      <a:pt x="1001" y="352"/>
                    </a:lnTo>
                    <a:lnTo>
                      <a:pt x="1001" y="324"/>
                    </a:lnTo>
                    <a:lnTo>
                      <a:pt x="1043" y="300"/>
                    </a:lnTo>
                    <a:lnTo>
                      <a:pt x="1085" y="290"/>
                    </a:lnTo>
                    <a:lnTo>
                      <a:pt x="1131" y="290"/>
                    </a:lnTo>
                    <a:lnTo>
                      <a:pt x="1141" y="260"/>
                    </a:lnTo>
                    <a:lnTo>
                      <a:pt x="1165" y="260"/>
                    </a:lnTo>
                    <a:lnTo>
                      <a:pt x="1189" y="236"/>
                    </a:lnTo>
                    <a:lnTo>
                      <a:pt x="1221" y="220"/>
                    </a:lnTo>
                    <a:lnTo>
                      <a:pt x="1201" y="200"/>
                    </a:lnTo>
                    <a:lnTo>
                      <a:pt x="1225" y="190"/>
                    </a:lnTo>
                    <a:lnTo>
                      <a:pt x="1225" y="172"/>
                    </a:lnTo>
                    <a:lnTo>
                      <a:pt x="1199" y="160"/>
                    </a:lnTo>
                    <a:lnTo>
                      <a:pt x="1203" y="134"/>
                    </a:lnTo>
                    <a:lnTo>
                      <a:pt x="1213" y="130"/>
                    </a:lnTo>
                    <a:lnTo>
                      <a:pt x="1219" y="114"/>
                    </a:lnTo>
                    <a:lnTo>
                      <a:pt x="1205" y="10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8" name="Freeform 245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 rot="698053">
                <a:off x="4504190" y="2759626"/>
                <a:ext cx="419870" cy="462211"/>
              </a:xfrm>
              <a:custGeom>
                <a:avLst/>
                <a:gdLst>
                  <a:gd name="T0" fmla="*/ 86 w 548"/>
                  <a:gd name="T1" fmla="*/ 289 h 625"/>
                  <a:gd name="T2" fmla="*/ 80 w 548"/>
                  <a:gd name="T3" fmla="*/ 351 h 625"/>
                  <a:gd name="T4" fmla="*/ 58 w 548"/>
                  <a:gd name="T5" fmla="*/ 413 h 625"/>
                  <a:gd name="T6" fmla="*/ 0 w 548"/>
                  <a:gd name="T7" fmla="*/ 469 h 625"/>
                  <a:gd name="T8" fmla="*/ 16 w 548"/>
                  <a:gd name="T9" fmla="*/ 511 h 625"/>
                  <a:gd name="T10" fmla="*/ 34 w 548"/>
                  <a:gd name="T11" fmla="*/ 533 h 625"/>
                  <a:gd name="T12" fmla="*/ 88 w 548"/>
                  <a:gd name="T13" fmla="*/ 555 h 625"/>
                  <a:gd name="T14" fmla="*/ 122 w 548"/>
                  <a:gd name="T15" fmla="*/ 583 h 625"/>
                  <a:gd name="T16" fmla="*/ 148 w 548"/>
                  <a:gd name="T17" fmla="*/ 625 h 625"/>
                  <a:gd name="T18" fmla="*/ 182 w 548"/>
                  <a:gd name="T19" fmla="*/ 599 h 625"/>
                  <a:gd name="T20" fmla="*/ 192 w 548"/>
                  <a:gd name="T21" fmla="*/ 567 h 625"/>
                  <a:gd name="T22" fmla="*/ 210 w 548"/>
                  <a:gd name="T23" fmla="*/ 557 h 625"/>
                  <a:gd name="T24" fmla="*/ 258 w 548"/>
                  <a:gd name="T25" fmla="*/ 545 h 625"/>
                  <a:gd name="T26" fmla="*/ 278 w 548"/>
                  <a:gd name="T27" fmla="*/ 497 h 625"/>
                  <a:gd name="T28" fmla="*/ 312 w 548"/>
                  <a:gd name="T29" fmla="*/ 521 h 625"/>
                  <a:gd name="T30" fmla="*/ 336 w 548"/>
                  <a:gd name="T31" fmla="*/ 497 h 625"/>
                  <a:gd name="T32" fmla="*/ 324 w 548"/>
                  <a:gd name="T33" fmla="*/ 473 h 625"/>
                  <a:gd name="T34" fmla="*/ 372 w 548"/>
                  <a:gd name="T35" fmla="*/ 463 h 625"/>
                  <a:gd name="T36" fmla="*/ 404 w 548"/>
                  <a:gd name="T37" fmla="*/ 433 h 625"/>
                  <a:gd name="T38" fmla="*/ 390 w 548"/>
                  <a:gd name="T39" fmla="*/ 407 h 625"/>
                  <a:gd name="T40" fmla="*/ 412 w 548"/>
                  <a:gd name="T41" fmla="*/ 365 h 625"/>
                  <a:gd name="T42" fmla="*/ 396 w 548"/>
                  <a:gd name="T43" fmla="*/ 303 h 625"/>
                  <a:gd name="T44" fmla="*/ 440 w 548"/>
                  <a:gd name="T45" fmla="*/ 285 h 625"/>
                  <a:gd name="T46" fmla="*/ 478 w 548"/>
                  <a:gd name="T47" fmla="*/ 237 h 625"/>
                  <a:gd name="T48" fmla="*/ 520 w 548"/>
                  <a:gd name="T49" fmla="*/ 175 h 625"/>
                  <a:gd name="T50" fmla="*/ 548 w 548"/>
                  <a:gd name="T51" fmla="*/ 135 h 625"/>
                  <a:gd name="T52" fmla="*/ 502 w 548"/>
                  <a:gd name="T53" fmla="*/ 107 h 625"/>
                  <a:gd name="T54" fmla="*/ 438 w 548"/>
                  <a:gd name="T55" fmla="*/ 77 h 625"/>
                  <a:gd name="T56" fmla="*/ 392 w 548"/>
                  <a:gd name="T57" fmla="*/ 57 h 625"/>
                  <a:gd name="T58" fmla="*/ 370 w 548"/>
                  <a:gd name="T59" fmla="*/ 77 h 625"/>
                  <a:gd name="T60" fmla="*/ 348 w 548"/>
                  <a:gd name="T61" fmla="*/ 63 h 625"/>
                  <a:gd name="T62" fmla="*/ 310 w 548"/>
                  <a:gd name="T63" fmla="*/ 69 h 625"/>
                  <a:gd name="T64" fmla="*/ 270 w 548"/>
                  <a:gd name="T65" fmla="*/ 61 h 625"/>
                  <a:gd name="T66" fmla="*/ 224 w 548"/>
                  <a:gd name="T67" fmla="*/ 53 h 625"/>
                  <a:gd name="T68" fmla="*/ 214 w 548"/>
                  <a:gd name="T69" fmla="*/ 18 h 625"/>
                  <a:gd name="T70" fmla="*/ 190 w 548"/>
                  <a:gd name="T71" fmla="*/ 2 h 625"/>
                  <a:gd name="T72" fmla="*/ 166 w 548"/>
                  <a:gd name="T73" fmla="*/ 4 h 625"/>
                  <a:gd name="T74" fmla="*/ 130 w 548"/>
                  <a:gd name="T75" fmla="*/ 0 h 625"/>
                  <a:gd name="T76" fmla="*/ 132 w 548"/>
                  <a:gd name="T77" fmla="*/ 38 h 625"/>
                  <a:gd name="T78" fmla="*/ 110 w 548"/>
                  <a:gd name="T79" fmla="*/ 63 h 625"/>
                  <a:gd name="T80" fmla="*/ 146 w 548"/>
                  <a:gd name="T81" fmla="*/ 87 h 625"/>
                  <a:gd name="T82" fmla="*/ 180 w 548"/>
                  <a:gd name="T83" fmla="*/ 117 h 625"/>
                  <a:gd name="T84" fmla="*/ 154 w 548"/>
                  <a:gd name="T85" fmla="*/ 159 h 625"/>
                  <a:gd name="T86" fmla="*/ 108 w 548"/>
                  <a:gd name="T87" fmla="*/ 191 h 625"/>
                  <a:gd name="T88" fmla="*/ 122 w 548"/>
                  <a:gd name="T89" fmla="*/ 227 h 625"/>
                  <a:gd name="T90" fmla="*/ 116 w 548"/>
                  <a:gd name="T91" fmla="*/ 269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48" h="625">
                    <a:moveTo>
                      <a:pt x="116" y="269"/>
                    </a:moveTo>
                    <a:lnTo>
                      <a:pt x="86" y="289"/>
                    </a:lnTo>
                    <a:lnTo>
                      <a:pt x="80" y="317"/>
                    </a:lnTo>
                    <a:lnTo>
                      <a:pt x="80" y="351"/>
                    </a:lnTo>
                    <a:lnTo>
                      <a:pt x="62" y="381"/>
                    </a:lnTo>
                    <a:lnTo>
                      <a:pt x="58" y="413"/>
                    </a:lnTo>
                    <a:lnTo>
                      <a:pt x="42" y="447"/>
                    </a:lnTo>
                    <a:lnTo>
                      <a:pt x="0" y="469"/>
                    </a:lnTo>
                    <a:lnTo>
                      <a:pt x="0" y="485"/>
                    </a:lnTo>
                    <a:lnTo>
                      <a:pt x="16" y="511"/>
                    </a:lnTo>
                    <a:lnTo>
                      <a:pt x="34" y="517"/>
                    </a:lnTo>
                    <a:lnTo>
                      <a:pt x="34" y="533"/>
                    </a:lnTo>
                    <a:lnTo>
                      <a:pt x="60" y="555"/>
                    </a:lnTo>
                    <a:lnTo>
                      <a:pt x="88" y="555"/>
                    </a:lnTo>
                    <a:lnTo>
                      <a:pt x="100" y="579"/>
                    </a:lnTo>
                    <a:lnTo>
                      <a:pt x="122" y="583"/>
                    </a:lnTo>
                    <a:lnTo>
                      <a:pt x="132" y="619"/>
                    </a:lnTo>
                    <a:lnTo>
                      <a:pt x="148" y="625"/>
                    </a:lnTo>
                    <a:lnTo>
                      <a:pt x="164" y="619"/>
                    </a:lnTo>
                    <a:lnTo>
                      <a:pt x="182" y="599"/>
                    </a:lnTo>
                    <a:lnTo>
                      <a:pt x="192" y="589"/>
                    </a:lnTo>
                    <a:lnTo>
                      <a:pt x="192" y="567"/>
                    </a:lnTo>
                    <a:lnTo>
                      <a:pt x="202" y="549"/>
                    </a:lnTo>
                    <a:lnTo>
                      <a:pt x="210" y="557"/>
                    </a:lnTo>
                    <a:lnTo>
                      <a:pt x="236" y="557"/>
                    </a:lnTo>
                    <a:lnTo>
                      <a:pt x="258" y="545"/>
                    </a:lnTo>
                    <a:lnTo>
                      <a:pt x="264" y="521"/>
                    </a:lnTo>
                    <a:lnTo>
                      <a:pt x="278" y="497"/>
                    </a:lnTo>
                    <a:lnTo>
                      <a:pt x="296" y="497"/>
                    </a:lnTo>
                    <a:lnTo>
                      <a:pt x="312" y="521"/>
                    </a:lnTo>
                    <a:lnTo>
                      <a:pt x="322" y="511"/>
                    </a:lnTo>
                    <a:lnTo>
                      <a:pt x="336" y="497"/>
                    </a:lnTo>
                    <a:lnTo>
                      <a:pt x="326" y="487"/>
                    </a:lnTo>
                    <a:lnTo>
                      <a:pt x="324" y="473"/>
                    </a:lnTo>
                    <a:lnTo>
                      <a:pt x="348" y="457"/>
                    </a:lnTo>
                    <a:lnTo>
                      <a:pt x="372" y="463"/>
                    </a:lnTo>
                    <a:lnTo>
                      <a:pt x="388" y="449"/>
                    </a:lnTo>
                    <a:lnTo>
                      <a:pt x="404" y="433"/>
                    </a:lnTo>
                    <a:lnTo>
                      <a:pt x="390" y="417"/>
                    </a:lnTo>
                    <a:lnTo>
                      <a:pt x="390" y="407"/>
                    </a:lnTo>
                    <a:lnTo>
                      <a:pt x="404" y="395"/>
                    </a:lnTo>
                    <a:lnTo>
                      <a:pt x="412" y="365"/>
                    </a:lnTo>
                    <a:lnTo>
                      <a:pt x="396" y="337"/>
                    </a:lnTo>
                    <a:lnTo>
                      <a:pt x="396" y="303"/>
                    </a:lnTo>
                    <a:lnTo>
                      <a:pt x="418" y="285"/>
                    </a:lnTo>
                    <a:lnTo>
                      <a:pt x="440" y="285"/>
                    </a:lnTo>
                    <a:lnTo>
                      <a:pt x="458" y="267"/>
                    </a:lnTo>
                    <a:lnTo>
                      <a:pt x="478" y="237"/>
                    </a:lnTo>
                    <a:lnTo>
                      <a:pt x="506" y="213"/>
                    </a:lnTo>
                    <a:lnTo>
                      <a:pt x="520" y="175"/>
                    </a:lnTo>
                    <a:lnTo>
                      <a:pt x="520" y="149"/>
                    </a:lnTo>
                    <a:lnTo>
                      <a:pt x="548" y="135"/>
                    </a:lnTo>
                    <a:lnTo>
                      <a:pt x="548" y="113"/>
                    </a:lnTo>
                    <a:lnTo>
                      <a:pt x="502" y="107"/>
                    </a:lnTo>
                    <a:lnTo>
                      <a:pt x="468" y="93"/>
                    </a:lnTo>
                    <a:lnTo>
                      <a:pt x="438" y="77"/>
                    </a:lnTo>
                    <a:lnTo>
                      <a:pt x="406" y="57"/>
                    </a:lnTo>
                    <a:lnTo>
                      <a:pt x="392" y="57"/>
                    </a:lnTo>
                    <a:lnTo>
                      <a:pt x="384" y="73"/>
                    </a:lnTo>
                    <a:lnTo>
                      <a:pt x="370" y="77"/>
                    </a:lnTo>
                    <a:lnTo>
                      <a:pt x="362" y="69"/>
                    </a:lnTo>
                    <a:lnTo>
                      <a:pt x="348" y="63"/>
                    </a:lnTo>
                    <a:lnTo>
                      <a:pt x="334" y="77"/>
                    </a:lnTo>
                    <a:lnTo>
                      <a:pt x="310" y="69"/>
                    </a:lnTo>
                    <a:lnTo>
                      <a:pt x="290" y="79"/>
                    </a:lnTo>
                    <a:lnTo>
                      <a:pt x="270" y="61"/>
                    </a:lnTo>
                    <a:lnTo>
                      <a:pt x="242" y="47"/>
                    </a:lnTo>
                    <a:lnTo>
                      <a:pt x="224" y="53"/>
                    </a:lnTo>
                    <a:lnTo>
                      <a:pt x="210" y="36"/>
                    </a:lnTo>
                    <a:lnTo>
                      <a:pt x="214" y="18"/>
                    </a:lnTo>
                    <a:lnTo>
                      <a:pt x="206" y="8"/>
                    </a:lnTo>
                    <a:lnTo>
                      <a:pt x="190" y="2"/>
                    </a:lnTo>
                    <a:lnTo>
                      <a:pt x="176" y="14"/>
                    </a:lnTo>
                    <a:lnTo>
                      <a:pt x="166" y="4"/>
                    </a:lnTo>
                    <a:lnTo>
                      <a:pt x="158" y="14"/>
                    </a:lnTo>
                    <a:lnTo>
                      <a:pt x="130" y="0"/>
                    </a:lnTo>
                    <a:lnTo>
                      <a:pt x="118" y="24"/>
                    </a:lnTo>
                    <a:lnTo>
                      <a:pt x="132" y="38"/>
                    </a:lnTo>
                    <a:lnTo>
                      <a:pt x="132" y="55"/>
                    </a:lnTo>
                    <a:lnTo>
                      <a:pt x="110" y="63"/>
                    </a:lnTo>
                    <a:lnTo>
                      <a:pt x="124" y="75"/>
                    </a:lnTo>
                    <a:lnTo>
                      <a:pt x="146" y="87"/>
                    </a:lnTo>
                    <a:lnTo>
                      <a:pt x="166" y="105"/>
                    </a:lnTo>
                    <a:lnTo>
                      <a:pt x="180" y="117"/>
                    </a:lnTo>
                    <a:lnTo>
                      <a:pt x="176" y="141"/>
                    </a:lnTo>
                    <a:lnTo>
                      <a:pt x="154" y="159"/>
                    </a:lnTo>
                    <a:lnTo>
                      <a:pt x="132" y="167"/>
                    </a:lnTo>
                    <a:lnTo>
                      <a:pt x="108" y="191"/>
                    </a:lnTo>
                    <a:lnTo>
                      <a:pt x="108" y="213"/>
                    </a:lnTo>
                    <a:lnTo>
                      <a:pt x="122" y="227"/>
                    </a:lnTo>
                    <a:lnTo>
                      <a:pt x="116" y="247"/>
                    </a:lnTo>
                    <a:lnTo>
                      <a:pt x="116" y="269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19" name="Freeform 246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 rot="698053">
                <a:off x="6444018" y="3739560"/>
                <a:ext cx="871764" cy="745501"/>
              </a:xfrm>
              <a:custGeom>
                <a:avLst/>
                <a:gdLst>
                  <a:gd name="T0" fmla="*/ 593 w 1140"/>
                  <a:gd name="T1" fmla="*/ 951 h 1009"/>
                  <a:gd name="T2" fmla="*/ 463 w 1140"/>
                  <a:gd name="T3" fmla="*/ 991 h 1009"/>
                  <a:gd name="T4" fmla="*/ 347 w 1140"/>
                  <a:gd name="T5" fmla="*/ 1005 h 1009"/>
                  <a:gd name="T6" fmla="*/ 275 w 1140"/>
                  <a:gd name="T7" fmla="*/ 929 h 1009"/>
                  <a:gd name="T8" fmla="*/ 181 w 1140"/>
                  <a:gd name="T9" fmla="*/ 891 h 1009"/>
                  <a:gd name="T10" fmla="*/ 65 w 1140"/>
                  <a:gd name="T11" fmla="*/ 875 h 1009"/>
                  <a:gd name="T12" fmla="*/ 19 w 1140"/>
                  <a:gd name="T13" fmla="*/ 843 h 1009"/>
                  <a:gd name="T14" fmla="*/ 15 w 1140"/>
                  <a:gd name="T15" fmla="*/ 793 h 1009"/>
                  <a:gd name="T16" fmla="*/ 65 w 1140"/>
                  <a:gd name="T17" fmla="*/ 719 h 1009"/>
                  <a:gd name="T18" fmla="*/ 105 w 1140"/>
                  <a:gd name="T19" fmla="*/ 709 h 1009"/>
                  <a:gd name="T20" fmla="*/ 141 w 1140"/>
                  <a:gd name="T21" fmla="*/ 753 h 1009"/>
                  <a:gd name="T22" fmla="*/ 207 w 1140"/>
                  <a:gd name="T23" fmla="*/ 787 h 1009"/>
                  <a:gd name="T24" fmla="*/ 285 w 1140"/>
                  <a:gd name="T25" fmla="*/ 815 h 1009"/>
                  <a:gd name="T26" fmla="*/ 325 w 1140"/>
                  <a:gd name="T27" fmla="*/ 851 h 1009"/>
                  <a:gd name="T28" fmla="*/ 379 w 1140"/>
                  <a:gd name="T29" fmla="*/ 875 h 1009"/>
                  <a:gd name="T30" fmla="*/ 437 w 1140"/>
                  <a:gd name="T31" fmla="*/ 881 h 1009"/>
                  <a:gd name="T32" fmla="*/ 505 w 1140"/>
                  <a:gd name="T33" fmla="*/ 769 h 1009"/>
                  <a:gd name="T34" fmla="*/ 623 w 1140"/>
                  <a:gd name="T35" fmla="*/ 611 h 1009"/>
                  <a:gd name="T36" fmla="*/ 621 w 1140"/>
                  <a:gd name="T37" fmla="*/ 443 h 1009"/>
                  <a:gd name="T38" fmla="*/ 603 w 1140"/>
                  <a:gd name="T39" fmla="*/ 293 h 1009"/>
                  <a:gd name="T40" fmla="*/ 573 w 1140"/>
                  <a:gd name="T41" fmla="*/ 257 h 1009"/>
                  <a:gd name="T42" fmla="*/ 627 w 1140"/>
                  <a:gd name="T43" fmla="*/ 188 h 1009"/>
                  <a:gd name="T44" fmla="*/ 677 w 1140"/>
                  <a:gd name="T45" fmla="*/ 162 h 1009"/>
                  <a:gd name="T46" fmla="*/ 727 w 1140"/>
                  <a:gd name="T47" fmla="*/ 110 h 1009"/>
                  <a:gd name="T48" fmla="*/ 794 w 1140"/>
                  <a:gd name="T49" fmla="*/ 108 h 1009"/>
                  <a:gd name="T50" fmla="*/ 864 w 1140"/>
                  <a:gd name="T51" fmla="*/ 112 h 1009"/>
                  <a:gd name="T52" fmla="*/ 930 w 1140"/>
                  <a:gd name="T53" fmla="*/ 96 h 1009"/>
                  <a:gd name="T54" fmla="*/ 968 w 1140"/>
                  <a:gd name="T55" fmla="*/ 0 h 1009"/>
                  <a:gd name="T56" fmla="*/ 976 w 1140"/>
                  <a:gd name="T57" fmla="*/ 46 h 1009"/>
                  <a:gd name="T58" fmla="*/ 1012 w 1140"/>
                  <a:gd name="T59" fmla="*/ 126 h 1009"/>
                  <a:gd name="T60" fmla="*/ 1060 w 1140"/>
                  <a:gd name="T61" fmla="*/ 205 h 1009"/>
                  <a:gd name="T62" fmla="*/ 1132 w 1140"/>
                  <a:gd name="T63" fmla="*/ 233 h 1009"/>
                  <a:gd name="T64" fmla="*/ 1098 w 1140"/>
                  <a:gd name="T65" fmla="*/ 303 h 1009"/>
                  <a:gd name="T66" fmla="*/ 1040 w 1140"/>
                  <a:gd name="T67" fmla="*/ 391 h 1009"/>
                  <a:gd name="T68" fmla="*/ 1010 w 1140"/>
                  <a:gd name="T69" fmla="*/ 479 h 1009"/>
                  <a:gd name="T70" fmla="*/ 1048 w 1140"/>
                  <a:gd name="T71" fmla="*/ 517 h 1009"/>
                  <a:gd name="T72" fmla="*/ 958 w 1140"/>
                  <a:gd name="T73" fmla="*/ 613 h 1009"/>
                  <a:gd name="T74" fmla="*/ 912 w 1140"/>
                  <a:gd name="T75" fmla="*/ 677 h 1009"/>
                  <a:gd name="T76" fmla="*/ 860 w 1140"/>
                  <a:gd name="T77" fmla="*/ 749 h 1009"/>
                  <a:gd name="T78" fmla="*/ 778 w 1140"/>
                  <a:gd name="T79" fmla="*/ 779 h 1009"/>
                  <a:gd name="T80" fmla="*/ 729 w 1140"/>
                  <a:gd name="T81" fmla="*/ 783 h 1009"/>
                  <a:gd name="T82" fmla="*/ 725 w 1140"/>
                  <a:gd name="T83" fmla="*/ 835 h 1009"/>
                  <a:gd name="T84" fmla="*/ 731 w 1140"/>
                  <a:gd name="T85" fmla="*/ 885 h 1009"/>
                  <a:gd name="T86" fmla="*/ 709 w 1140"/>
                  <a:gd name="T87" fmla="*/ 971 h 10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40" h="1009">
                    <a:moveTo>
                      <a:pt x="659" y="971"/>
                    </a:moveTo>
                    <a:lnTo>
                      <a:pt x="613" y="963"/>
                    </a:lnTo>
                    <a:lnTo>
                      <a:pt x="593" y="951"/>
                    </a:lnTo>
                    <a:lnTo>
                      <a:pt x="533" y="961"/>
                    </a:lnTo>
                    <a:lnTo>
                      <a:pt x="495" y="961"/>
                    </a:lnTo>
                    <a:lnTo>
                      <a:pt x="463" y="991"/>
                    </a:lnTo>
                    <a:lnTo>
                      <a:pt x="429" y="999"/>
                    </a:lnTo>
                    <a:lnTo>
                      <a:pt x="395" y="1009"/>
                    </a:lnTo>
                    <a:lnTo>
                      <a:pt x="347" y="1005"/>
                    </a:lnTo>
                    <a:lnTo>
                      <a:pt x="315" y="991"/>
                    </a:lnTo>
                    <a:lnTo>
                      <a:pt x="293" y="971"/>
                    </a:lnTo>
                    <a:lnTo>
                      <a:pt x="275" y="929"/>
                    </a:lnTo>
                    <a:lnTo>
                      <a:pt x="249" y="905"/>
                    </a:lnTo>
                    <a:lnTo>
                      <a:pt x="215" y="891"/>
                    </a:lnTo>
                    <a:lnTo>
                      <a:pt x="181" y="891"/>
                    </a:lnTo>
                    <a:lnTo>
                      <a:pt x="143" y="901"/>
                    </a:lnTo>
                    <a:lnTo>
                      <a:pt x="117" y="875"/>
                    </a:lnTo>
                    <a:lnTo>
                      <a:pt x="65" y="875"/>
                    </a:lnTo>
                    <a:lnTo>
                      <a:pt x="35" y="853"/>
                    </a:lnTo>
                    <a:lnTo>
                      <a:pt x="19" y="869"/>
                    </a:lnTo>
                    <a:lnTo>
                      <a:pt x="19" y="843"/>
                    </a:lnTo>
                    <a:lnTo>
                      <a:pt x="4" y="831"/>
                    </a:lnTo>
                    <a:lnTo>
                      <a:pt x="0" y="807"/>
                    </a:lnTo>
                    <a:lnTo>
                      <a:pt x="15" y="793"/>
                    </a:lnTo>
                    <a:lnTo>
                      <a:pt x="15" y="769"/>
                    </a:lnTo>
                    <a:lnTo>
                      <a:pt x="31" y="755"/>
                    </a:lnTo>
                    <a:lnTo>
                      <a:pt x="65" y="719"/>
                    </a:lnTo>
                    <a:lnTo>
                      <a:pt x="75" y="709"/>
                    </a:lnTo>
                    <a:lnTo>
                      <a:pt x="87" y="697"/>
                    </a:lnTo>
                    <a:lnTo>
                      <a:pt x="105" y="709"/>
                    </a:lnTo>
                    <a:lnTo>
                      <a:pt x="101" y="727"/>
                    </a:lnTo>
                    <a:lnTo>
                      <a:pt x="127" y="739"/>
                    </a:lnTo>
                    <a:lnTo>
                      <a:pt x="141" y="753"/>
                    </a:lnTo>
                    <a:lnTo>
                      <a:pt x="175" y="763"/>
                    </a:lnTo>
                    <a:lnTo>
                      <a:pt x="189" y="779"/>
                    </a:lnTo>
                    <a:lnTo>
                      <a:pt x="207" y="787"/>
                    </a:lnTo>
                    <a:lnTo>
                      <a:pt x="225" y="807"/>
                    </a:lnTo>
                    <a:lnTo>
                      <a:pt x="269" y="797"/>
                    </a:lnTo>
                    <a:lnTo>
                      <a:pt x="285" y="815"/>
                    </a:lnTo>
                    <a:lnTo>
                      <a:pt x="305" y="831"/>
                    </a:lnTo>
                    <a:lnTo>
                      <a:pt x="325" y="831"/>
                    </a:lnTo>
                    <a:lnTo>
                      <a:pt x="325" y="851"/>
                    </a:lnTo>
                    <a:lnTo>
                      <a:pt x="341" y="875"/>
                    </a:lnTo>
                    <a:lnTo>
                      <a:pt x="363" y="875"/>
                    </a:lnTo>
                    <a:lnTo>
                      <a:pt x="379" y="875"/>
                    </a:lnTo>
                    <a:lnTo>
                      <a:pt x="385" y="899"/>
                    </a:lnTo>
                    <a:lnTo>
                      <a:pt x="415" y="881"/>
                    </a:lnTo>
                    <a:lnTo>
                      <a:pt x="437" y="881"/>
                    </a:lnTo>
                    <a:lnTo>
                      <a:pt x="437" y="843"/>
                    </a:lnTo>
                    <a:lnTo>
                      <a:pt x="469" y="811"/>
                    </a:lnTo>
                    <a:lnTo>
                      <a:pt x="505" y="769"/>
                    </a:lnTo>
                    <a:lnTo>
                      <a:pt x="523" y="723"/>
                    </a:lnTo>
                    <a:lnTo>
                      <a:pt x="569" y="675"/>
                    </a:lnTo>
                    <a:lnTo>
                      <a:pt x="623" y="611"/>
                    </a:lnTo>
                    <a:lnTo>
                      <a:pt x="631" y="515"/>
                    </a:lnTo>
                    <a:lnTo>
                      <a:pt x="651" y="453"/>
                    </a:lnTo>
                    <a:lnTo>
                      <a:pt x="621" y="443"/>
                    </a:lnTo>
                    <a:lnTo>
                      <a:pt x="607" y="371"/>
                    </a:lnTo>
                    <a:lnTo>
                      <a:pt x="593" y="313"/>
                    </a:lnTo>
                    <a:lnTo>
                      <a:pt x="603" y="293"/>
                    </a:lnTo>
                    <a:lnTo>
                      <a:pt x="617" y="279"/>
                    </a:lnTo>
                    <a:lnTo>
                      <a:pt x="595" y="263"/>
                    </a:lnTo>
                    <a:lnTo>
                      <a:pt x="573" y="257"/>
                    </a:lnTo>
                    <a:lnTo>
                      <a:pt x="565" y="221"/>
                    </a:lnTo>
                    <a:lnTo>
                      <a:pt x="607" y="188"/>
                    </a:lnTo>
                    <a:lnTo>
                      <a:pt x="627" y="188"/>
                    </a:lnTo>
                    <a:lnTo>
                      <a:pt x="627" y="162"/>
                    </a:lnTo>
                    <a:lnTo>
                      <a:pt x="647" y="152"/>
                    </a:lnTo>
                    <a:lnTo>
                      <a:pt x="677" y="162"/>
                    </a:lnTo>
                    <a:lnTo>
                      <a:pt x="707" y="152"/>
                    </a:lnTo>
                    <a:lnTo>
                      <a:pt x="707" y="126"/>
                    </a:lnTo>
                    <a:lnTo>
                      <a:pt x="727" y="110"/>
                    </a:lnTo>
                    <a:lnTo>
                      <a:pt x="739" y="122"/>
                    </a:lnTo>
                    <a:lnTo>
                      <a:pt x="774" y="122"/>
                    </a:lnTo>
                    <a:lnTo>
                      <a:pt x="794" y="108"/>
                    </a:lnTo>
                    <a:lnTo>
                      <a:pt x="806" y="120"/>
                    </a:lnTo>
                    <a:lnTo>
                      <a:pt x="848" y="130"/>
                    </a:lnTo>
                    <a:lnTo>
                      <a:pt x="864" y="112"/>
                    </a:lnTo>
                    <a:lnTo>
                      <a:pt x="882" y="122"/>
                    </a:lnTo>
                    <a:lnTo>
                      <a:pt x="908" y="96"/>
                    </a:lnTo>
                    <a:lnTo>
                      <a:pt x="930" y="96"/>
                    </a:lnTo>
                    <a:lnTo>
                      <a:pt x="930" y="44"/>
                    </a:lnTo>
                    <a:lnTo>
                      <a:pt x="954" y="32"/>
                    </a:lnTo>
                    <a:lnTo>
                      <a:pt x="968" y="0"/>
                    </a:lnTo>
                    <a:lnTo>
                      <a:pt x="994" y="6"/>
                    </a:lnTo>
                    <a:lnTo>
                      <a:pt x="1006" y="18"/>
                    </a:lnTo>
                    <a:lnTo>
                      <a:pt x="976" y="46"/>
                    </a:lnTo>
                    <a:lnTo>
                      <a:pt x="976" y="82"/>
                    </a:lnTo>
                    <a:lnTo>
                      <a:pt x="1002" y="94"/>
                    </a:lnTo>
                    <a:lnTo>
                      <a:pt x="1012" y="126"/>
                    </a:lnTo>
                    <a:lnTo>
                      <a:pt x="1028" y="146"/>
                    </a:lnTo>
                    <a:lnTo>
                      <a:pt x="1038" y="180"/>
                    </a:lnTo>
                    <a:lnTo>
                      <a:pt x="1060" y="205"/>
                    </a:lnTo>
                    <a:lnTo>
                      <a:pt x="1082" y="197"/>
                    </a:lnTo>
                    <a:lnTo>
                      <a:pt x="1110" y="211"/>
                    </a:lnTo>
                    <a:lnTo>
                      <a:pt x="1132" y="233"/>
                    </a:lnTo>
                    <a:lnTo>
                      <a:pt x="1140" y="253"/>
                    </a:lnTo>
                    <a:lnTo>
                      <a:pt x="1128" y="295"/>
                    </a:lnTo>
                    <a:lnTo>
                      <a:pt x="1098" y="303"/>
                    </a:lnTo>
                    <a:lnTo>
                      <a:pt x="1072" y="329"/>
                    </a:lnTo>
                    <a:lnTo>
                      <a:pt x="1054" y="359"/>
                    </a:lnTo>
                    <a:lnTo>
                      <a:pt x="1040" y="391"/>
                    </a:lnTo>
                    <a:lnTo>
                      <a:pt x="1018" y="413"/>
                    </a:lnTo>
                    <a:lnTo>
                      <a:pt x="1000" y="445"/>
                    </a:lnTo>
                    <a:lnTo>
                      <a:pt x="1010" y="479"/>
                    </a:lnTo>
                    <a:lnTo>
                      <a:pt x="1032" y="485"/>
                    </a:lnTo>
                    <a:lnTo>
                      <a:pt x="1032" y="501"/>
                    </a:lnTo>
                    <a:lnTo>
                      <a:pt x="1048" y="517"/>
                    </a:lnTo>
                    <a:lnTo>
                      <a:pt x="1038" y="549"/>
                    </a:lnTo>
                    <a:lnTo>
                      <a:pt x="988" y="599"/>
                    </a:lnTo>
                    <a:lnTo>
                      <a:pt x="958" y="613"/>
                    </a:lnTo>
                    <a:lnTo>
                      <a:pt x="940" y="631"/>
                    </a:lnTo>
                    <a:lnTo>
                      <a:pt x="918" y="639"/>
                    </a:lnTo>
                    <a:lnTo>
                      <a:pt x="912" y="677"/>
                    </a:lnTo>
                    <a:lnTo>
                      <a:pt x="894" y="695"/>
                    </a:lnTo>
                    <a:lnTo>
                      <a:pt x="874" y="703"/>
                    </a:lnTo>
                    <a:lnTo>
                      <a:pt x="860" y="749"/>
                    </a:lnTo>
                    <a:lnTo>
                      <a:pt x="840" y="749"/>
                    </a:lnTo>
                    <a:lnTo>
                      <a:pt x="814" y="745"/>
                    </a:lnTo>
                    <a:lnTo>
                      <a:pt x="778" y="779"/>
                    </a:lnTo>
                    <a:lnTo>
                      <a:pt x="760" y="789"/>
                    </a:lnTo>
                    <a:lnTo>
                      <a:pt x="745" y="783"/>
                    </a:lnTo>
                    <a:lnTo>
                      <a:pt x="729" y="783"/>
                    </a:lnTo>
                    <a:lnTo>
                      <a:pt x="715" y="797"/>
                    </a:lnTo>
                    <a:lnTo>
                      <a:pt x="715" y="823"/>
                    </a:lnTo>
                    <a:lnTo>
                      <a:pt x="725" y="835"/>
                    </a:lnTo>
                    <a:lnTo>
                      <a:pt x="709" y="843"/>
                    </a:lnTo>
                    <a:lnTo>
                      <a:pt x="709" y="889"/>
                    </a:lnTo>
                    <a:lnTo>
                      <a:pt x="731" y="885"/>
                    </a:lnTo>
                    <a:lnTo>
                      <a:pt x="747" y="901"/>
                    </a:lnTo>
                    <a:lnTo>
                      <a:pt x="705" y="945"/>
                    </a:lnTo>
                    <a:lnTo>
                      <a:pt x="709" y="971"/>
                    </a:lnTo>
                    <a:lnTo>
                      <a:pt x="659" y="971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0" name="Freeform 247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 rot="698053">
                <a:off x="7011224" y="3705449"/>
                <a:ext cx="622688" cy="879692"/>
              </a:xfrm>
              <a:custGeom>
                <a:avLst/>
                <a:gdLst>
                  <a:gd name="T0" fmla="*/ 806 w 814"/>
                  <a:gd name="T1" fmla="*/ 619 h 1189"/>
                  <a:gd name="T2" fmla="*/ 759 w 814"/>
                  <a:gd name="T3" fmla="*/ 541 h 1189"/>
                  <a:gd name="T4" fmla="*/ 735 w 814"/>
                  <a:gd name="T5" fmla="*/ 513 h 1189"/>
                  <a:gd name="T6" fmla="*/ 814 w 814"/>
                  <a:gd name="T7" fmla="*/ 423 h 1189"/>
                  <a:gd name="T8" fmla="*/ 761 w 814"/>
                  <a:gd name="T9" fmla="*/ 373 h 1189"/>
                  <a:gd name="T10" fmla="*/ 763 w 814"/>
                  <a:gd name="T11" fmla="*/ 314 h 1189"/>
                  <a:gd name="T12" fmla="*/ 735 w 814"/>
                  <a:gd name="T13" fmla="*/ 286 h 1189"/>
                  <a:gd name="T14" fmla="*/ 715 w 814"/>
                  <a:gd name="T15" fmla="*/ 234 h 1189"/>
                  <a:gd name="T16" fmla="*/ 669 w 814"/>
                  <a:gd name="T17" fmla="*/ 218 h 1189"/>
                  <a:gd name="T18" fmla="*/ 641 w 814"/>
                  <a:gd name="T19" fmla="*/ 180 h 1189"/>
                  <a:gd name="T20" fmla="*/ 601 w 814"/>
                  <a:gd name="T21" fmla="*/ 212 h 1189"/>
                  <a:gd name="T22" fmla="*/ 581 w 814"/>
                  <a:gd name="T23" fmla="*/ 168 h 1189"/>
                  <a:gd name="T24" fmla="*/ 531 w 814"/>
                  <a:gd name="T25" fmla="*/ 152 h 1189"/>
                  <a:gd name="T26" fmla="*/ 493 w 814"/>
                  <a:gd name="T27" fmla="*/ 114 h 1189"/>
                  <a:gd name="T28" fmla="*/ 451 w 814"/>
                  <a:gd name="T29" fmla="*/ 56 h 1189"/>
                  <a:gd name="T30" fmla="*/ 403 w 814"/>
                  <a:gd name="T31" fmla="*/ 2 h 1189"/>
                  <a:gd name="T32" fmla="*/ 357 w 814"/>
                  <a:gd name="T33" fmla="*/ 2 h 1189"/>
                  <a:gd name="T34" fmla="*/ 323 w 814"/>
                  <a:gd name="T35" fmla="*/ 32 h 1189"/>
                  <a:gd name="T36" fmla="*/ 313 w 814"/>
                  <a:gd name="T37" fmla="*/ 94 h 1189"/>
                  <a:gd name="T38" fmla="*/ 373 w 814"/>
                  <a:gd name="T39" fmla="*/ 140 h 1189"/>
                  <a:gd name="T40" fmla="*/ 357 w 814"/>
                  <a:gd name="T41" fmla="*/ 190 h 1189"/>
                  <a:gd name="T42" fmla="*/ 295 w 814"/>
                  <a:gd name="T43" fmla="*/ 216 h 1189"/>
                  <a:gd name="T44" fmla="*/ 297 w 814"/>
                  <a:gd name="T45" fmla="*/ 262 h 1189"/>
                  <a:gd name="T46" fmla="*/ 333 w 814"/>
                  <a:gd name="T47" fmla="*/ 348 h 1189"/>
                  <a:gd name="T48" fmla="*/ 405 w 814"/>
                  <a:gd name="T49" fmla="*/ 379 h 1189"/>
                  <a:gd name="T50" fmla="*/ 423 w 814"/>
                  <a:gd name="T51" fmla="*/ 463 h 1189"/>
                  <a:gd name="T52" fmla="*/ 349 w 814"/>
                  <a:gd name="T53" fmla="*/ 527 h 1189"/>
                  <a:gd name="T54" fmla="*/ 295 w 814"/>
                  <a:gd name="T55" fmla="*/ 613 h 1189"/>
                  <a:gd name="T56" fmla="*/ 327 w 814"/>
                  <a:gd name="T57" fmla="*/ 669 h 1189"/>
                  <a:gd name="T58" fmla="*/ 303 w 814"/>
                  <a:gd name="T59" fmla="*/ 747 h 1189"/>
                  <a:gd name="T60" fmla="*/ 235 w 814"/>
                  <a:gd name="T61" fmla="*/ 799 h 1189"/>
                  <a:gd name="T62" fmla="*/ 189 w 814"/>
                  <a:gd name="T63" fmla="*/ 863 h 1189"/>
                  <a:gd name="T64" fmla="*/ 155 w 814"/>
                  <a:gd name="T65" fmla="*/ 917 h 1189"/>
                  <a:gd name="T66" fmla="*/ 73 w 814"/>
                  <a:gd name="T67" fmla="*/ 947 h 1189"/>
                  <a:gd name="T68" fmla="*/ 24 w 814"/>
                  <a:gd name="T69" fmla="*/ 951 h 1189"/>
                  <a:gd name="T70" fmla="*/ 20 w 814"/>
                  <a:gd name="T71" fmla="*/ 1003 h 1189"/>
                  <a:gd name="T72" fmla="*/ 26 w 814"/>
                  <a:gd name="T73" fmla="*/ 1053 h 1189"/>
                  <a:gd name="T74" fmla="*/ 4 w 814"/>
                  <a:gd name="T75" fmla="*/ 1139 h 1189"/>
                  <a:gd name="T76" fmla="*/ 71 w 814"/>
                  <a:gd name="T77" fmla="*/ 1189 h 1189"/>
                  <a:gd name="T78" fmla="*/ 205 w 814"/>
                  <a:gd name="T79" fmla="*/ 1171 h 1189"/>
                  <a:gd name="T80" fmla="*/ 297 w 814"/>
                  <a:gd name="T81" fmla="*/ 1123 h 1189"/>
                  <a:gd name="T82" fmla="*/ 393 w 814"/>
                  <a:gd name="T83" fmla="*/ 1057 h 1189"/>
                  <a:gd name="T84" fmla="*/ 485 w 814"/>
                  <a:gd name="T85" fmla="*/ 955 h 1189"/>
                  <a:gd name="T86" fmla="*/ 577 w 814"/>
                  <a:gd name="T87" fmla="*/ 959 h 1189"/>
                  <a:gd name="T88" fmla="*/ 689 w 814"/>
                  <a:gd name="T89" fmla="*/ 953 h 1189"/>
                  <a:gd name="T90" fmla="*/ 777 w 814"/>
                  <a:gd name="T91" fmla="*/ 869 h 1189"/>
                  <a:gd name="T92" fmla="*/ 794 w 814"/>
                  <a:gd name="T93" fmla="*/ 811 h 1189"/>
                  <a:gd name="T94" fmla="*/ 788 w 814"/>
                  <a:gd name="T95" fmla="*/ 699 h 1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14" h="1189">
                    <a:moveTo>
                      <a:pt x="788" y="699"/>
                    </a:moveTo>
                    <a:lnTo>
                      <a:pt x="796" y="643"/>
                    </a:lnTo>
                    <a:lnTo>
                      <a:pt x="806" y="619"/>
                    </a:lnTo>
                    <a:lnTo>
                      <a:pt x="796" y="577"/>
                    </a:lnTo>
                    <a:lnTo>
                      <a:pt x="777" y="559"/>
                    </a:lnTo>
                    <a:lnTo>
                      <a:pt x="759" y="541"/>
                    </a:lnTo>
                    <a:lnTo>
                      <a:pt x="739" y="559"/>
                    </a:lnTo>
                    <a:lnTo>
                      <a:pt x="725" y="539"/>
                    </a:lnTo>
                    <a:lnTo>
                      <a:pt x="735" y="513"/>
                    </a:lnTo>
                    <a:lnTo>
                      <a:pt x="749" y="469"/>
                    </a:lnTo>
                    <a:lnTo>
                      <a:pt x="771" y="449"/>
                    </a:lnTo>
                    <a:lnTo>
                      <a:pt x="814" y="423"/>
                    </a:lnTo>
                    <a:lnTo>
                      <a:pt x="794" y="391"/>
                    </a:lnTo>
                    <a:lnTo>
                      <a:pt x="785" y="373"/>
                    </a:lnTo>
                    <a:lnTo>
                      <a:pt x="761" y="373"/>
                    </a:lnTo>
                    <a:lnTo>
                      <a:pt x="755" y="344"/>
                    </a:lnTo>
                    <a:lnTo>
                      <a:pt x="743" y="326"/>
                    </a:lnTo>
                    <a:lnTo>
                      <a:pt x="763" y="314"/>
                    </a:lnTo>
                    <a:lnTo>
                      <a:pt x="763" y="304"/>
                    </a:lnTo>
                    <a:lnTo>
                      <a:pt x="753" y="304"/>
                    </a:lnTo>
                    <a:lnTo>
                      <a:pt x="735" y="286"/>
                    </a:lnTo>
                    <a:lnTo>
                      <a:pt x="721" y="284"/>
                    </a:lnTo>
                    <a:lnTo>
                      <a:pt x="723" y="250"/>
                    </a:lnTo>
                    <a:lnTo>
                      <a:pt x="715" y="234"/>
                    </a:lnTo>
                    <a:lnTo>
                      <a:pt x="705" y="208"/>
                    </a:lnTo>
                    <a:lnTo>
                      <a:pt x="685" y="198"/>
                    </a:lnTo>
                    <a:lnTo>
                      <a:pt x="669" y="218"/>
                    </a:lnTo>
                    <a:lnTo>
                      <a:pt x="653" y="212"/>
                    </a:lnTo>
                    <a:lnTo>
                      <a:pt x="651" y="190"/>
                    </a:lnTo>
                    <a:lnTo>
                      <a:pt x="641" y="180"/>
                    </a:lnTo>
                    <a:lnTo>
                      <a:pt x="625" y="176"/>
                    </a:lnTo>
                    <a:lnTo>
                      <a:pt x="609" y="192"/>
                    </a:lnTo>
                    <a:lnTo>
                      <a:pt x="601" y="212"/>
                    </a:lnTo>
                    <a:lnTo>
                      <a:pt x="573" y="204"/>
                    </a:lnTo>
                    <a:lnTo>
                      <a:pt x="565" y="188"/>
                    </a:lnTo>
                    <a:lnTo>
                      <a:pt x="581" y="168"/>
                    </a:lnTo>
                    <a:lnTo>
                      <a:pt x="571" y="152"/>
                    </a:lnTo>
                    <a:lnTo>
                      <a:pt x="553" y="158"/>
                    </a:lnTo>
                    <a:lnTo>
                      <a:pt x="531" y="152"/>
                    </a:lnTo>
                    <a:lnTo>
                      <a:pt x="515" y="136"/>
                    </a:lnTo>
                    <a:lnTo>
                      <a:pt x="513" y="120"/>
                    </a:lnTo>
                    <a:lnTo>
                      <a:pt x="493" y="114"/>
                    </a:lnTo>
                    <a:lnTo>
                      <a:pt x="493" y="90"/>
                    </a:lnTo>
                    <a:lnTo>
                      <a:pt x="473" y="84"/>
                    </a:lnTo>
                    <a:lnTo>
                      <a:pt x="451" y="56"/>
                    </a:lnTo>
                    <a:lnTo>
                      <a:pt x="423" y="46"/>
                    </a:lnTo>
                    <a:lnTo>
                      <a:pt x="417" y="16"/>
                    </a:lnTo>
                    <a:lnTo>
                      <a:pt x="403" y="2"/>
                    </a:lnTo>
                    <a:lnTo>
                      <a:pt x="387" y="14"/>
                    </a:lnTo>
                    <a:lnTo>
                      <a:pt x="369" y="14"/>
                    </a:lnTo>
                    <a:lnTo>
                      <a:pt x="357" y="2"/>
                    </a:lnTo>
                    <a:lnTo>
                      <a:pt x="335" y="0"/>
                    </a:lnTo>
                    <a:lnTo>
                      <a:pt x="313" y="22"/>
                    </a:lnTo>
                    <a:lnTo>
                      <a:pt x="323" y="32"/>
                    </a:lnTo>
                    <a:lnTo>
                      <a:pt x="313" y="56"/>
                    </a:lnTo>
                    <a:lnTo>
                      <a:pt x="325" y="68"/>
                    </a:lnTo>
                    <a:lnTo>
                      <a:pt x="313" y="94"/>
                    </a:lnTo>
                    <a:lnTo>
                      <a:pt x="353" y="134"/>
                    </a:lnTo>
                    <a:lnTo>
                      <a:pt x="373" y="124"/>
                    </a:lnTo>
                    <a:lnTo>
                      <a:pt x="373" y="140"/>
                    </a:lnTo>
                    <a:lnTo>
                      <a:pt x="383" y="150"/>
                    </a:lnTo>
                    <a:lnTo>
                      <a:pt x="379" y="176"/>
                    </a:lnTo>
                    <a:lnTo>
                      <a:pt x="357" y="190"/>
                    </a:lnTo>
                    <a:lnTo>
                      <a:pt x="345" y="212"/>
                    </a:lnTo>
                    <a:lnTo>
                      <a:pt x="315" y="204"/>
                    </a:lnTo>
                    <a:lnTo>
                      <a:pt x="295" y="216"/>
                    </a:lnTo>
                    <a:lnTo>
                      <a:pt x="271" y="214"/>
                    </a:lnTo>
                    <a:lnTo>
                      <a:pt x="271" y="250"/>
                    </a:lnTo>
                    <a:lnTo>
                      <a:pt x="297" y="262"/>
                    </a:lnTo>
                    <a:lnTo>
                      <a:pt x="307" y="294"/>
                    </a:lnTo>
                    <a:lnTo>
                      <a:pt x="323" y="314"/>
                    </a:lnTo>
                    <a:lnTo>
                      <a:pt x="333" y="348"/>
                    </a:lnTo>
                    <a:lnTo>
                      <a:pt x="355" y="373"/>
                    </a:lnTo>
                    <a:lnTo>
                      <a:pt x="377" y="365"/>
                    </a:lnTo>
                    <a:lnTo>
                      <a:pt x="405" y="379"/>
                    </a:lnTo>
                    <a:lnTo>
                      <a:pt x="427" y="401"/>
                    </a:lnTo>
                    <a:lnTo>
                      <a:pt x="435" y="421"/>
                    </a:lnTo>
                    <a:lnTo>
                      <a:pt x="423" y="463"/>
                    </a:lnTo>
                    <a:lnTo>
                      <a:pt x="393" y="471"/>
                    </a:lnTo>
                    <a:lnTo>
                      <a:pt x="367" y="497"/>
                    </a:lnTo>
                    <a:lnTo>
                      <a:pt x="349" y="527"/>
                    </a:lnTo>
                    <a:lnTo>
                      <a:pt x="335" y="559"/>
                    </a:lnTo>
                    <a:lnTo>
                      <a:pt x="313" y="581"/>
                    </a:lnTo>
                    <a:lnTo>
                      <a:pt x="295" y="613"/>
                    </a:lnTo>
                    <a:lnTo>
                      <a:pt x="305" y="647"/>
                    </a:lnTo>
                    <a:lnTo>
                      <a:pt x="327" y="653"/>
                    </a:lnTo>
                    <a:lnTo>
                      <a:pt x="327" y="669"/>
                    </a:lnTo>
                    <a:lnTo>
                      <a:pt x="343" y="685"/>
                    </a:lnTo>
                    <a:lnTo>
                      <a:pt x="333" y="717"/>
                    </a:lnTo>
                    <a:lnTo>
                      <a:pt x="303" y="747"/>
                    </a:lnTo>
                    <a:lnTo>
                      <a:pt x="283" y="767"/>
                    </a:lnTo>
                    <a:lnTo>
                      <a:pt x="253" y="781"/>
                    </a:lnTo>
                    <a:lnTo>
                      <a:pt x="235" y="799"/>
                    </a:lnTo>
                    <a:lnTo>
                      <a:pt x="213" y="807"/>
                    </a:lnTo>
                    <a:lnTo>
                      <a:pt x="207" y="845"/>
                    </a:lnTo>
                    <a:lnTo>
                      <a:pt x="189" y="863"/>
                    </a:lnTo>
                    <a:lnTo>
                      <a:pt x="169" y="871"/>
                    </a:lnTo>
                    <a:lnTo>
                      <a:pt x="161" y="897"/>
                    </a:lnTo>
                    <a:lnTo>
                      <a:pt x="155" y="917"/>
                    </a:lnTo>
                    <a:lnTo>
                      <a:pt x="135" y="917"/>
                    </a:lnTo>
                    <a:lnTo>
                      <a:pt x="109" y="913"/>
                    </a:lnTo>
                    <a:lnTo>
                      <a:pt x="73" y="947"/>
                    </a:lnTo>
                    <a:lnTo>
                      <a:pt x="55" y="957"/>
                    </a:lnTo>
                    <a:lnTo>
                      <a:pt x="40" y="951"/>
                    </a:lnTo>
                    <a:lnTo>
                      <a:pt x="24" y="951"/>
                    </a:lnTo>
                    <a:lnTo>
                      <a:pt x="10" y="965"/>
                    </a:lnTo>
                    <a:lnTo>
                      <a:pt x="10" y="991"/>
                    </a:lnTo>
                    <a:lnTo>
                      <a:pt x="20" y="1003"/>
                    </a:lnTo>
                    <a:lnTo>
                      <a:pt x="4" y="1011"/>
                    </a:lnTo>
                    <a:lnTo>
                      <a:pt x="4" y="1057"/>
                    </a:lnTo>
                    <a:lnTo>
                      <a:pt x="26" y="1053"/>
                    </a:lnTo>
                    <a:lnTo>
                      <a:pt x="42" y="1069"/>
                    </a:lnTo>
                    <a:lnTo>
                      <a:pt x="0" y="1113"/>
                    </a:lnTo>
                    <a:lnTo>
                      <a:pt x="4" y="1139"/>
                    </a:lnTo>
                    <a:lnTo>
                      <a:pt x="24" y="1157"/>
                    </a:lnTo>
                    <a:lnTo>
                      <a:pt x="34" y="1177"/>
                    </a:lnTo>
                    <a:lnTo>
                      <a:pt x="71" y="1189"/>
                    </a:lnTo>
                    <a:lnTo>
                      <a:pt x="111" y="1183"/>
                    </a:lnTo>
                    <a:lnTo>
                      <a:pt x="165" y="1183"/>
                    </a:lnTo>
                    <a:lnTo>
                      <a:pt x="205" y="1171"/>
                    </a:lnTo>
                    <a:lnTo>
                      <a:pt x="247" y="1171"/>
                    </a:lnTo>
                    <a:lnTo>
                      <a:pt x="263" y="1155"/>
                    </a:lnTo>
                    <a:lnTo>
                      <a:pt x="297" y="1123"/>
                    </a:lnTo>
                    <a:lnTo>
                      <a:pt x="339" y="1103"/>
                    </a:lnTo>
                    <a:lnTo>
                      <a:pt x="369" y="1081"/>
                    </a:lnTo>
                    <a:lnTo>
                      <a:pt x="393" y="1057"/>
                    </a:lnTo>
                    <a:lnTo>
                      <a:pt x="405" y="1019"/>
                    </a:lnTo>
                    <a:lnTo>
                      <a:pt x="453" y="971"/>
                    </a:lnTo>
                    <a:lnTo>
                      <a:pt x="485" y="955"/>
                    </a:lnTo>
                    <a:lnTo>
                      <a:pt x="511" y="965"/>
                    </a:lnTo>
                    <a:lnTo>
                      <a:pt x="539" y="979"/>
                    </a:lnTo>
                    <a:lnTo>
                      <a:pt x="577" y="959"/>
                    </a:lnTo>
                    <a:lnTo>
                      <a:pt x="603" y="943"/>
                    </a:lnTo>
                    <a:lnTo>
                      <a:pt x="639" y="949"/>
                    </a:lnTo>
                    <a:lnTo>
                      <a:pt x="689" y="953"/>
                    </a:lnTo>
                    <a:lnTo>
                      <a:pt x="733" y="937"/>
                    </a:lnTo>
                    <a:lnTo>
                      <a:pt x="759" y="911"/>
                    </a:lnTo>
                    <a:lnTo>
                      <a:pt x="777" y="869"/>
                    </a:lnTo>
                    <a:lnTo>
                      <a:pt x="806" y="861"/>
                    </a:lnTo>
                    <a:lnTo>
                      <a:pt x="806" y="823"/>
                    </a:lnTo>
                    <a:lnTo>
                      <a:pt x="794" y="811"/>
                    </a:lnTo>
                    <a:lnTo>
                      <a:pt x="773" y="773"/>
                    </a:lnTo>
                    <a:lnTo>
                      <a:pt x="788" y="735"/>
                    </a:lnTo>
                    <a:lnTo>
                      <a:pt x="788" y="699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1" name="Freeform 248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 rot="698053">
                <a:off x="6328729" y="3257361"/>
                <a:ext cx="1028326" cy="1123987"/>
              </a:xfrm>
              <a:custGeom>
                <a:avLst/>
                <a:gdLst>
                  <a:gd name="T0" fmla="*/ 1280 w 1346"/>
                  <a:gd name="T1" fmla="*/ 350 h 1519"/>
                  <a:gd name="T2" fmla="*/ 1226 w 1346"/>
                  <a:gd name="T3" fmla="*/ 336 h 1519"/>
                  <a:gd name="T4" fmla="*/ 1166 w 1346"/>
                  <a:gd name="T5" fmla="*/ 322 h 1519"/>
                  <a:gd name="T6" fmla="*/ 1082 w 1346"/>
                  <a:gd name="T7" fmla="*/ 282 h 1519"/>
                  <a:gd name="T8" fmla="*/ 1012 w 1346"/>
                  <a:gd name="T9" fmla="*/ 342 h 1519"/>
                  <a:gd name="T10" fmla="*/ 983 w 1346"/>
                  <a:gd name="T11" fmla="*/ 470 h 1519"/>
                  <a:gd name="T12" fmla="*/ 933 w 1346"/>
                  <a:gd name="T13" fmla="*/ 478 h 1519"/>
                  <a:gd name="T14" fmla="*/ 851 w 1346"/>
                  <a:gd name="T15" fmla="*/ 506 h 1519"/>
                  <a:gd name="T16" fmla="*/ 779 w 1346"/>
                  <a:gd name="T17" fmla="*/ 552 h 1519"/>
                  <a:gd name="T18" fmla="*/ 749 w 1346"/>
                  <a:gd name="T19" fmla="*/ 376 h 1519"/>
                  <a:gd name="T20" fmla="*/ 713 w 1346"/>
                  <a:gd name="T21" fmla="*/ 296 h 1519"/>
                  <a:gd name="T22" fmla="*/ 687 w 1346"/>
                  <a:gd name="T23" fmla="*/ 228 h 1519"/>
                  <a:gd name="T24" fmla="*/ 667 w 1346"/>
                  <a:gd name="T25" fmla="*/ 178 h 1519"/>
                  <a:gd name="T26" fmla="*/ 645 w 1346"/>
                  <a:gd name="T27" fmla="*/ 132 h 1519"/>
                  <a:gd name="T28" fmla="*/ 579 w 1346"/>
                  <a:gd name="T29" fmla="*/ 66 h 1519"/>
                  <a:gd name="T30" fmla="*/ 575 w 1346"/>
                  <a:gd name="T31" fmla="*/ 20 h 1519"/>
                  <a:gd name="T32" fmla="*/ 523 w 1346"/>
                  <a:gd name="T33" fmla="*/ 24 h 1519"/>
                  <a:gd name="T34" fmla="*/ 477 w 1346"/>
                  <a:gd name="T35" fmla="*/ 96 h 1519"/>
                  <a:gd name="T36" fmla="*/ 501 w 1346"/>
                  <a:gd name="T37" fmla="*/ 186 h 1519"/>
                  <a:gd name="T38" fmla="*/ 517 w 1346"/>
                  <a:gd name="T39" fmla="*/ 254 h 1519"/>
                  <a:gd name="T40" fmla="*/ 475 w 1346"/>
                  <a:gd name="T41" fmla="*/ 322 h 1519"/>
                  <a:gd name="T42" fmla="*/ 441 w 1346"/>
                  <a:gd name="T43" fmla="*/ 398 h 1519"/>
                  <a:gd name="T44" fmla="*/ 479 w 1346"/>
                  <a:gd name="T45" fmla="*/ 482 h 1519"/>
                  <a:gd name="T46" fmla="*/ 517 w 1346"/>
                  <a:gd name="T47" fmla="*/ 524 h 1519"/>
                  <a:gd name="T48" fmla="*/ 489 w 1346"/>
                  <a:gd name="T49" fmla="*/ 568 h 1519"/>
                  <a:gd name="T50" fmla="*/ 515 w 1346"/>
                  <a:gd name="T51" fmla="*/ 620 h 1519"/>
                  <a:gd name="T52" fmla="*/ 477 w 1346"/>
                  <a:gd name="T53" fmla="*/ 674 h 1519"/>
                  <a:gd name="T54" fmla="*/ 409 w 1346"/>
                  <a:gd name="T55" fmla="*/ 632 h 1519"/>
                  <a:gd name="T56" fmla="*/ 357 w 1346"/>
                  <a:gd name="T57" fmla="*/ 656 h 1519"/>
                  <a:gd name="T58" fmla="*/ 303 w 1346"/>
                  <a:gd name="T59" fmla="*/ 766 h 1519"/>
                  <a:gd name="T60" fmla="*/ 285 w 1346"/>
                  <a:gd name="T61" fmla="*/ 851 h 1519"/>
                  <a:gd name="T62" fmla="*/ 204 w 1346"/>
                  <a:gd name="T63" fmla="*/ 792 h 1519"/>
                  <a:gd name="T64" fmla="*/ 106 w 1346"/>
                  <a:gd name="T65" fmla="*/ 835 h 1519"/>
                  <a:gd name="T66" fmla="*/ 108 w 1346"/>
                  <a:gd name="T67" fmla="*/ 947 h 1519"/>
                  <a:gd name="T68" fmla="*/ 92 w 1346"/>
                  <a:gd name="T69" fmla="*/ 1031 h 1519"/>
                  <a:gd name="T70" fmla="*/ 72 w 1346"/>
                  <a:gd name="T71" fmla="*/ 1097 h 1519"/>
                  <a:gd name="T72" fmla="*/ 68 w 1346"/>
                  <a:gd name="T73" fmla="*/ 1175 h 1519"/>
                  <a:gd name="T74" fmla="*/ 22 w 1346"/>
                  <a:gd name="T75" fmla="*/ 1233 h 1519"/>
                  <a:gd name="T76" fmla="*/ 64 w 1346"/>
                  <a:gd name="T77" fmla="*/ 1299 h 1519"/>
                  <a:gd name="T78" fmla="*/ 156 w 1346"/>
                  <a:gd name="T79" fmla="*/ 1329 h 1519"/>
                  <a:gd name="T80" fmla="*/ 238 w 1346"/>
                  <a:gd name="T81" fmla="*/ 1349 h 1519"/>
                  <a:gd name="T82" fmla="*/ 335 w 1346"/>
                  <a:gd name="T83" fmla="*/ 1347 h 1519"/>
                  <a:gd name="T84" fmla="*/ 423 w 1346"/>
                  <a:gd name="T85" fmla="*/ 1399 h 1519"/>
                  <a:gd name="T86" fmla="*/ 539 w 1346"/>
                  <a:gd name="T87" fmla="*/ 1451 h 1519"/>
                  <a:gd name="T88" fmla="*/ 613 w 1346"/>
                  <a:gd name="T89" fmla="*/ 1495 h 1519"/>
                  <a:gd name="T90" fmla="*/ 671 w 1346"/>
                  <a:gd name="T91" fmla="*/ 1463 h 1519"/>
                  <a:gd name="T92" fmla="*/ 803 w 1346"/>
                  <a:gd name="T93" fmla="*/ 1295 h 1519"/>
                  <a:gd name="T94" fmla="*/ 855 w 1346"/>
                  <a:gd name="T95" fmla="*/ 1063 h 1519"/>
                  <a:gd name="T96" fmla="*/ 829 w 1346"/>
                  <a:gd name="T97" fmla="*/ 883 h 1519"/>
                  <a:gd name="T98" fmla="*/ 861 w 1346"/>
                  <a:gd name="T99" fmla="*/ 808 h 1519"/>
                  <a:gd name="T100" fmla="*/ 941 w 1346"/>
                  <a:gd name="T101" fmla="*/ 772 h 1519"/>
                  <a:gd name="T102" fmla="*/ 1008 w 1346"/>
                  <a:gd name="T103" fmla="*/ 742 h 1519"/>
                  <a:gd name="T104" fmla="*/ 1098 w 1346"/>
                  <a:gd name="T105" fmla="*/ 732 h 1519"/>
                  <a:gd name="T106" fmla="*/ 1164 w 1346"/>
                  <a:gd name="T107" fmla="*/ 664 h 1519"/>
                  <a:gd name="T108" fmla="*/ 1240 w 1346"/>
                  <a:gd name="T109" fmla="*/ 638 h 1519"/>
                  <a:gd name="T110" fmla="*/ 1284 w 1346"/>
                  <a:gd name="T111" fmla="*/ 664 h 1519"/>
                  <a:gd name="T112" fmla="*/ 1312 w 1346"/>
                  <a:gd name="T113" fmla="*/ 592 h 1519"/>
                  <a:gd name="T114" fmla="*/ 1264 w 1346"/>
                  <a:gd name="T115" fmla="*/ 520 h 1519"/>
                  <a:gd name="T116" fmla="*/ 1274 w 1346"/>
                  <a:gd name="T117" fmla="*/ 452 h 1519"/>
                  <a:gd name="T118" fmla="*/ 1342 w 1346"/>
                  <a:gd name="T119" fmla="*/ 454 h 1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6" h="1519">
                    <a:moveTo>
                      <a:pt x="1308" y="402"/>
                    </a:moveTo>
                    <a:lnTo>
                      <a:pt x="1298" y="372"/>
                    </a:lnTo>
                    <a:lnTo>
                      <a:pt x="1280" y="370"/>
                    </a:lnTo>
                    <a:lnTo>
                      <a:pt x="1280" y="350"/>
                    </a:lnTo>
                    <a:lnTo>
                      <a:pt x="1262" y="330"/>
                    </a:lnTo>
                    <a:lnTo>
                      <a:pt x="1248" y="316"/>
                    </a:lnTo>
                    <a:lnTo>
                      <a:pt x="1226" y="316"/>
                    </a:lnTo>
                    <a:lnTo>
                      <a:pt x="1226" y="336"/>
                    </a:lnTo>
                    <a:lnTo>
                      <a:pt x="1208" y="356"/>
                    </a:lnTo>
                    <a:lnTo>
                      <a:pt x="1180" y="352"/>
                    </a:lnTo>
                    <a:lnTo>
                      <a:pt x="1180" y="332"/>
                    </a:lnTo>
                    <a:lnTo>
                      <a:pt x="1166" y="322"/>
                    </a:lnTo>
                    <a:lnTo>
                      <a:pt x="1166" y="296"/>
                    </a:lnTo>
                    <a:lnTo>
                      <a:pt x="1140" y="294"/>
                    </a:lnTo>
                    <a:lnTo>
                      <a:pt x="1110" y="280"/>
                    </a:lnTo>
                    <a:lnTo>
                      <a:pt x="1082" y="282"/>
                    </a:lnTo>
                    <a:lnTo>
                      <a:pt x="1054" y="278"/>
                    </a:lnTo>
                    <a:lnTo>
                      <a:pt x="1038" y="298"/>
                    </a:lnTo>
                    <a:lnTo>
                      <a:pt x="1030" y="324"/>
                    </a:lnTo>
                    <a:lnTo>
                      <a:pt x="1012" y="342"/>
                    </a:lnTo>
                    <a:lnTo>
                      <a:pt x="1020" y="368"/>
                    </a:lnTo>
                    <a:lnTo>
                      <a:pt x="1010" y="398"/>
                    </a:lnTo>
                    <a:lnTo>
                      <a:pt x="983" y="424"/>
                    </a:lnTo>
                    <a:lnTo>
                      <a:pt x="983" y="470"/>
                    </a:lnTo>
                    <a:lnTo>
                      <a:pt x="949" y="494"/>
                    </a:lnTo>
                    <a:lnTo>
                      <a:pt x="949" y="522"/>
                    </a:lnTo>
                    <a:lnTo>
                      <a:pt x="933" y="500"/>
                    </a:lnTo>
                    <a:lnTo>
                      <a:pt x="933" y="478"/>
                    </a:lnTo>
                    <a:lnTo>
                      <a:pt x="915" y="460"/>
                    </a:lnTo>
                    <a:lnTo>
                      <a:pt x="899" y="468"/>
                    </a:lnTo>
                    <a:lnTo>
                      <a:pt x="895" y="490"/>
                    </a:lnTo>
                    <a:lnTo>
                      <a:pt x="851" y="506"/>
                    </a:lnTo>
                    <a:lnTo>
                      <a:pt x="829" y="506"/>
                    </a:lnTo>
                    <a:lnTo>
                      <a:pt x="821" y="530"/>
                    </a:lnTo>
                    <a:lnTo>
                      <a:pt x="809" y="550"/>
                    </a:lnTo>
                    <a:lnTo>
                      <a:pt x="779" y="552"/>
                    </a:lnTo>
                    <a:lnTo>
                      <a:pt x="747" y="520"/>
                    </a:lnTo>
                    <a:lnTo>
                      <a:pt x="745" y="454"/>
                    </a:lnTo>
                    <a:lnTo>
                      <a:pt x="749" y="414"/>
                    </a:lnTo>
                    <a:lnTo>
                      <a:pt x="749" y="376"/>
                    </a:lnTo>
                    <a:lnTo>
                      <a:pt x="753" y="344"/>
                    </a:lnTo>
                    <a:lnTo>
                      <a:pt x="753" y="312"/>
                    </a:lnTo>
                    <a:lnTo>
                      <a:pt x="729" y="302"/>
                    </a:lnTo>
                    <a:lnTo>
                      <a:pt x="713" y="296"/>
                    </a:lnTo>
                    <a:lnTo>
                      <a:pt x="711" y="280"/>
                    </a:lnTo>
                    <a:lnTo>
                      <a:pt x="703" y="262"/>
                    </a:lnTo>
                    <a:lnTo>
                      <a:pt x="687" y="246"/>
                    </a:lnTo>
                    <a:lnTo>
                      <a:pt x="687" y="228"/>
                    </a:lnTo>
                    <a:lnTo>
                      <a:pt x="699" y="218"/>
                    </a:lnTo>
                    <a:lnTo>
                      <a:pt x="701" y="194"/>
                    </a:lnTo>
                    <a:lnTo>
                      <a:pt x="687" y="178"/>
                    </a:lnTo>
                    <a:lnTo>
                      <a:pt x="667" y="178"/>
                    </a:lnTo>
                    <a:lnTo>
                      <a:pt x="647" y="168"/>
                    </a:lnTo>
                    <a:lnTo>
                      <a:pt x="647" y="150"/>
                    </a:lnTo>
                    <a:lnTo>
                      <a:pt x="655" y="142"/>
                    </a:lnTo>
                    <a:lnTo>
                      <a:pt x="645" y="132"/>
                    </a:lnTo>
                    <a:lnTo>
                      <a:pt x="639" y="102"/>
                    </a:lnTo>
                    <a:lnTo>
                      <a:pt x="621" y="72"/>
                    </a:lnTo>
                    <a:lnTo>
                      <a:pt x="601" y="58"/>
                    </a:lnTo>
                    <a:lnTo>
                      <a:pt x="579" y="66"/>
                    </a:lnTo>
                    <a:lnTo>
                      <a:pt x="557" y="68"/>
                    </a:lnTo>
                    <a:lnTo>
                      <a:pt x="557" y="42"/>
                    </a:lnTo>
                    <a:lnTo>
                      <a:pt x="575" y="36"/>
                    </a:lnTo>
                    <a:lnTo>
                      <a:pt x="575" y="20"/>
                    </a:lnTo>
                    <a:lnTo>
                      <a:pt x="557" y="0"/>
                    </a:lnTo>
                    <a:lnTo>
                      <a:pt x="549" y="16"/>
                    </a:lnTo>
                    <a:lnTo>
                      <a:pt x="539" y="26"/>
                    </a:lnTo>
                    <a:lnTo>
                      <a:pt x="523" y="24"/>
                    </a:lnTo>
                    <a:lnTo>
                      <a:pt x="505" y="40"/>
                    </a:lnTo>
                    <a:lnTo>
                      <a:pt x="487" y="48"/>
                    </a:lnTo>
                    <a:lnTo>
                      <a:pt x="477" y="72"/>
                    </a:lnTo>
                    <a:lnTo>
                      <a:pt x="477" y="96"/>
                    </a:lnTo>
                    <a:lnTo>
                      <a:pt x="485" y="122"/>
                    </a:lnTo>
                    <a:lnTo>
                      <a:pt x="479" y="144"/>
                    </a:lnTo>
                    <a:lnTo>
                      <a:pt x="479" y="164"/>
                    </a:lnTo>
                    <a:lnTo>
                      <a:pt x="501" y="186"/>
                    </a:lnTo>
                    <a:lnTo>
                      <a:pt x="515" y="200"/>
                    </a:lnTo>
                    <a:lnTo>
                      <a:pt x="509" y="220"/>
                    </a:lnTo>
                    <a:lnTo>
                      <a:pt x="499" y="236"/>
                    </a:lnTo>
                    <a:lnTo>
                      <a:pt x="517" y="254"/>
                    </a:lnTo>
                    <a:lnTo>
                      <a:pt x="501" y="270"/>
                    </a:lnTo>
                    <a:lnTo>
                      <a:pt x="489" y="278"/>
                    </a:lnTo>
                    <a:lnTo>
                      <a:pt x="489" y="314"/>
                    </a:lnTo>
                    <a:lnTo>
                      <a:pt x="475" y="322"/>
                    </a:lnTo>
                    <a:lnTo>
                      <a:pt x="469" y="346"/>
                    </a:lnTo>
                    <a:lnTo>
                      <a:pt x="445" y="356"/>
                    </a:lnTo>
                    <a:lnTo>
                      <a:pt x="451" y="388"/>
                    </a:lnTo>
                    <a:lnTo>
                      <a:pt x="441" y="398"/>
                    </a:lnTo>
                    <a:lnTo>
                      <a:pt x="437" y="426"/>
                    </a:lnTo>
                    <a:lnTo>
                      <a:pt x="443" y="454"/>
                    </a:lnTo>
                    <a:lnTo>
                      <a:pt x="457" y="460"/>
                    </a:lnTo>
                    <a:lnTo>
                      <a:pt x="479" y="482"/>
                    </a:lnTo>
                    <a:lnTo>
                      <a:pt x="489" y="472"/>
                    </a:lnTo>
                    <a:lnTo>
                      <a:pt x="509" y="480"/>
                    </a:lnTo>
                    <a:lnTo>
                      <a:pt x="509" y="504"/>
                    </a:lnTo>
                    <a:lnTo>
                      <a:pt x="517" y="524"/>
                    </a:lnTo>
                    <a:lnTo>
                      <a:pt x="503" y="522"/>
                    </a:lnTo>
                    <a:lnTo>
                      <a:pt x="493" y="540"/>
                    </a:lnTo>
                    <a:lnTo>
                      <a:pt x="485" y="556"/>
                    </a:lnTo>
                    <a:lnTo>
                      <a:pt x="489" y="568"/>
                    </a:lnTo>
                    <a:lnTo>
                      <a:pt x="511" y="568"/>
                    </a:lnTo>
                    <a:lnTo>
                      <a:pt x="521" y="590"/>
                    </a:lnTo>
                    <a:lnTo>
                      <a:pt x="527" y="608"/>
                    </a:lnTo>
                    <a:lnTo>
                      <a:pt x="515" y="620"/>
                    </a:lnTo>
                    <a:lnTo>
                      <a:pt x="503" y="640"/>
                    </a:lnTo>
                    <a:lnTo>
                      <a:pt x="503" y="658"/>
                    </a:lnTo>
                    <a:lnTo>
                      <a:pt x="497" y="674"/>
                    </a:lnTo>
                    <a:lnTo>
                      <a:pt x="477" y="674"/>
                    </a:lnTo>
                    <a:lnTo>
                      <a:pt x="461" y="656"/>
                    </a:lnTo>
                    <a:lnTo>
                      <a:pt x="437" y="656"/>
                    </a:lnTo>
                    <a:lnTo>
                      <a:pt x="429" y="642"/>
                    </a:lnTo>
                    <a:lnTo>
                      <a:pt x="409" y="632"/>
                    </a:lnTo>
                    <a:lnTo>
                      <a:pt x="403" y="618"/>
                    </a:lnTo>
                    <a:lnTo>
                      <a:pt x="387" y="614"/>
                    </a:lnTo>
                    <a:lnTo>
                      <a:pt x="363" y="628"/>
                    </a:lnTo>
                    <a:lnTo>
                      <a:pt x="357" y="656"/>
                    </a:lnTo>
                    <a:lnTo>
                      <a:pt x="369" y="682"/>
                    </a:lnTo>
                    <a:lnTo>
                      <a:pt x="351" y="708"/>
                    </a:lnTo>
                    <a:lnTo>
                      <a:pt x="323" y="738"/>
                    </a:lnTo>
                    <a:lnTo>
                      <a:pt x="303" y="766"/>
                    </a:lnTo>
                    <a:lnTo>
                      <a:pt x="295" y="794"/>
                    </a:lnTo>
                    <a:lnTo>
                      <a:pt x="285" y="821"/>
                    </a:lnTo>
                    <a:lnTo>
                      <a:pt x="303" y="839"/>
                    </a:lnTo>
                    <a:lnTo>
                      <a:pt x="285" y="851"/>
                    </a:lnTo>
                    <a:lnTo>
                      <a:pt x="259" y="835"/>
                    </a:lnTo>
                    <a:lnTo>
                      <a:pt x="247" y="804"/>
                    </a:lnTo>
                    <a:lnTo>
                      <a:pt x="224" y="782"/>
                    </a:lnTo>
                    <a:lnTo>
                      <a:pt x="204" y="792"/>
                    </a:lnTo>
                    <a:lnTo>
                      <a:pt x="194" y="821"/>
                    </a:lnTo>
                    <a:lnTo>
                      <a:pt x="162" y="833"/>
                    </a:lnTo>
                    <a:lnTo>
                      <a:pt x="134" y="829"/>
                    </a:lnTo>
                    <a:lnTo>
                      <a:pt x="106" y="835"/>
                    </a:lnTo>
                    <a:lnTo>
                      <a:pt x="106" y="875"/>
                    </a:lnTo>
                    <a:lnTo>
                      <a:pt x="90" y="891"/>
                    </a:lnTo>
                    <a:lnTo>
                      <a:pt x="90" y="929"/>
                    </a:lnTo>
                    <a:lnTo>
                      <a:pt x="108" y="947"/>
                    </a:lnTo>
                    <a:lnTo>
                      <a:pt x="122" y="977"/>
                    </a:lnTo>
                    <a:lnTo>
                      <a:pt x="122" y="995"/>
                    </a:lnTo>
                    <a:lnTo>
                      <a:pt x="102" y="1005"/>
                    </a:lnTo>
                    <a:lnTo>
                      <a:pt x="92" y="1031"/>
                    </a:lnTo>
                    <a:lnTo>
                      <a:pt x="72" y="1031"/>
                    </a:lnTo>
                    <a:lnTo>
                      <a:pt x="66" y="1055"/>
                    </a:lnTo>
                    <a:lnTo>
                      <a:pt x="58" y="1077"/>
                    </a:lnTo>
                    <a:lnTo>
                      <a:pt x="72" y="1097"/>
                    </a:lnTo>
                    <a:lnTo>
                      <a:pt x="74" y="1119"/>
                    </a:lnTo>
                    <a:lnTo>
                      <a:pt x="62" y="1127"/>
                    </a:lnTo>
                    <a:lnTo>
                      <a:pt x="62" y="1157"/>
                    </a:lnTo>
                    <a:lnTo>
                      <a:pt x="68" y="1175"/>
                    </a:lnTo>
                    <a:lnTo>
                      <a:pt x="58" y="1191"/>
                    </a:lnTo>
                    <a:lnTo>
                      <a:pt x="62" y="1213"/>
                    </a:lnTo>
                    <a:lnTo>
                      <a:pt x="22" y="1215"/>
                    </a:lnTo>
                    <a:lnTo>
                      <a:pt x="22" y="1233"/>
                    </a:lnTo>
                    <a:lnTo>
                      <a:pt x="6" y="1229"/>
                    </a:lnTo>
                    <a:lnTo>
                      <a:pt x="0" y="1245"/>
                    </a:lnTo>
                    <a:lnTo>
                      <a:pt x="26" y="1261"/>
                    </a:lnTo>
                    <a:lnTo>
                      <a:pt x="64" y="1299"/>
                    </a:lnTo>
                    <a:lnTo>
                      <a:pt x="82" y="1311"/>
                    </a:lnTo>
                    <a:lnTo>
                      <a:pt x="106" y="1311"/>
                    </a:lnTo>
                    <a:lnTo>
                      <a:pt x="126" y="1325"/>
                    </a:lnTo>
                    <a:lnTo>
                      <a:pt x="156" y="1329"/>
                    </a:lnTo>
                    <a:lnTo>
                      <a:pt x="180" y="1353"/>
                    </a:lnTo>
                    <a:lnTo>
                      <a:pt x="198" y="1361"/>
                    </a:lnTo>
                    <a:lnTo>
                      <a:pt x="226" y="1361"/>
                    </a:lnTo>
                    <a:lnTo>
                      <a:pt x="238" y="1349"/>
                    </a:lnTo>
                    <a:lnTo>
                      <a:pt x="265" y="1375"/>
                    </a:lnTo>
                    <a:lnTo>
                      <a:pt x="321" y="1317"/>
                    </a:lnTo>
                    <a:lnTo>
                      <a:pt x="341" y="1333"/>
                    </a:lnTo>
                    <a:lnTo>
                      <a:pt x="335" y="1347"/>
                    </a:lnTo>
                    <a:lnTo>
                      <a:pt x="361" y="1359"/>
                    </a:lnTo>
                    <a:lnTo>
                      <a:pt x="375" y="1373"/>
                    </a:lnTo>
                    <a:lnTo>
                      <a:pt x="409" y="1383"/>
                    </a:lnTo>
                    <a:lnTo>
                      <a:pt x="423" y="1399"/>
                    </a:lnTo>
                    <a:lnTo>
                      <a:pt x="441" y="1407"/>
                    </a:lnTo>
                    <a:lnTo>
                      <a:pt x="459" y="1427"/>
                    </a:lnTo>
                    <a:lnTo>
                      <a:pt x="503" y="1417"/>
                    </a:lnTo>
                    <a:lnTo>
                      <a:pt x="539" y="1451"/>
                    </a:lnTo>
                    <a:lnTo>
                      <a:pt x="559" y="1451"/>
                    </a:lnTo>
                    <a:lnTo>
                      <a:pt x="559" y="1471"/>
                    </a:lnTo>
                    <a:lnTo>
                      <a:pt x="575" y="1495"/>
                    </a:lnTo>
                    <a:lnTo>
                      <a:pt x="613" y="1495"/>
                    </a:lnTo>
                    <a:lnTo>
                      <a:pt x="619" y="1519"/>
                    </a:lnTo>
                    <a:lnTo>
                      <a:pt x="649" y="1501"/>
                    </a:lnTo>
                    <a:lnTo>
                      <a:pt x="671" y="1501"/>
                    </a:lnTo>
                    <a:lnTo>
                      <a:pt x="671" y="1463"/>
                    </a:lnTo>
                    <a:lnTo>
                      <a:pt x="703" y="1431"/>
                    </a:lnTo>
                    <a:lnTo>
                      <a:pt x="739" y="1389"/>
                    </a:lnTo>
                    <a:lnTo>
                      <a:pt x="757" y="1343"/>
                    </a:lnTo>
                    <a:lnTo>
                      <a:pt x="803" y="1295"/>
                    </a:lnTo>
                    <a:lnTo>
                      <a:pt x="857" y="1231"/>
                    </a:lnTo>
                    <a:lnTo>
                      <a:pt x="865" y="1135"/>
                    </a:lnTo>
                    <a:lnTo>
                      <a:pt x="885" y="1073"/>
                    </a:lnTo>
                    <a:lnTo>
                      <a:pt x="855" y="1063"/>
                    </a:lnTo>
                    <a:lnTo>
                      <a:pt x="827" y="933"/>
                    </a:lnTo>
                    <a:lnTo>
                      <a:pt x="837" y="913"/>
                    </a:lnTo>
                    <a:lnTo>
                      <a:pt x="851" y="899"/>
                    </a:lnTo>
                    <a:lnTo>
                      <a:pt x="829" y="883"/>
                    </a:lnTo>
                    <a:lnTo>
                      <a:pt x="807" y="877"/>
                    </a:lnTo>
                    <a:lnTo>
                      <a:pt x="799" y="841"/>
                    </a:lnTo>
                    <a:lnTo>
                      <a:pt x="841" y="808"/>
                    </a:lnTo>
                    <a:lnTo>
                      <a:pt x="861" y="808"/>
                    </a:lnTo>
                    <a:lnTo>
                      <a:pt x="861" y="782"/>
                    </a:lnTo>
                    <a:lnTo>
                      <a:pt x="881" y="772"/>
                    </a:lnTo>
                    <a:lnTo>
                      <a:pt x="911" y="782"/>
                    </a:lnTo>
                    <a:lnTo>
                      <a:pt x="941" y="772"/>
                    </a:lnTo>
                    <a:lnTo>
                      <a:pt x="941" y="746"/>
                    </a:lnTo>
                    <a:lnTo>
                      <a:pt x="961" y="730"/>
                    </a:lnTo>
                    <a:lnTo>
                      <a:pt x="973" y="742"/>
                    </a:lnTo>
                    <a:lnTo>
                      <a:pt x="1008" y="742"/>
                    </a:lnTo>
                    <a:lnTo>
                      <a:pt x="1028" y="728"/>
                    </a:lnTo>
                    <a:lnTo>
                      <a:pt x="1040" y="740"/>
                    </a:lnTo>
                    <a:lnTo>
                      <a:pt x="1082" y="750"/>
                    </a:lnTo>
                    <a:lnTo>
                      <a:pt x="1098" y="732"/>
                    </a:lnTo>
                    <a:lnTo>
                      <a:pt x="1116" y="742"/>
                    </a:lnTo>
                    <a:lnTo>
                      <a:pt x="1142" y="716"/>
                    </a:lnTo>
                    <a:lnTo>
                      <a:pt x="1164" y="716"/>
                    </a:lnTo>
                    <a:lnTo>
                      <a:pt x="1164" y="664"/>
                    </a:lnTo>
                    <a:lnTo>
                      <a:pt x="1188" y="652"/>
                    </a:lnTo>
                    <a:lnTo>
                      <a:pt x="1202" y="620"/>
                    </a:lnTo>
                    <a:lnTo>
                      <a:pt x="1228" y="626"/>
                    </a:lnTo>
                    <a:lnTo>
                      <a:pt x="1240" y="638"/>
                    </a:lnTo>
                    <a:lnTo>
                      <a:pt x="1210" y="666"/>
                    </a:lnTo>
                    <a:lnTo>
                      <a:pt x="1234" y="668"/>
                    </a:lnTo>
                    <a:lnTo>
                      <a:pt x="1254" y="656"/>
                    </a:lnTo>
                    <a:lnTo>
                      <a:pt x="1284" y="664"/>
                    </a:lnTo>
                    <a:lnTo>
                      <a:pt x="1296" y="642"/>
                    </a:lnTo>
                    <a:lnTo>
                      <a:pt x="1318" y="628"/>
                    </a:lnTo>
                    <a:lnTo>
                      <a:pt x="1322" y="602"/>
                    </a:lnTo>
                    <a:lnTo>
                      <a:pt x="1312" y="592"/>
                    </a:lnTo>
                    <a:lnTo>
                      <a:pt x="1312" y="576"/>
                    </a:lnTo>
                    <a:lnTo>
                      <a:pt x="1292" y="586"/>
                    </a:lnTo>
                    <a:lnTo>
                      <a:pt x="1252" y="546"/>
                    </a:lnTo>
                    <a:lnTo>
                      <a:pt x="1264" y="520"/>
                    </a:lnTo>
                    <a:lnTo>
                      <a:pt x="1252" y="508"/>
                    </a:lnTo>
                    <a:lnTo>
                      <a:pt x="1262" y="484"/>
                    </a:lnTo>
                    <a:lnTo>
                      <a:pt x="1252" y="474"/>
                    </a:lnTo>
                    <a:lnTo>
                      <a:pt x="1274" y="452"/>
                    </a:lnTo>
                    <a:lnTo>
                      <a:pt x="1296" y="454"/>
                    </a:lnTo>
                    <a:lnTo>
                      <a:pt x="1308" y="466"/>
                    </a:lnTo>
                    <a:lnTo>
                      <a:pt x="1326" y="466"/>
                    </a:lnTo>
                    <a:lnTo>
                      <a:pt x="1342" y="454"/>
                    </a:lnTo>
                    <a:lnTo>
                      <a:pt x="1346" y="438"/>
                    </a:lnTo>
                    <a:lnTo>
                      <a:pt x="1308" y="40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2" name="Freeform 249"/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 rot="698053">
                <a:off x="4906816" y="3232517"/>
                <a:ext cx="520687" cy="403717"/>
              </a:xfrm>
              <a:custGeom>
                <a:avLst/>
                <a:gdLst>
                  <a:gd name="T0" fmla="*/ 266 w 680"/>
                  <a:gd name="T1" fmla="*/ 521 h 545"/>
                  <a:gd name="T2" fmla="*/ 206 w 680"/>
                  <a:gd name="T3" fmla="*/ 505 h 545"/>
                  <a:gd name="T4" fmla="*/ 172 w 680"/>
                  <a:gd name="T5" fmla="*/ 461 h 545"/>
                  <a:gd name="T6" fmla="*/ 124 w 680"/>
                  <a:gd name="T7" fmla="*/ 405 h 545"/>
                  <a:gd name="T8" fmla="*/ 98 w 680"/>
                  <a:gd name="T9" fmla="*/ 383 h 545"/>
                  <a:gd name="T10" fmla="*/ 60 w 680"/>
                  <a:gd name="T11" fmla="*/ 368 h 545"/>
                  <a:gd name="T12" fmla="*/ 38 w 680"/>
                  <a:gd name="T13" fmla="*/ 334 h 545"/>
                  <a:gd name="T14" fmla="*/ 0 w 680"/>
                  <a:gd name="T15" fmla="*/ 296 h 545"/>
                  <a:gd name="T16" fmla="*/ 32 w 680"/>
                  <a:gd name="T17" fmla="*/ 256 h 545"/>
                  <a:gd name="T18" fmla="*/ 36 w 680"/>
                  <a:gd name="T19" fmla="*/ 220 h 545"/>
                  <a:gd name="T20" fmla="*/ 54 w 680"/>
                  <a:gd name="T21" fmla="*/ 168 h 545"/>
                  <a:gd name="T22" fmla="*/ 90 w 680"/>
                  <a:gd name="T23" fmla="*/ 158 h 545"/>
                  <a:gd name="T24" fmla="*/ 138 w 680"/>
                  <a:gd name="T25" fmla="*/ 150 h 545"/>
                  <a:gd name="T26" fmla="*/ 132 w 680"/>
                  <a:gd name="T27" fmla="*/ 110 h 545"/>
                  <a:gd name="T28" fmla="*/ 158 w 680"/>
                  <a:gd name="T29" fmla="*/ 98 h 545"/>
                  <a:gd name="T30" fmla="*/ 208 w 680"/>
                  <a:gd name="T31" fmla="*/ 92 h 545"/>
                  <a:gd name="T32" fmla="*/ 218 w 680"/>
                  <a:gd name="T33" fmla="*/ 64 h 545"/>
                  <a:gd name="T34" fmla="*/ 270 w 680"/>
                  <a:gd name="T35" fmla="*/ 60 h 545"/>
                  <a:gd name="T36" fmla="*/ 320 w 680"/>
                  <a:gd name="T37" fmla="*/ 48 h 545"/>
                  <a:gd name="T38" fmla="*/ 364 w 680"/>
                  <a:gd name="T39" fmla="*/ 32 h 545"/>
                  <a:gd name="T40" fmla="*/ 374 w 680"/>
                  <a:gd name="T41" fmla="*/ 0 h 545"/>
                  <a:gd name="T42" fmla="*/ 406 w 680"/>
                  <a:gd name="T43" fmla="*/ 16 h 545"/>
                  <a:gd name="T44" fmla="*/ 440 w 680"/>
                  <a:gd name="T45" fmla="*/ 42 h 545"/>
                  <a:gd name="T46" fmla="*/ 486 w 680"/>
                  <a:gd name="T47" fmla="*/ 48 h 545"/>
                  <a:gd name="T48" fmla="*/ 522 w 680"/>
                  <a:gd name="T49" fmla="*/ 96 h 545"/>
                  <a:gd name="T50" fmla="*/ 540 w 680"/>
                  <a:gd name="T51" fmla="*/ 150 h 545"/>
                  <a:gd name="T52" fmla="*/ 568 w 680"/>
                  <a:gd name="T53" fmla="*/ 176 h 545"/>
                  <a:gd name="T54" fmla="*/ 604 w 680"/>
                  <a:gd name="T55" fmla="*/ 198 h 545"/>
                  <a:gd name="T56" fmla="*/ 640 w 680"/>
                  <a:gd name="T57" fmla="*/ 210 h 545"/>
                  <a:gd name="T58" fmla="*/ 680 w 680"/>
                  <a:gd name="T59" fmla="*/ 226 h 545"/>
                  <a:gd name="T60" fmla="*/ 646 w 680"/>
                  <a:gd name="T61" fmla="*/ 264 h 545"/>
                  <a:gd name="T62" fmla="*/ 588 w 680"/>
                  <a:gd name="T63" fmla="*/ 276 h 545"/>
                  <a:gd name="T64" fmla="*/ 544 w 680"/>
                  <a:gd name="T65" fmla="*/ 258 h 545"/>
                  <a:gd name="T66" fmla="*/ 508 w 680"/>
                  <a:gd name="T67" fmla="*/ 272 h 545"/>
                  <a:gd name="T68" fmla="*/ 476 w 680"/>
                  <a:gd name="T69" fmla="*/ 254 h 545"/>
                  <a:gd name="T70" fmla="*/ 436 w 680"/>
                  <a:gd name="T71" fmla="*/ 240 h 545"/>
                  <a:gd name="T72" fmla="*/ 448 w 680"/>
                  <a:gd name="T73" fmla="*/ 212 h 545"/>
                  <a:gd name="T74" fmla="*/ 408 w 680"/>
                  <a:gd name="T75" fmla="*/ 204 h 545"/>
                  <a:gd name="T76" fmla="*/ 380 w 680"/>
                  <a:gd name="T77" fmla="*/ 240 h 545"/>
                  <a:gd name="T78" fmla="*/ 386 w 680"/>
                  <a:gd name="T79" fmla="*/ 288 h 545"/>
                  <a:gd name="T80" fmla="*/ 366 w 680"/>
                  <a:gd name="T81" fmla="*/ 314 h 545"/>
                  <a:gd name="T82" fmla="*/ 396 w 680"/>
                  <a:gd name="T83" fmla="*/ 334 h 545"/>
                  <a:gd name="T84" fmla="*/ 422 w 680"/>
                  <a:gd name="T85" fmla="*/ 362 h 545"/>
                  <a:gd name="T86" fmla="*/ 412 w 680"/>
                  <a:gd name="T87" fmla="*/ 389 h 545"/>
                  <a:gd name="T88" fmla="*/ 372 w 680"/>
                  <a:gd name="T89" fmla="*/ 409 h 545"/>
                  <a:gd name="T90" fmla="*/ 354 w 680"/>
                  <a:gd name="T91" fmla="*/ 451 h 545"/>
                  <a:gd name="T92" fmla="*/ 334 w 680"/>
                  <a:gd name="T93" fmla="*/ 479 h 545"/>
                  <a:gd name="T94" fmla="*/ 324 w 680"/>
                  <a:gd name="T95" fmla="*/ 499 h 545"/>
                  <a:gd name="T96" fmla="*/ 302 w 680"/>
                  <a:gd name="T97" fmla="*/ 529 h 545"/>
                  <a:gd name="T98" fmla="*/ 278 w 680"/>
                  <a:gd name="T99" fmla="*/ 545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0" h="545">
                    <a:moveTo>
                      <a:pt x="278" y="545"/>
                    </a:moveTo>
                    <a:lnTo>
                      <a:pt x="266" y="521"/>
                    </a:lnTo>
                    <a:lnTo>
                      <a:pt x="232" y="521"/>
                    </a:lnTo>
                    <a:lnTo>
                      <a:pt x="206" y="505"/>
                    </a:lnTo>
                    <a:lnTo>
                      <a:pt x="176" y="501"/>
                    </a:lnTo>
                    <a:lnTo>
                      <a:pt x="172" y="461"/>
                    </a:lnTo>
                    <a:lnTo>
                      <a:pt x="120" y="429"/>
                    </a:lnTo>
                    <a:lnTo>
                      <a:pt x="124" y="405"/>
                    </a:lnTo>
                    <a:lnTo>
                      <a:pt x="106" y="401"/>
                    </a:lnTo>
                    <a:lnTo>
                      <a:pt x="98" y="383"/>
                    </a:lnTo>
                    <a:lnTo>
                      <a:pt x="74" y="383"/>
                    </a:lnTo>
                    <a:lnTo>
                      <a:pt x="60" y="368"/>
                    </a:lnTo>
                    <a:lnTo>
                      <a:pt x="38" y="364"/>
                    </a:lnTo>
                    <a:lnTo>
                      <a:pt x="38" y="334"/>
                    </a:lnTo>
                    <a:lnTo>
                      <a:pt x="22" y="328"/>
                    </a:lnTo>
                    <a:lnTo>
                      <a:pt x="0" y="296"/>
                    </a:lnTo>
                    <a:lnTo>
                      <a:pt x="16" y="268"/>
                    </a:lnTo>
                    <a:lnTo>
                      <a:pt x="32" y="256"/>
                    </a:lnTo>
                    <a:lnTo>
                      <a:pt x="24" y="232"/>
                    </a:lnTo>
                    <a:lnTo>
                      <a:pt x="36" y="220"/>
                    </a:lnTo>
                    <a:lnTo>
                      <a:pt x="30" y="192"/>
                    </a:lnTo>
                    <a:lnTo>
                      <a:pt x="54" y="168"/>
                    </a:lnTo>
                    <a:lnTo>
                      <a:pt x="74" y="174"/>
                    </a:lnTo>
                    <a:lnTo>
                      <a:pt x="90" y="158"/>
                    </a:lnTo>
                    <a:lnTo>
                      <a:pt x="106" y="166"/>
                    </a:lnTo>
                    <a:lnTo>
                      <a:pt x="138" y="150"/>
                    </a:lnTo>
                    <a:lnTo>
                      <a:pt x="138" y="128"/>
                    </a:lnTo>
                    <a:lnTo>
                      <a:pt x="132" y="110"/>
                    </a:lnTo>
                    <a:lnTo>
                      <a:pt x="140" y="84"/>
                    </a:lnTo>
                    <a:lnTo>
                      <a:pt x="158" y="98"/>
                    </a:lnTo>
                    <a:lnTo>
                      <a:pt x="186" y="98"/>
                    </a:lnTo>
                    <a:lnTo>
                      <a:pt x="208" y="92"/>
                    </a:lnTo>
                    <a:lnTo>
                      <a:pt x="208" y="74"/>
                    </a:lnTo>
                    <a:lnTo>
                      <a:pt x="218" y="64"/>
                    </a:lnTo>
                    <a:lnTo>
                      <a:pt x="254" y="74"/>
                    </a:lnTo>
                    <a:lnTo>
                      <a:pt x="270" y="60"/>
                    </a:lnTo>
                    <a:lnTo>
                      <a:pt x="310" y="60"/>
                    </a:lnTo>
                    <a:lnTo>
                      <a:pt x="320" y="48"/>
                    </a:lnTo>
                    <a:lnTo>
                      <a:pt x="342" y="40"/>
                    </a:lnTo>
                    <a:lnTo>
                      <a:pt x="364" y="32"/>
                    </a:lnTo>
                    <a:lnTo>
                      <a:pt x="374" y="22"/>
                    </a:lnTo>
                    <a:lnTo>
                      <a:pt x="374" y="0"/>
                    </a:lnTo>
                    <a:lnTo>
                      <a:pt x="388" y="0"/>
                    </a:lnTo>
                    <a:lnTo>
                      <a:pt x="406" y="16"/>
                    </a:lnTo>
                    <a:lnTo>
                      <a:pt x="422" y="24"/>
                    </a:lnTo>
                    <a:lnTo>
                      <a:pt x="440" y="42"/>
                    </a:lnTo>
                    <a:lnTo>
                      <a:pt x="460" y="42"/>
                    </a:lnTo>
                    <a:lnTo>
                      <a:pt x="486" y="48"/>
                    </a:lnTo>
                    <a:lnTo>
                      <a:pt x="508" y="70"/>
                    </a:lnTo>
                    <a:lnTo>
                      <a:pt x="522" y="96"/>
                    </a:lnTo>
                    <a:lnTo>
                      <a:pt x="540" y="126"/>
                    </a:lnTo>
                    <a:lnTo>
                      <a:pt x="540" y="150"/>
                    </a:lnTo>
                    <a:lnTo>
                      <a:pt x="568" y="154"/>
                    </a:lnTo>
                    <a:lnTo>
                      <a:pt x="568" y="176"/>
                    </a:lnTo>
                    <a:lnTo>
                      <a:pt x="580" y="190"/>
                    </a:lnTo>
                    <a:lnTo>
                      <a:pt x="604" y="198"/>
                    </a:lnTo>
                    <a:lnTo>
                      <a:pt x="616" y="210"/>
                    </a:lnTo>
                    <a:lnTo>
                      <a:pt x="640" y="210"/>
                    </a:lnTo>
                    <a:lnTo>
                      <a:pt x="658" y="226"/>
                    </a:lnTo>
                    <a:lnTo>
                      <a:pt x="680" y="226"/>
                    </a:lnTo>
                    <a:lnTo>
                      <a:pt x="668" y="242"/>
                    </a:lnTo>
                    <a:lnTo>
                      <a:pt x="646" y="264"/>
                    </a:lnTo>
                    <a:lnTo>
                      <a:pt x="620" y="276"/>
                    </a:lnTo>
                    <a:lnTo>
                      <a:pt x="588" y="276"/>
                    </a:lnTo>
                    <a:lnTo>
                      <a:pt x="568" y="270"/>
                    </a:lnTo>
                    <a:lnTo>
                      <a:pt x="544" y="258"/>
                    </a:lnTo>
                    <a:lnTo>
                      <a:pt x="530" y="272"/>
                    </a:lnTo>
                    <a:lnTo>
                      <a:pt x="508" y="272"/>
                    </a:lnTo>
                    <a:lnTo>
                      <a:pt x="492" y="260"/>
                    </a:lnTo>
                    <a:lnTo>
                      <a:pt x="476" y="254"/>
                    </a:lnTo>
                    <a:lnTo>
                      <a:pt x="454" y="246"/>
                    </a:lnTo>
                    <a:lnTo>
                      <a:pt x="436" y="240"/>
                    </a:lnTo>
                    <a:lnTo>
                      <a:pt x="436" y="224"/>
                    </a:lnTo>
                    <a:lnTo>
                      <a:pt x="448" y="212"/>
                    </a:lnTo>
                    <a:lnTo>
                      <a:pt x="428" y="190"/>
                    </a:lnTo>
                    <a:lnTo>
                      <a:pt x="408" y="204"/>
                    </a:lnTo>
                    <a:lnTo>
                      <a:pt x="396" y="224"/>
                    </a:lnTo>
                    <a:lnTo>
                      <a:pt x="380" y="240"/>
                    </a:lnTo>
                    <a:lnTo>
                      <a:pt x="378" y="262"/>
                    </a:lnTo>
                    <a:lnTo>
                      <a:pt x="386" y="288"/>
                    </a:lnTo>
                    <a:lnTo>
                      <a:pt x="366" y="298"/>
                    </a:lnTo>
                    <a:lnTo>
                      <a:pt x="366" y="314"/>
                    </a:lnTo>
                    <a:lnTo>
                      <a:pt x="384" y="322"/>
                    </a:lnTo>
                    <a:lnTo>
                      <a:pt x="396" y="334"/>
                    </a:lnTo>
                    <a:lnTo>
                      <a:pt x="402" y="350"/>
                    </a:lnTo>
                    <a:lnTo>
                      <a:pt x="422" y="362"/>
                    </a:lnTo>
                    <a:lnTo>
                      <a:pt x="422" y="380"/>
                    </a:lnTo>
                    <a:lnTo>
                      <a:pt x="412" y="389"/>
                    </a:lnTo>
                    <a:lnTo>
                      <a:pt x="388" y="395"/>
                    </a:lnTo>
                    <a:lnTo>
                      <a:pt x="372" y="409"/>
                    </a:lnTo>
                    <a:lnTo>
                      <a:pt x="354" y="427"/>
                    </a:lnTo>
                    <a:lnTo>
                      <a:pt x="354" y="451"/>
                    </a:lnTo>
                    <a:lnTo>
                      <a:pt x="348" y="465"/>
                    </a:lnTo>
                    <a:lnTo>
                      <a:pt x="334" y="479"/>
                    </a:lnTo>
                    <a:lnTo>
                      <a:pt x="324" y="481"/>
                    </a:lnTo>
                    <a:lnTo>
                      <a:pt x="324" y="499"/>
                    </a:lnTo>
                    <a:lnTo>
                      <a:pt x="310" y="513"/>
                    </a:lnTo>
                    <a:lnTo>
                      <a:pt x="302" y="529"/>
                    </a:lnTo>
                    <a:lnTo>
                      <a:pt x="302" y="545"/>
                    </a:lnTo>
                    <a:lnTo>
                      <a:pt x="278" y="545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3" name="Freeform 250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 rot="698053">
                <a:off x="4610971" y="2848794"/>
                <a:ext cx="457824" cy="512676"/>
              </a:xfrm>
              <a:custGeom>
                <a:avLst/>
                <a:gdLst>
                  <a:gd name="T0" fmla="*/ 435 w 599"/>
                  <a:gd name="T1" fmla="*/ 668 h 692"/>
                  <a:gd name="T2" fmla="*/ 384 w 599"/>
                  <a:gd name="T3" fmla="*/ 662 h 692"/>
                  <a:gd name="T4" fmla="*/ 350 w 599"/>
                  <a:gd name="T5" fmla="*/ 658 h 692"/>
                  <a:gd name="T6" fmla="*/ 312 w 599"/>
                  <a:gd name="T7" fmla="*/ 648 h 692"/>
                  <a:gd name="T8" fmla="*/ 264 w 599"/>
                  <a:gd name="T9" fmla="*/ 658 h 692"/>
                  <a:gd name="T10" fmla="*/ 230 w 599"/>
                  <a:gd name="T11" fmla="*/ 632 h 692"/>
                  <a:gd name="T12" fmla="*/ 194 w 599"/>
                  <a:gd name="T13" fmla="*/ 632 h 692"/>
                  <a:gd name="T14" fmla="*/ 172 w 599"/>
                  <a:gd name="T15" fmla="*/ 620 h 692"/>
                  <a:gd name="T16" fmla="*/ 140 w 599"/>
                  <a:gd name="T17" fmla="*/ 598 h 692"/>
                  <a:gd name="T18" fmla="*/ 100 w 599"/>
                  <a:gd name="T19" fmla="*/ 590 h 692"/>
                  <a:gd name="T20" fmla="*/ 68 w 599"/>
                  <a:gd name="T21" fmla="*/ 584 h 692"/>
                  <a:gd name="T22" fmla="*/ 18 w 599"/>
                  <a:gd name="T23" fmla="*/ 562 h 692"/>
                  <a:gd name="T24" fmla="*/ 18 w 599"/>
                  <a:gd name="T25" fmla="*/ 518 h 692"/>
                  <a:gd name="T26" fmla="*/ 28 w 599"/>
                  <a:gd name="T27" fmla="*/ 486 h 692"/>
                  <a:gd name="T28" fmla="*/ 46 w 599"/>
                  <a:gd name="T29" fmla="*/ 476 h 692"/>
                  <a:gd name="T30" fmla="*/ 94 w 599"/>
                  <a:gd name="T31" fmla="*/ 464 h 692"/>
                  <a:gd name="T32" fmla="*/ 114 w 599"/>
                  <a:gd name="T33" fmla="*/ 416 h 692"/>
                  <a:gd name="T34" fmla="*/ 148 w 599"/>
                  <a:gd name="T35" fmla="*/ 440 h 692"/>
                  <a:gd name="T36" fmla="*/ 172 w 599"/>
                  <a:gd name="T37" fmla="*/ 416 h 692"/>
                  <a:gd name="T38" fmla="*/ 160 w 599"/>
                  <a:gd name="T39" fmla="*/ 392 h 692"/>
                  <a:gd name="T40" fmla="*/ 208 w 599"/>
                  <a:gd name="T41" fmla="*/ 382 h 692"/>
                  <a:gd name="T42" fmla="*/ 240 w 599"/>
                  <a:gd name="T43" fmla="*/ 352 h 692"/>
                  <a:gd name="T44" fmla="*/ 226 w 599"/>
                  <a:gd name="T45" fmla="*/ 326 h 692"/>
                  <a:gd name="T46" fmla="*/ 248 w 599"/>
                  <a:gd name="T47" fmla="*/ 284 h 692"/>
                  <a:gd name="T48" fmla="*/ 232 w 599"/>
                  <a:gd name="T49" fmla="*/ 222 h 692"/>
                  <a:gd name="T50" fmla="*/ 276 w 599"/>
                  <a:gd name="T51" fmla="*/ 204 h 692"/>
                  <a:gd name="T52" fmla="*/ 314 w 599"/>
                  <a:gd name="T53" fmla="*/ 156 h 692"/>
                  <a:gd name="T54" fmla="*/ 356 w 599"/>
                  <a:gd name="T55" fmla="*/ 94 h 692"/>
                  <a:gd name="T56" fmla="*/ 384 w 599"/>
                  <a:gd name="T57" fmla="*/ 54 h 692"/>
                  <a:gd name="T58" fmla="*/ 390 w 599"/>
                  <a:gd name="T59" fmla="*/ 14 h 692"/>
                  <a:gd name="T60" fmla="*/ 422 w 599"/>
                  <a:gd name="T61" fmla="*/ 12 h 692"/>
                  <a:gd name="T62" fmla="*/ 433 w 599"/>
                  <a:gd name="T63" fmla="*/ 40 h 692"/>
                  <a:gd name="T64" fmla="*/ 463 w 599"/>
                  <a:gd name="T65" fmla="*/ 66 h 692"/>
                  <a:gd name="T66" fmla="*/ 513 w 599"/>
                  <a:gd name="T67" fmla="*/ 134 h 692"/>
                  <a:gd name="T68" fmla="*/ 529 w 599"/>
                  <a:gd name="T69" fmla="*/ 186 h 692"/>
                  <a:gd name="T70" fmla="*/ 523 w 599"/>
                  <a:gd name="T71" fmla="*/ 246 h 692"/>
                  <a:gd name="T72" fmla="*/ 533 w 599"/>
                  <a:gd name="T73" fmla="*/ 296 h 692"/>
                  <a:gd name="T74" fmla="*/ 517 w 599"/>
                  <a:gd name="T75" fmla="*/ 338 h 692"/>
                  <a:gd name="T76" fmla="*/ 545 w 599"/>
                  <a:gd name="T77" fmla="*/ 380 h 692"/>
                  <a:gd name="T78" fmla="*/ 561 w 599"/>
                  <a:gd name="T79" fmla="*/ 422 h 692"/>
                  <a:gd name="T80" fmla="*/ 591 w 599"/>
                  <a:gd name="T81" fmla="*/ 436 h 692"/>
                  <a:gd name="T82" fmla="*/ 583 w 599"/>
                  <a:gd name="T83" fmla="*/ 482 h 692"/>
                  <a:gd name="T84" fmla="*/ 591 w 599"/>
                  <a:gd name="T85" fmla="*/ 524 h 692"/>
                  <a:gd name="T86" fmla="*/ 597 w 599"/>
                  <a:gd name="T87" fmla="*/ 564 h 692"/>
                  <a:gd name="T88" fmla="*/ 549 w 599"/>
                  <a:gd name="T89" fmla="*/ 572 h 692"/>
                  <a:gd name="T90" fmla="*/ 513 w 599"/>
                  <a:gd name="T91" fmla="*/ 582 h 692"/>
                  <a:gd name="T92" fmla="*/ 495 w 599"/>
                  <a:gd name="T93" fmla="*/ 634 h 692"/>
                  <a:gd name="T94" fmla="*/ 491 w 599"/>
                  <a:gd name="T95" fmla="*/ 670 h 692"/>
                  <a:gd name="T96" fmla="*/ 463 w 599"/>
                  <a:gd name="T97" fmla="*/ 668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99" h="692">
                    <a:moveTo>
                      <a:pt x="463" y="668"/>
                    </a:moveTo>
                    <a:lnTo>
                      <a:pt x="435" y="668"/>
                    </a:lnTo>
                    <a:lnTo>
                      <a:pt x="402" y="692"/>
                    </a:lnTo>
                    <a:lnTo>
                      <a:pt x="384" y="662"/>
                    </a:lnTo>
                    <a:lnTo>
                      <a:pt x="370" y="666"/>
                    </a:lnTo>
                    <a:lnTo>
                      <a:pt x="350" y="658"/>
                    </a:lnTo>
                    <a:lnTo>
                      <a:pt x="332" y="658"/>
                    </a:lnTo>
                    <a:lnTo>
                      <a:pt x="312" y="648"/>
                    </a:lnTo>
                    <a:lnTo>
                      <a:pt x="278" y="672"/>
                    </a:lnTo>
                    <a:lnTo>
                      <a:pt x="264" y="658"/>
                    </a:lnTo>
                    <a:lnTo>
                      <a:pt x="248" y="644"/>
                    </a:lnTo>
                    <a:lnTo>
                      <a:pt x="230" y="632"/>
                    </a:lnTo>
                    <a:lnTo>
                      <a:pt x="212" y="650"/>
                    </a:lnTo>
                    <a:lnTo>
                      <a:pt x="194" y="632"/>
                    </a:lnTo>
                    <a:lnTo>
                      <a:pt x="178" y="630"/>
                    </a:lnTo>
                    <a:lnTo>
                      <a:pt x="172" y="620"/>
                    </a:lnTo>
                    <a:lnTo>
                      <a:pt x="148" y="612"/>
                    </a:lnTo>
                    <a:lnTo>
                      <a:pt x="140" y="598"/>
                    </a:lnTo>
                    <a:lnTo>
                      <a:pt x="118" y="582"/>
                    </a:lnTo>
                    <a:lnTo>
                      <a:pt x="100" y="590"/>
                    </a:lnTo>
                    <a:lnTo>
                      <a:pt x="84" y="608"/>
                    </a:lnTo>
                    <a:lnTo>
                      <a:pt x="68" y="584"/>
                    </a:lnTo>
                    <a:lnTo>
                      <a:pt x="48" y="584"/>
                    </a:lnTo>
                    <a:lnTo>
                      <a:pt x="18" y="562"/>
                    </a:lnTo>
                    <a:lnTo>
                      <a:pt x="0" y="538"/>
                    </a:lnTo>
                    <a:lnTo>
                      <a:pt x="18" y="518"/>
                    </a:lnTo>
                    <a:lnTo>
                      <a:pt x="28" y="508"/>
                    </a:lnTo>
                    <a:lnTo>
                      <a:pt x="28" y="486"/>
                    </a:lnTo>
                    <a:lnTo>
                      <a:pt x="38" y="468"/>
                    </a:lnTo>
                    <a:lnTo>
                      <a:pt x="46" y="476"/>
                    </a:lnTo>
                    <a:lnTo>
                      <a:pt x="72" y="476"/>
                    </a:lnTo>
                    <a:lnTo>
                      <a:pt x="94" y="464"/>
                    </a:lnTo>
                    <a:lnTo>
                      <a:pt x="100" y="440"/>
                    </a:lnTo>
                    <a:lnTo>
                      <a:pt x="114" y="416"/>
                    </a:lnTo>
                    <a:lnTo>
                      <a:pt x="132" y="416"/>
                    </a:lnTo>
                    <a:lnTo>
                      <a:pt x="148" y="440"/>
                    </a:lnTo>
                    <a:lnTo>
                      <a:pt x="158" y="430"/>
                    </a:lnTo>
                    <a:lnTo>
                      <a:pt x="172" y="416"/>
                    </a:lnTo>
                    <a:lnTo>
                      <a:pt x="162" y="406"/>
                    </a:lnTo>
                    <a:lnTo>
                      <a:pt x="160" y="392"/>
                    </a:lnTo>
                    <a:lnTo>
                      <a:pt x="184" y="376"/>
                    </a:lnTo>
                    <a:lnTo>
                      <a:pt x="208" y="382"/>
                    </a:lnTo>
                    <a:lnTo>
                      <a:pt x="224" y="368"/>
                    </a:lnTo>
                    <a:lnTo>
                      <a:pt x="240" y="352"/>
                    </a:lnTo>
                    <a:lnTo>
                      <a:pt x="226" y="336"/>
                    </a:lnTo>
                    <a:lnTo>
                      <a:pt x="226" y="326"/>
                    </a:lnTo>
                    <a:lnTo>
                      <a:pt x="240" y="314"/>
                    </a:lnTo>
                    <a:lnTo>
                      <a:pt x="248" y="284"/>
                    </a:lnTo>
                    <a:lnTo>
                      <a:pt x="232" y="256"/>
                    </a:lnTo>
                    <a:lnTo>
                      <a:pt x="232" y="222"/>
                    </a:lnTo>
                    <a:lnTo>
                      <a:pt x="254" y="204"/>
                    </a:lnTo>
                    <a:lnTo>
                      <a:pt x="276" y="204"/>
                    </a:lnTo>
                    <a:lnTo>
                      <a:pt x="294" y="186"/>
                    </a:lnTo>
                    <a:lnTo>
                      <a:pt x="314" y="156"/>
                    </a:lnTo>
                    <a:lnTo>
                      <a:pt x="342" y="132"/>
                    </a:lnTo>
                    <a:lnTo>
                      <a:pt x="356" y="94"/>
                    </a:lnTo>
                    <a:lnTo>
                      <a:pt x="356" y="68"/>
                    </a:lnTo>
                    <a:lnTo>
                      <a:pt x="384" y="54"/>
                    </a:lnTo>
                    <a:lnTo>
                      <a:pt x="384" y="32"/>
                    </a:lnTo>
                    <a:lnTo>
                      <a:pt x="390" y="14"/>
                    </a:lnTo>
                    <a:lnTo>
                      <a:pt x="402" y="0"/>
                    </a:lnTo>
                    <a:lnTo>
                      <a:pt x="422" y="12"/>
                    </a:lnTo>
                    <a:lnTo>
                      <a:pt x="422" y="30"/>
                    </a:lnTo>
                    <a:lnTo>
                      <a:pt x="433" y="40"/>
                    </a:lnTo>
                    <a:lnTo>
                      <a:pt x="445" y="48"/>
                    </a:lnTo>
                    <a:lnTo>
                      <a:pt x="463" y="66"/>
                    </a:lnTo>
                    <a:lnTo>
                      <a:pt x="495" y="98"/>
                    </a:lnTo>
                    <a:lnTo>
                      <a:pt x="513" y="134"/>
                    </a:lnTo>
                    <a:lnTo>
                      <a:pt x="529" y="150"/>
                    </a:lnTo>
                    <a:lnTo>
                      <a:pt x="529" y="186"/>
                    </a:lnTo>
                    <a:lnTo>
                      <a:pt x="515" y="204"/>
                    </a:lnTo>
                    <a:lnTo>
                      <a:pt x="523" y="246"/>
                    </a:lnTo>
                    <a:lnTo>
                      <a:pt x="515" y="278"/>
                    </a:lnTo>
                    <a:lnTo>
                      <a:pt x="533" y="296"/>
                    </a:lnTo>
                    <a:lnTo>
                      <a:pt x="533" y="322"/>
                    </a:lnTo>
                    <a:lnTo>
                      <a:pt x="517" y="338"/>
                    </a:lnTo>
                    <a:lnTo>
                      <a:pt x="521" y="368"/>
                    </a:lnTo>
                    <a:lnTo>
                      <a:pt x="545" y="380"/>
                    </a:lnTo>
                    <a:lnTo>
                      <a:pt x="559" y="400"/>
                    </a:lnTo>
                    <a:lnTo>
                      <a:pt x="561" y="422"/>
                    </a:lnTo>
                    <a:lnTo>
                      <a:pt x="577" y="422"/>
                    </a:lnTo>
                    <a:lnTo>
                      <a:pt x="591" y="436"/>
                    </a:lnTo>
                    <a:lnTo>
                      <a:pt x="583" y="452"/>
                    </a:lnTo>
                    <a:lnTo>
                      <a:pt x="583" y="482"/>
                    </a:lnTo>
                    <a:lnTo>
                      <a:pt x="599" y="498"/>
                    </a:lnTo>
                    <a:lnTo>
                      <a:pt x="591" y="524"/>
                    </a:lnTo>
                    <a:lnTo>
                      <a:pt x="597" y="542"/>
                    </a:lnTo>
                    <a:lnTo>
                      <a:pt x="597" y="564"/>
                    </a:lnTo>
                    <a:lnTo>
                      <a:pt x="565" y="580"/>
                    </a:lnTo>
                    <a:lnTo>
                      <a:pt x="549" y="572"/>
                    </a:lnTo>
                    <a:lnTo>
                      <a:pt x="533" y="588"/>
                    </a:lnTo>
                    <a:lnTo>
                      <a:pt x="513" y="582"/>
                    </a:lnTo>
                    <a:lnTo>
                      <a:pt x="489" y="606"/>
                    </a:lnTo>
                    <a:lnTo>
                      <a:pt x="495" y="634"/>
                    </a:lnTo>
                    <a:lnTo>
                      <a:pt x="483" y="646"/>
                    </a:lnTo>
                    <a:lnTo>
                      <a:pt x="491" y="670"/>
                    </a:lnTo>
                    <a:lnTo>
                      <a:pt x="475" y="682"/>
                    </a:lnTo>
                    <a:lnTo>
                      <a:pt x="463" y="66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4" name="Freeform 251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 rot="698053">
                <a:off x="4933298" y="2720643"/>
                <a:ext cx="1069839" cy="729444"/>
              </a:xfrm>
              <a:custGeom>
                <a:avLst/>
                <a:gdLst>
                  <a:gd name="T0" fmla="*/ 156 w 698"/>
                  <a:gd name="T1" fmla="*/ 40 h 493"/>
                  <a:gd name="T2" fmla="*/ 145 w 698"/>
                  <a:gd name="T3" fmla="*/ 75 h 493"/>
                  <a:gd name="T4" fmla="*/ 187 w 698"/>
                  <a:gd name="T5" fmla="*/ 95 h 493"/>
                  <a:gd name="T6" fmla="*/ 230 w 698"/>
                  <a:gd name="T7" fmla="*/ 103 h 493"/>
                  <a:gd name="T8" fmla="*/ 244 w 698"/>
                  <a:gd name="T9" fmla="*/ 139 h 493"/>
                  <a:gd name="T10" fmla="*/ 281 w 698"/>
                  <a:gd name="T11" fmla="*/ 143 h 493"/>
                  <a:gd name="T12" fmla="*/ 322 w 698"/>
                  <a:gd name="T13" fmla="*/ 152 h 493"/>
                  <a:gd name="T14" fmla="*/ 341 w 698"/>
                  <a:gd name="T15" fmla="*/ 196 h 493"/>
                  <a:gd name="T16" fmla="*/ 366 w 698"/>
                  <a:gd name="T17" fmla="*/ 220 h 493"/>
                  <a:gd name="T18" fmla="*/ 398 w 698"/>
                  <a:gd name="T19" fmla="*/ 236 h 493"/>
                  <a:gd name="T20" fmla="*/ 439 w 698"/>
                  <a:gd name="T21" fmla="*/ 252 h 493"/>
                  <a:gd name="T22" fmla="*/ 474 w 698"/>
                  <a:gd name="T23" fmla="*/ 264 h 493"/>
                  <a:gd name="T24" fmla="*/ 494 w 698"/>
                  <a:gd name="T25" fmla="*/ 294 h 493"/>
                  <a:gd name="T26" fmla="*/ 548 w 698"/>
                  <a:gd name="T27" fmla="*/ 285 h 493"/>
                  <a:gd name="T28" fmla="*/ 579 w 698"/>
                  <a:gd name="T29" fmla="*/ 283 h 493"/>
                  <a:gd name="T30" fmla="*/ 618 w 698"/>
                  <a:gd name="T31" fmla="*/ 300 h 493"/>
                  <a:gd name="T32" fmla="*/ 648 w 698"/>
                  <a:gd name="T33" fmla="*/ 314 h 493"/>
                  <a:gd name="T34" fmla="*/ 679 w 698"/>
                  <a:gd name="T35" fmla="*/ 363 h 493"/>
                  <a:gd name="T36" fmla="*/ 664 w 698"/>
                  <a:gd name="T37" fmla="*/ 397 h 493"/>
                  <a:gd name="T38" fmla="*/ 598 w 698"/>
                  <a:gd name="T39" fmla="*/ 406 h 493"/>
                  <a:gd name="T40" fmla="*/ 563 w 698"/>
                  <a:gd name="T41" fmla="*/ 416 h 493"/>
                  <a:gd name="T42" fmla="*/ 509 w 698"/>
                  <a:gd name="T43" fmla="*/ 405 h 493"/>
                  <a:gd name="T44" fmla="*/ 464 w 698"/>
                  <a:gd name="T45" fmla="*/ 389 h 493"/>
                  <a:gd name="T46" fmla="*/ 427 w 698"/>
                  <a:gd name="T47" fmla="*/ 427 h 493"/>
                  <a:gd name="T48" fmla="*/ 388 w 698"/>
                  <a:gd name="T49" fmla="*/ 468 h 493"/>
                  <a:gd name="T50" fmla="*/ 357 w 698"/>
                  <a:gd name="T51" fmla="*/ 493 h 493"/>
                  <a:gd name="T52" fmla="*/ 330 w 698"/>
                  <a:gd name="T53" fmla="*/ 479 h 493"/>
                  <a:gd name="T54" fmla="*/ 312 w 698"/>
                  <a:gd name="T55" fmla="*/ 457 h 493"/>
                  <a:gd name="T56" fmla="*/ 289 w 698"/>
                  <a:gd name="T57" fmla="*/ 428 h 493"/>
                  <a:gd name="T58" fmla="*/ 258 w 698"/>
                  <a:gd name="T59" fmla="*/ 401 h 493"/>
                  <a:gd name="T60" fmla="*/ 222 w 698"/>
                  <a:gd name="T61" fmla="*/ 380 h 493"/>
                  <a:gd name="T62" fmla="*/ 210 w 698"/>
                  <a:gd name="T63" fmla="*/ 396 h 493"/>
                  <a:gd name="T64" fmla="*/ 163 w 698"/>
                  <a:gd name="T65" fmla="*/ 410 h 493"/>
                  <a:gd name="T66" fmla="*/ 132 w 698"/>
                  <a:gd name="T67" fmla="*/ 417 h 493"/>
                  <a:gd name="T68" fmla="*/ 107 w 698"/>
                  <a:gd name="T69" fmla="*/ 429 h 493"/>
                  <a:gd name="T70" fmla="*/ 90 w 698"/>
                  <a:gd name="T71" fmla="*/ 399 h 493"/>
                  <a:gd name="T72" fmla="*/ 79 w 698"/>
                  <a:gd name="T73" fmla="*/ 384 h 493"/>
                  <a:gd name="T74" fmla="*/ 59 w 698"/>
                  <a:gd name="T75" fmla="*/ 357 h 493"/>
                  <a:gd name="T76" fmla="*/ 65 w 698"/>
                  <a:gd name="T77" fmla="*/ 321 h 493"/>
                  <a:gd name="T78" fmla="*/ 57 w 698"/>
                  <a:gd name="T79" fmla="*/ 275 h 493"/>
                  <a:gd name="T80" fmla="*/ 55 w 698"/>
                  <a:gd name="T81" fmla="*/ 240 h 493"/>
                  <a:gd name="T82" fmla="*/ 21 w 698"/>
                  <a:gd name="T83" fmla="*/ 197 h 493"/>
                  <a:gd name="T84" fmla="*/ 0 w 698"/>
                  <a:gd name="T85" fmla="*/ 173 h 493"/>
                  <a:gd name="T86" fmla="*/ 19 w 698"/>
                  <a:gd name="T87" fmla="*/ 136 h 493"/>
                  <a:gd name="T88" fmla="*/ 31 w 698"/>
                  <a:gd name="T89" fmla="*/ 97 h 493"/>
                  <a:gd name="T90" fmla="*/ 62 w 698"/>
                  <a:gd name="T91" fmla="*/ 67 h 493"/>
                  <a:gd name="T92" fmla="*/ 79 w 698"/>
                  <a:gd name="T93" fmla="*/ 27 h 493"/>
                  <a:gd name="T94" fmla="*/ 98 w 698"/>
                  <a:gd name="T95" fmla="*/ 30 h 493"/>
                  <a:gd name="T96" fmla="*/ 135 w 698"/>
                  <a:gd name="T97" fmla="*/ 1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98" h="493">
                    <a:moveTo>
                      <a:pt x="154" y="0"/>
                    </a:moveTo>
                    <a:cubicBezTo>
                      <a:pt x="153" y="22"/>
                      <a:pt x="153" y="22"/>
                      <a:pt x="153" y="22"/>
                    </a:cubicBezTo>
                    <a:cubicBezTo>
                      <a:pt x="156" y="40"/>
                      <a:pt x="156" y="40"/>
                      <a:pt x="156" y="40"/>
                    </a:cubicBezTo>
                    <a:cubicBezTo>
                      <a:pt x="151" y="56"/>
                      <a:pt x="151" y="56"/>
                      <a:pt x="151" y="56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45" y="75"/>
                      <a:pt x="145" y="75"/>
                      <a:pt x="145" y="75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69" y="99"/>
                      <a:pt x="169" y="99"/>
                      <a:pt x="169" y="99"/>
                    </a:cubicBezTo>
                    <a:cubicBezTo>
                      <a:pt x="187" y="95"/>
                      <a:pt x="187" y="95"/>
                      <a:pt x="187" y="95"/>
                    </a:cubicBezTo>
                    <a:cubicBezTo>
                      <a:pt x="201" y="101"/>
                      <a:pt x="201" y="101"/>
                      <a:pt x="201" y="101"/>
                    </a:cubicBezTo>
                    <a:cubicBezTo>
                      <a:pt x="215" y="95"/>
                      <a:pt x="215" y="95"/>
                      <a:pt x="215" y="95"/>
                    </a:cubicBezTo>
                    <a:cubicBezTo>
                      <a:pt x="230" y="103"/>
                      <a:pt x="230" y="103"/>
                      <a:pt x="230" y="103"/>
                    </a:cubicBezTo>
                    <a:cubicBezTo>
                      <a:pt x="245" y="116"/>
                      <a:pt x="245" y="116"/>
                      <a:pt x="245" y="116"/>
                    </a:cubicBezTo>
                    <a:cubicBezTo>
                      <a:pt x="234" y="128"/>
                      <a:pt x="234" y="128"/>
                      <a:pt x="234" y="128"/>
                    </a:cubicBezTo>
                    <a:cubicBezTo>
                      <a:pt x="244" y="139"/>
                      <a:pt x="244" y="139"/>
                      <a:pt x="244" y="139"/>
                    </a:cubicBezTo>
                    <a:cubicBezTo>
                      <a:pt x="262" y="142"/>
                      <a:pt x="262" y="142"/>
                      <a:pt x="262" y="142"/>
                    </a:cubicBezTo>
                    <a:cubicBezTo>
                      <a:pt x="271" y="133"/>
                      <a:pt x="271" y="133"/>
                      <a:pt x="271" y="133"/>
                    </a:cubicBezTo>
                    <a:cubicBezTo>
                      <a:pt x="281" y="143"/>
                      <a:pt x="281" y="143"/>
                      <a:pt x="281" y="143"/>
                    </a:cubicBezTo>
                    <a:cubicBezTo>
                      <a:pt x="288" y="136"/>
                      <a:pt x="288" y="136"/>
                      <a:pt x="288" y="136"/>
                    </a:cubicBezTo>
                    <a:cubicBezTo>
                      <a:pt x="306" y="136"/>
                      <a:pt x="306" y="136"/>
                      <a:pt x="306" y="136"/>
                    </a:cubicBezTo>
                    <a:cubicBezTo>
                      <a:pt x="322" y="152"/>
                      <a:pt x="322" y="152"/>
                      <a:pt x="322" y="152"/>
                    </a:cubicBezTo>
                    <a:cubicBezTo>
                      <a:pt x="326" y="170"/>
                      <a:pt x="326" y="170"/>
                      <a:pt x="326" y="170"/>
                    </a:cubicBezTo>
                    <a:cubicBezTo>
                      <a:pt x="326" y="181"/>
                      <a:pt x="326" y="181"/>
                      <a:pt x="326" y="181"/>
                    </a:cubicBezTo>
                    <a:cubicBezTo>
                      <a:pt x="341" y="196"/>
                      <a:pt x="341" y="196"/>
                      <a:pt x="341" y="196"/>
                    </a:cubicBezTo>
                    <a:cubicBezTo>
                      <a:pt x="338" y="210"/>
                      <a:pt x="338" y="210"/>
                      <a:pt x="338" y="210"/>
                    </a:cubicBezTo>
                    <a:cubicBezTo>
                      <a:pt x="342" y="223"/>
                      <a:pt x="342" y="223"/>
                      <a:pt x="342" y="223"/>
                    </a:cubicBezTo>
                    <a:cubicBezTo>
                      <a:pt x="366" y="220"/>
                      <a:pt x="366" y="220"/>
                      <a:pt x="366" y="220"/>
                    </a:cubicBezTo>
                    <a:cubicBezTo>
                      <a:pt x="377" y="220"/>
                      <a:pt x="377" y="220"/>
                      <a:pt x="377" y="220"/>
                    </a:cubicBezTo>
                    <a:cubicBezTo>
                      <a:pt x="387" y="236"/>
                      <a:pt x="387" y="236"/>
                      <a:pt x="387" y="236"/>
                    </a:cubicBezTo>
                    <a:cubicBezTo>
                      <a:pt x="398" y="236"/>
                      <a:pt x="398" y="236"/>
                      <a:pt x="398" y="236"/>
                    </a:cubicBezTo>
                    <a:cubicBezTo>
                      <a:pt x="412" y="250"/>
                      <a:pt x="412" y="250"/>
                      <a:pt x="412" y="250"/>
                    </a:cubicBezTo>
                    <a:cubicBezTo>
                      <a:pt x="423" y="248"/>
                      <a:pt x="423" y="248"/>
                      <a:pt x="423" y="248"/>
                    </a:cubicBezTo>
                    <a:cubicBezTo>
                      <a:pt x="439" y="252"/>
                      <a:pt x="439" y="252"/>
                      <a:pt x="439" y="252"/>
                    </a:cubicBezTo>
                    <a:cubicBezTo>
                      <a:pt x="450" y="263"/>
                      <a:pt x="450" y="263"/>
                      <a:pt x="450" y="263"/>
                    </a:cubicBezTo>
                    <a:cubicBezTo>
                      <a:pt x="456" y="256"/>
                      <a:pt x="456" y="256"/>
                      <a:pt x="456" y="256"/>
                    </a:cubicBezTo>
                    <a:cubicBezTo>
                      <a:pt x="474" y="264"/>
                      <a:pt x="474" y="264"/>
                      <a:pt x="474" y="264"/>
                    </a:cubicBezTo>
                    <a:cubicBezTo>
                      <a:pt x="470" y="276"/>
                      <a:pt x="470" y="276"/>
                      <a:pt x="470" y="276"/>
                    </a:cubicBezTo>
                    <a:cubicBezTo>
                      <a:pt x="484" y="284"/>
                      <a:pt x="484" y="284"/>
                      <a:pt x="484" y="284"/>
                    </a:cubicBezTo>
                    <a:cubicBezTo>
                      <a:pt x="494" y="294"/>
                      <a:pt x="494" y="294"/>
                      <a:pt x="494" y="294"/>
                    </a:cubicBezTo>
                    <a:cubicBezTo>
                      <a:pt x="519" y="294"/>
                      <a:pt x="519" y="294"/>
                      <a:pt x="519" y="294"/>
                    </a:cubicBezTo>
                    <a:cubicBezTo>
                      <a:pt x="542" y="294"/>
                      <a:pt x="542" y="294"/>
                      <a:pt x="542" y="294"/>
                    </a:cubicBezTo>
                    <a:cubicBezTo>
                      <a:pt x="548" y="285"/>
                      <a:pt x="548" y="285"/>
                      <a:pt x="548" y="285"/>
                    </a:cubicBezTo>
                    <a:cubicBezTo>
                      <a:pt x="560" y="278"/>
                      <a:pt x="560" y="278"/>
                      <a:pt x="560" y="278"/>
                    </a:cubicBezTo>
                    <a:cubicBezTo>
                      <a:pt x="574" y="269"/>
                      <a:pt x="574" y="269"/>
                      <a:pt x="574" y="269"/>
                    </a:cubicBezTo>
                    <a:cubicBezTo>
                      <a:pt x="579" y="283"/>
                      <a:pt x="579" y="283"/>
                      <a:pt x="579" y="283"/>
                    </a:cubicBezTo>
                    <a:cubicBezTo>
                      <a:pt x="593" y="301"/>
                      <a:pt x="593" y="301"/>
                      <a:pt x="593" y="301"/>
                    </a:cubicBezTo>
                    <a:cubicBezTo>
                      <a:pt x="599" y="294"/>
                      <a:pt x="599" y="294"/>
                      <a:pt x="599" y="294"/>
                    </a:cubicBezTo>
                    <a:cubicBezTo>
                      <a:pt x="618" y="300"/>
                      <a:pt x="618" y="300"/>
                      <a:pt x="618" y="300"/>
                    </a:cubicBezTo>
                    <a:cubicBezTo>
                      <a:pt x="628" y="317"/>
                      <a:pt x="628" y="317"/>
                      <a:pt x="628" y="317"/>
                    </a:cubicBezTo>
                    <a:cubicBezTo>
                      <a:pt x="638" y="314"/>
                      <a:pt x="638" y="314"/>
                      <a:pt x="638" y="314"/>
                    </a:cubicBezTo>
                    <a:cubicBezTo>
                      <a:pt x="648" y="314"/>
                      <a:pt x="648" y="314"/>
                      <a:pt x="648" y="314"/>
                    </a:cubicBezTo>
                    <a:cubicBezTo>
                      <a:pt x="662" y="331"/>
                      <a:pt x="662" y="331"/>
                      <a:pt x="662" y="331"/>
                    </a:cubicBezTo>
                    <a:cubicBezTo>
                      <a:pt x="662" y="351"/>
                      <a:pt x="662" y="351"/>
                      <a:pt x="662" y="351"/>
                    </a:cubicBezTo>
                    <a:cubicBezTo>
                      <a:pt x="679" y="363"/>
                      <a:pt x="679" y="363"/>
                      <a:pt x="679" y="363"/>
                    </a:cubicBezTo>
                    <a:cubicBezTo>
                      <a:pt x="698" y="371"/>
                      <a:pt x="698" y="371"/>
                      <a:pt x="698" y="371"/>
                    </a:cubicBezTo>
                    <a:cubicBezTo>
                      <a:pt x="688" y="387"/>
                      <a:pt x="688" y="387"/>
                      <a:pt x="688" y="387"/>
                    </a:cubicBezTo>
                    <a:cubicBezTo>
                      <a:pt x="664" y="397"/>
                      <a:pt x="664" y="397"/>
                      <a:pt x="664" y="397"/>
                    </a:cubicBezTo>
                    <a:cubicBezTo>
                      <a:pt x="649" y="413"/>
                      <a:pt x="649" y="413"/>
                      <a:pt x="649" y="413"/>
                    </a:cubicBezTo>
                    <a:cubicBezTo>
                      <a:pt x="624" y="395"/>
                      <a:pt x="624" y="395"/>
                      <a:pt x="624" y="395"/>
                    </a:cubicBezTo>
                    <a:cubicBezTo>
                      <a:pt x="598" y="406"/>
                      <a:pt x="598" y="406"/>
                      <a:pt x="598" y="406"/>
                    </a:cubicBezTo>
                    <a:cubicBezTo>
                      <a:pt x="593" y="422"/>
                      <a:pt x="593" y="422"/>
                      <a:pt x="593" y="422"/>
                    </a:cubicBezTo>
                    <a:cubicBezTo>
                      <a:pt x="575" y="413"/>
                      <a:pt x="575" y="413"/>
                      <a:pt x="575" y="413"/>
                    </a:cubicBezTo>
                    <a:cubicBezTo>
                      <a:pt x="563" y="416"/>
                      <a:pt x="563" y="416"/>
                      <a:pt x="563" y="416"/>
                    </a:cubicBezTo>
                    <a:cubicBezTo>
                      <a:pt x="547" y="401"/>
                      <a:pt x="547" y="401"/>
                      <a:pt x="547" y="401"/>
                    </a:cubicBezTo>
                    <a:cubicBezTo>
                      <a:pt x="531" y="407"/>
                      <a:pt x="531" y="407"/>
                      <a:pt x="531" y="407"/>
                    </a:cubicBezTo>
                    <a:cubicBezTo>
                      <a:pt x="509" y="405"/>
                      <a:pt x="509" y="405"/>
                      <a:pt x="509" y="405"/>
                    </a:cubicBezTo>
                    <a:cubicBezTo>
                      <a:pt x="503" y="396"/>
                      <a:pt x="503" y="396"/>
                      <a:pt x="503" y="396"/>
                    </a:cubicBezTo>
                    <a:cubicBezTo>
                      <a:pt x="480" y="396"/>
                      <a:pt x="480" y="396"/>
                      <a:pt x="480" y="396"/>
                    </a:cubicBezTo>
                    <a:cubicBezTo>
                      <a:pt x="464" y="389"/>
                      <a:pt x="464" y="389"/>
                      <a:pt x="464" y="389"/>
                    </a:cubicBezTo>
                    <a:cubicBezTo>
                      <a:pt x="443" y="393"/>
                      <a:pt x="443" y="393"/>
                      <a:pt x="443" y="393"/>
                    </a:cubicBezTo>
                    <a:cubicBezTo>
                      <a:pt x="435" y="408"/>
                      <a:pt x="435" y="408"/>
                      <a:pt x="435" y="408"/>
                    </a:cubicBezTo>
                    <a:cubicBezTo>
                      <a:pt x="427" y="427"/>
                      <a:pt x="427" y="427"/>
                      <a:pt x="427" y="427"/>
                    </a:cubicBezTo>
                    <a:cubicBezTo>
                      <a:pt x="429" y="448"/>
                      <a:pt x="429" y="448"/>
                      <a:pt x="429" y="448"/>
                    </a:cubicBezTo>
                    <a:cubicBezTo>
                      <a:pt x="407" y="455"/>
                      <a:pt x="407" y="455"/>
                      <a:pt x="407" y="455"/>
                    </a:cubicBezTo>
                    <a:cubicBezTo>
                      <a:pt x="388" y="468"/>
                      <a:pt x="388" y="468"/>
                      <a:pt x="388" y="468"/>
                    </a:cubicBezTo>
                    <a:cubicBezTo>
                      <a:pt x="386" y="482"/>
                      <a:pt x="386" y="482"/>
                      <a:pt x="386" y="482"/>
                    </a:cubicBezTo>
                    <a:cubicBezTo>
                      <a:pt x="368" y="493"/>
                      <a:pt x="368" y="493"/>
                      <a:pt x="368" y="493"/>
                    </a:cubicBezTo>
                    <a:cubicBezTo>
                      <a:pt x="357" y="493"/>
                      <a:pt x="357" y="493"/>
                      <a:pt x="357" y="493"/>
                    </a:cubicBezTo>
                    <a:cubicBezTo>
                      <a:pt x="348" y="485"/>
                      <a:pt x="348" y="485"/>
                      <a:pt x="348" y="485"/>
                    </a:cubicBezTo>
                    <a:cubicBezTo>
                      <a:pt x="336" y="485"/>
                      <a:pt x="336" y="485"/>
                      <a:pt x="336" y="485"/>
                    </a:cubicBezTo>
                    <a:cubicBezTo>
                      <a:pt x="330" y="479"/>
                      <a:pt x="330" y="479"/>
                      <a:pt x="330" y="479"/>
                    </a:cubicBezTo>
                    <a:cubicBezTo>
                      <a:pt x="318" y="475"/>
                      <a:pt x="318" y="475"/>
                      <a:pt x="318" y="475"/>
                    </a:cubicBezTo>
                    <a:cubicBezTo>
                      <a:pt x="312" y="468"/>
                      <a:pt x="312" y="468"/>
                      <a:pt x="312" y="468"/>
                    </a:cubicBezTo>
                    <a:cubicBezTo>
                      <a:pt x="312" y="457"/>
                      <a:pt x="312" y="457"/>
                      <a:pt x="312" y="457"/>
                    </a:cubicBezTo>
                    <a:cubicBezTo>
                      <a:pt x="298" y="455"/>
                      <a:pt x="298" y="455"/>
                      <a:pt x="298" y="455"/>
                    </a:cubicBezTo>
                    <a:cubicBezTo>
                      <a:pt x="298" y="443"/>
                      <a:pt x="298" y="443"/>
                      <a:pt x="298" y="443"/>
                    </a:cubicBezTo>
                    <a:cubicBezTo>
                      <a:pt x="289" y="428"/>
                      <a:pt x="289" y="428"/>
                      <a:pt x="289" y="428"/>
                    </a:cubicBezTo>
                    <a:cubicBezTo>
                      <a:pt x="282" y="415"/>
                      <a:pt x="282" y="415"/>
                      <a:pt x="282" y="415"/>
                    </a:cubicBezTo>
                    <a:cubicBezTo>
                      <a:pt x="271" y="404"/>
                      <a:pt x="271" y="404"/>
                      <a:pt x="271" y="404"/>
                    </a:cubicBezTo>
                    <a:cubicBezTo>
                      <a:pt x="258" y="401"/>
                      <a:pt x="258" y="401"/>
                      <a:pt x="258" y="401"/>
                    </a:cubicBezTo>
                    <a:cubicBezTo>
                      <a:pt x="248" y="401"/>
                      <a:pt x="248" y="401"/>
                      <a:pt x="248" y="401"/>
                    </a:cubicBezTo>
                    <a:cubicBezTo>
                      <a:pt x="239" y="392"/>
                      <a:pt x="239" y="392"/>
                      <a:pt x="239" y="392"/>
                    </a:cubicBezTo>
                    <a:cubicBezTo>
                      <a:pt x="222" y="380"/>
                      <a:pt x="222" y="380"/>
                      <a:pt x="222" y="380"/>
                    </a:cubicBezTo>
                    <a:cubicBezTo>
                      <a:pt x="215" y="380"/>
                      <a:pt x="215" y="380"/>
                      <a:pt x="215" y="380"/>
                    </a:cubicBezTo>
                    <a:cubicBezTo>
                      <a:pt x="215" y="391"/>
                      <a:pt x="215" y="391"/>
                      <a:pt x="215" y="391"/>
                    </a:cubicBezTo>
                    <a:cubicBezTo>
                      <a:pt x="210" y="396"/>
                      <a:pt x="210" y="396"/>
                      <a:pt x="210" y="396"/>
                    </a:cubicBezTo>
                    <a:cubicBezTo>
                      <a:pt x="188" y="404"/>
                      <a:pt x="188" y="404"/>
                      <a:pt x="188" y="404"/>
                    </a:cubicBezTo>
                    <a:cubicBezTo>
                      <a:pt x="183" y="410"/>
                      <a:pt x="183" y="410"/>
                      <a:pt x="183" y="410"/>
                    </a:cubicBezTo>
                    <a:cubicBezTo>
                      <a:pt x="163" y="410"/>
                      <a:pt x="163" y="410"/>
                      <a:pt x="163" y="410"/>
                    </a:cubicBezTo>
                    <a:cubicBezTo>
                      <a:pt x="155" y="417"/>
                      <a:pt x="155" y="417"/>
                      <a:pt x="155" y="417"/>
                    </a:cubicBezTo>
                    <a:cubicBezTo>
                      <a:pt x="137" y="412"/>
                      <a:pt x="137" y="412"/>
                      <a:pt x="137" y="412"/>
                    </a:cubicBezTo>
                    <a:cubicBezTo>
                      <a:pt x="132" y="417"/>
                      <a:pt x="132" y="417"/>
                      <a:pt x="132" y="417"/>
                    </a:cubicBezTo>
                    <a:cubicBezTo>
                      <a:pt x="132" y="426"/>
                      <a:pt x="132" y="426"/>
                      <a:pt x="132" y="426"/>
                    </a:cubicBezTo>
                    <a:cubicBezTo>
                      <a:pt x="121" y="429"/>
                      <a:pt x="121" y="429"/>
                      <a:pt x="121" y="429"/>
                    </a:cubicBezTo>
                    <a:cubicBezTo>
                      <a:pt x="107" y="429"/>
                      <a:pt x="107" y="429"/>
                      <a:pt x="107" y="429"/>
                    </a:cubicBezTo>
                    <a:cubicBezTo>
                      <a:pt x="98" y="422"/>
                      <a:pt x="98" y="422"/>
                      <a:pt x="98" y="422"/>
                    </a:cubicBezTo>
                    <a:cubicBezTo>
                      <a:pt x="90" y="414"/>
                      <a:pt x="90" y="414"/>
                      <a:pt x="90" y="414"/>
                    </a:cubicBezTo>
                    <a:cubicBezTo>
                      <a:pt x="90" y="399"/>
                      <a:pt x="90" y="399"/>
                      <a:pt x="90" y="399"/>
                    </a:cubicBezTo>
                    <a:cubicBezTo>
                      <a:pt x="94" y="391"/>
                      <a:pt x="94" y="391"/>
                      <a:pt x="94" y="391"/>
                    </a:cubicBezTo>
                    <a:cubicBezTo>
                      <a:pt x="87" y="384"/>
                      <a:pt x="87" y="384"/>
                      <a:pt x="87" y="384"/>
                    </a:cubicBezTo>
                    <a:cubicBezTo>
                      <a:pt x="79" y="384"/>
                      <a:pt x="79" y="384"/>
                      <a:pt x="79" y="384"/>
                    </a:cubicBezTo>
                    <a:cubicBezTo>
                      <a:pt x="78" y="373"/>
                      <a:pt x="78" y="373"/>
                      <a:pt x="78" y="373"/>
                    </a:cubicBezTo>
                    <a:cubicBezTo>
                      <a:pt x="71" y="363"/>
                      <a:pt x="71" y="363"/>
                      <a:pt x="71" y="363"/>
                    </a:cubicBezTo>
                    <a:cubicBezTo>
                      <a:pt x="59" y="357"/>
                      <a:pt x="59" y="357"/>
                      <a:pt x="59" y="357"/>
                    </a:cubicBezTo>
                    <a:cubicBezTo>
                      <a:pt x="57" y="342"/>
                      <a:pt x="57" y="342"/>
                      <a:pt x="57" y="342"/>
                    </a:cubicBezTo>
                    <a:cubicBezTo>
                      <a:pt x="65" y="334"/>
                      <a:pt x="65" y="334"/>
                      <a:pt x="65" y="334"/>
                    </a:cubicBezTo>
                    <a:cubicBezTo>
                      <a:pt x="65" y="334"/>
                      <a:pt x="67" y="323"/>
                      <a:pt x="65" y="321"/>
                    </a:cubicBezTo>
                    <a:cubicBezTo>
                      <a:pt x="62" y="319"/>
                      <a:pt x="56" y="312"/>
                      <a:pt x="56" y="312"/>
                    </a:cubicBezTo>
                    <a:cubicBezTo>
                      <a:pt x="59" y="299"/>
                      <a:pt x="59" y="299"/>
                      <a:pt x="59" y="299"/>
                    </a:cubicBezTo>
                    <a:cubicBezTo>
                      <a:pt x="57" y="275"/>
                      <a:pt x="57" y="275"/>
                      <a:pt x="57" y="275"/>
                    </a:cubicBezTo>
                    <a:cubicBezTo>
                      <a:pt x="57" y="275"/>
                      <a:pt x="61" y="268"/>
                      <a:pt x="63" y="266"/>
                    </a:cubicBezTo>
                    <a:cubicBezTo>
                      <a:pt x="66" y="264"/>
                      <a:pt x="63" y="248"/>
                      <a:pt x="63" y="248"/>
                    </a:cubicBezTo>
                    <a:cubicBezTo>
                      <a:pt x="55" y="240"/>
                      <a:pt x="55" y="240"/>
                      <a:pt x="55" y="240"/>
                    </a:cubicBezTo>
                    <a:cubicBezTo>
                      <a:pt x="46" y="222"/>
                      <a:pt x="46" y="222"/>
                      <a:pt x="46" y="222"/>
                    </a:cubicBezTo>
                    <a:cubicBezTo>
                      <a:pt x="30" y="206"/>
                      <a:pt x="30" y="206"/>
                      <a:pt x="30" y="206"/>
                    </a:cubicBezTo>
                    <a:cubicBezTo>
                      <a:pt x="21" y="197"/>
                      <a:pt x="21" y="197"/>
                      <a:pt x="21" y="197"/>
                    </a:cubicBezTo>
                    <a:cubicBezTo>
                      <a:pt x="10" y="188"/>
                      <a:pt x="10" y="188"/>
                      <a:pt x="10" y="188"/>
                    </a:cubicBezTo>
                    <a:cubicBezTo>
                      <a:pt x="10" y="179"/>
                      <a:pt x="10" y="179"/>
                      <a:pt x="10" y="179"/>
                    </a:cubicBezTo>
                    <a:cubicBezTo>
                      <a:pt x="0" y="173"/>
                      <a:pt x="0" y="173"/>
                      <a:pt x="0" y="173"/>
                    </a:cubicBezTo>
                    <a:cubicBezTo>
                      <a:pt x="3" y="162"/>
                      <a:pt x="3" y="162"/>
                      <a:pt x="3" y="162"/>
                    </a:cubicBezTo>
                    <a:cubicBezTo>
                      <a:pt x="19" y="145"/>
                      <a:pt x="19" y="145"/>
                      <a:pt x="19" y="145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5" y="126"/>
                      <a:pt x="25" y="126"/>
                      <a:pt x="25" y="126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45" y="89"/>
                      <a:pt x="45" y="89"/>
                      <a:pt x="45" y="89"/>
                    </a:cubicBezTo>
                    <a:cubicBezTo>
                      <a:pt x="46" y="77"/>
                      <a:pt x="46" y="77"/>
                      <a:pt x="46" y="77"/>
                    </a:cubicBezTo>
                    <a:cubicBezTo>
                      <a:pt x="62" y="67"/>
                      <a:pt x="62" y="67"/>
                      <a:pt x="62" y="67"/>
                    </a:cubicBezTo>
                    <a:cubicBezTo>
                      <a:pt x="60" y="52"/>
                      <a:pt x="60" y="52"/>
                      <a:pt x="60" y="52"/>
                    </a:cubicBezTo>
                    <a:cubicBezTo>
                      <a:pt x="66" y="41"/>
                      <a:pt x="66" y="41"/>
                      <a:pt x="66" y="41"/>
                    </a:cubicBezTo>
                    <a:cubicBezTo>
                      <a:pt x="79" y="27"/>
                      <a:pt x="79" y="27"/>
                      <a:pt x="79" y="27"/>
                    </a:cubicBezTo>
                    <a:cubicBezTo>
                      <a:pt x="90" y="17"/>
                      <a:pt x="90" y="17"/>
                      <a:pt x="90" y="17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98" y="30"/>
                      <a:pt x="98" y="30"/>
                      <a:pt x="98" y="30"/>
                    </a:cubicBezTo>
                    <a:cubicBezTo>
                      <a:pt x="110" y="29"/>
                      <a:pt x="110" y="29"/>
                      <a:pt x="110" y="29"/>
                    </a:cubicBezTo>
                    <a:cubicBezTo>
                      <a:pt x="122" y="16"/>
                      <a:pt x="122" y="16"/>
                      <a:pt x="122" y="16"/>
                    </a:cubicBezTo>
                    <a:cubicBezTo>
                      <a:pt x="135" y="10"/>
                      <a:pt x="135" y="10"/>
                      <a:pt x="135" y="10"/>
                    </a:cubicBezTo>
                    <a:cubicBezTo>
                      <a:pt x="142" y="2"/>
                      <a:pt x="142" y="2"/>
                      <a:pt x="142" y="2"/>
                    </a:cubicBezTo>
                    <a:lnTo>
                      <a:pt x="154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5" name="Freeform 252"/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 rot="698053">
                <a:off x="5829933" y="1988883"/>
                <a:ext cx="1068804" cy="2315258"/>
              </a:xfrm>
              <a:custGeom>
                <a:avLst/>
                <a:gdLst>
                  <a:gd name="T0" fmla="*/ 603 w 694"/>
                  <a:gd name="T1" fmla="*/ 588 h 1558"/>
                  <a:gd name="T2" fmla="*/ 604 w 694"/>
                  <a:gd name="T3" fmla="*/ 657 h 1558"/>
                  <a:gd name="T4" fmla="*/ 621 w 694"/>
                  <a:gd name="T5" fmla="*/ 741 h 1558"/>
                  <a:gd name="T6" fmla="*/ 649 w 694"/>
                  <a:gd name="T7" fmla="*/ 775 h 1558"/>
                  <a:gd name="T8" fmla="*/ 685 w 694"/>
                  <a:gd name="T9" fmla="*/ 796 h 1558"/>
                  <a:gd name="T10" fmla="*/ 655 w 694"/>
                  <a:gd name="T11" fmla="*/ 865 h 1558"/>
                  <a:gd name="T12" fmla="*/ 660 w 694"/>
                  <a:gd name="T13" fmla="*/ 940 h 1558"/>
                  <a:gd name="T14" fmla="*/ 644 w 694"/>
                  <a:gd name="T15" fmla="*/ 1013 h 1558"/>
                  <a:gd name="T16" fmla="*/ 658 w 694"/>
                  <a:gd name="T17" fmla="*/ 1061 h 1558"/>
                  <a:gd name="T18" fmla="*/ 664 w 694"/>
                  <a:gd name="T19" fmla="*/ 1120 h 1558"/>
                  <a:gd name="T20" fmla="*/ 597 w 694"/>
                  <a:gd name="T21" fmla="*/ 1097 h 1558"/>
                  <a:gd name="T22" fmla="*/ 567 w 694"/>
                  <a:gd name="T23" fmla="*/ 1202 h 1558"/>
                  <a:gd name="T24" fmla="*/ 483 w 694"/>
                  <a:gd name="T25" fmla="*/ 1197 h 1558"/>
                  <a:gd name="T26" fmla="*/ 467 w 694"/>
                  <a:gd name="T27" fmla="*/ 1286 h 1558"/>
                  <a:gd name="T28" fmla="*/ 447 w 694"/>
                  <a:gd name="T29" fmla="*/ 1361 h 1558"/>
                  <a:gd name="T30" fmla="*/ 429 w 694"/>
                  <a:gd name="T31" fmla="*/ 1413 h 1558"/>
                  <a:gd name="T32" fmla="*/ 395 w 694"/>
                  <a:gd name="T33" fmla="*/ 1458 h 1558"/>
                  <a:gd name="T34" fmla="*/ 326 w 694"/>
                  <a:gd name="T35" fmla="*/ 1552 h 1558"/>
                  <a:gd name="T36" fmla="*/ 256 w 694"/>
                  <a:gd name="T37" fmla="*/ 1512 h 1558"/>
                  <a:gd name="T38" fmla="*/ 275 w 694"/>
                  <a:gd name="T39" fmla="*/ 1420 h 1558"/>
                  <a:gd name="T40" fmla="*/ 206 w 694"/>
                  <a:gd name="T41" fmla="*/ 1370 h 1558"/>
                  <a:gd name="T42" fmla="*/ 183 w 694"/>
                  <a:gd name="T43" fmla="*/ 1288 h 1558"/>
                  <a:gd name="T44" fmla="*/ 177 w 694"/>
                  <a:gd name="T45" fmla="*/ 1199 h 1558"/>
                  <a:gd name="T46" fmla="*/ 149 w 694"/>
                  <a:gd name="T47" fmla="*/ 1099 h 1558"/>
                  <a:gd name="T48" fmla="*/ 66 w 694"/>
                  <a:gd name="T49" fmla="*/ 1031 h 1558"/>
                  <a:gd name="T50" fmla="*/ 100 w 694"/>
                  <a:gd name="T51" fmla="*/ 928 h 1558"/>
                  <a:gd name="T52" fmla="*/ 121 w 694"/>
                  <a:gd name="T53" fmla="*/ 828 h 1558"/>
                  <a:gd name="T54" fmla="*/ 93 w 694"/>
                  <a:gd name="T55" fmla="*/ 758 h 1558"/>
                  <a:gd name="T56" fmla="*/ 65 w 694"/>
                  <a:gd name="T57" fmla="*/ 694 h 1558"/>
                  <a:gd name="T58" fmla="*/ 44 w 694"/>
                  <a:gd name="T59" fmla="*/ 621 h 1558"/>
                  <a:gd name="T60" fmla="*/ 71 w 694"/>
                  <a:gd name="T61" fmla="*/ 565 h 1558"/>
                  <a:gd name="T62" fmla="*/ 31 w 694"/>
                  <a:gd name="T63" fmla="*/ 530 h 1558"/>
                  <a:gd name="T64" fmla="*/ 22 w 694"/>
                  <a:gd name="T65" fmla="*/ 467 h 1558"/>
                  <a:gd name="T66" fmla="*/ 16 w 694"/>
                  <a:gd name="T67" fmla="*/ 399 h 1558"/>
                  <a:gd name="T68" fmla="*/ 17 w 694"/>
                  <a:gd name="T69" fmla="*/ 353 h 1558"/>
                  <a:gd name="T70" fmla="*/ 53 w 694"/>
                  <a:gd name="T71" fmla="*/ 370 h 1558"/>
                  <a:gd name="T72" fmla="*/ 61 w 694"/>
                  <a:gd name="T73" fmla="*/ 336 h 1558"/>
                  <a:gd name="T74" fmla="*/ 118 w 694"/>
                  <a:gd name="T75" fmla="*/ 274 h 1558"/>
                  <a:gd name="T76" fmla="*/ 159 w 694"/>
                  <a:gd name="T77" fmla="*/ 236 h 1558"/>
                  <a:gd name="T78" fmla="*/ 189 w 694"/>
                  <a:gd name="T79" fmla="*/ 195 h 1558"/>
                  <a:gd name="T80" fmla="*/ 261 w 694"/>
                  <a:gd name="T81" fmla="*/ 146 h 1558"/>
                  <a:gd name="T82" fmla="*/ 325 w 694"/>
                  <a:gd name="T83" fmla="*/ 110 h 1558"/>
                  <a:gd name="T84" fmla="*/ 371 w 694"/>
                  <a:gd name="T85" fmla="*/ 105 h 1558"/>
                  <a:gd name="T86" fmla="*/ 387 w 694"/>
                  <a:gd name="T87" fmla="*/ 56 h 1558"/>
                  <a:gd name="T88" fmla="*/ 439 w 694"/>
                  <a:gd name="T89" fmla="*/ 31 h 1558"/>
                  <a:gd name="T90" fmla="*/ 487 w 694"/>
                  <a:gd name="T91" fmla="*/ 71 h 1558"/>
                  <a:gd name="T92" fmla="*/ 552 w 694"/>
                  <a:gd name="T93" fmla="*/ 46 h 1558"/>
                  <a:gd name="T94" fmla="*/ 578 w 694"/>
                  <a:gd name="T95" fmla="*/ 94 h 1558"/>
                  <a:gd name="T96" fmla="*/ 558 w 694"/>
                  <a:gd name="T97" fmla="*/ 182 h 1558"/>
                  <a:gd name="T98" fmla="*/ 505 w 694"/>
                  <a:gd name="T99" fmla="*/ 286 h 1558"/>
                  <a:gd name="T100" fmla="*/ 570 w 694"/>
                  <a:gd name="T101" fmla="*/ 243 h 1558"/>
                  <a:gd name="T102" fmla="*/ 583 w 694"/>
                  <a:gd name="T103" fmla="*/ 220 h 1558"/>
                  <a:gd name="T104" fmla="*/ 600 w 694"/>
                  <a:gd name="T105" fmla="*/ 281 h 1558"/>
                  <a:gd name="T106" fmla="*/ 661 w 694"/>
                  <a:gd name="T107" fmla="*/ 363 h 1558"/>
                  <a:gd name="T108" fmla="*/ 616 w 694"/>
                  <a:gd name="T109" fmla="*/ 433 h 1558"/>
                  <a:gd name="T110" fmla="*/ 567 w 694"/>
                  <a:gd name="T111" fmla="*/ 491 h 1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94" h="1558">
                    <a:moveTo>
                      <a:pt x="567" y="491"/>
                    </a:moveTo>
                    <a:cubicBezTo>
                      <a:pt x="571" y="500"/>
                      <a:pt x="571" y="500"/>
                      <a:pt x="571" y="500"/>
                    </a:cubicBezTo>
                    <a:cubicBezTo>
                      <a:pt x="576" y="511"/>
                      <a:pt x="576" y="511"/>
                      <a:pt x="576" y="511"/>
                    </a:cubicBezTo>
                    <a:cubicBezTo>
                      <a:pt x="587" y="519"/>
                      <a:pt x="587" y="519"/>
                      <a:pt x="587" y="519"/>
                    </a:cubicBezTo>
                    <a:cubicBezTo>
                      <a:pt x="589" y="541"/>
                      <a:pt x="589" y="541"/>
                      <a:pt x="589" y="541"/>
                    </a:cubicBezTo>
                    <a:cubicBezTo>
                      <a:pt x="600" y="563"/>
                      <a:pt x="600" y="563"/>
                      <a:pt x="600" y="563"/>
                    </a:cubicBezTo>
                    <a:cubicBezTo>
                      <a:pt x="600" y="571"/>
                      <a:pt x="600" y="571"/>
                      <a:pt x="600" y="571"/>
                    </a:cubicBezTo>
                    <a:cubicBezTo>
                      <a:pt x="603" y="588"/>
                      <a:pt x="603" y="588"/>
                      <a:pt x="603" y="588"/>
                    </a:cubicBezTo>
                    <a:cubicBezTo>
                      <a:pt x="607" y="614"/>
                      <a:pt x="607" y="614"/>
                      <a:pt x="607" y="614"/>
                    </a:cubicBezTo>
                    <a:cubicBezTo>
                      <a:pt x="597" y="617"/>
                      <a:pt x="597" y="617"/>
                      <a:pt x="597" y="617"/>
                    </a:cubicBezTo>
                    <a:cubicBezTo>
                      <a:pt x="590" y="627"/>
                      <a:pt x="590" y="627"/>
                      <a:pt x="590" y="627"/>
                    </a:cubicBezTo>
                    <a:cubicBezTo>
                      <a:pt x="584" y="634"/>
                      <a:pt x="584" y="634"/>
                      <a:pt x="584" y="634"/>
                    </a:cubicBezTo>
                    <a:cubicBezTo>
                      <a:pt x="588" y="645"/>
                      <a:pt x="588" y="645"/>
                      <a:pt x="588" y="645"/>
                    </a:cubicBezTo>
                    <a:cubicBezTo>
                      <a:pt x="591" y="641"/>
                      <a:pt x="591" y="641"/>
                      <a:pt x="591" y="641"/>
                    </a:cubicBezTo>
                    <a:cubicBezTo>
                      <a:pt x="604" y="646"/>
                      <a:pt x="604" y="646"/>
                      <a:pt x="604" y="646"/>
                    </a:cubicBezTo>
                    <a:cubicBezTo>
                      <a:pt x="604" y="657"/>
                      <a:pt x="604" y="657"/>
                      <a:pt x="604" y="657"/>
                    </a:cubicBezTo>
                    <a:cubicBezTo>
                      <a:pt x="609" y="662"/>
                      <a:pt x="609" y="662"/>
                      <a:pt x="609" y="662"/>
                    </a:cubicBezTo>
                    <a:cubicBezTo>
                      <a:pt x="604" y="666"/>
                      <a:pt x="604" y="666"/>
                      <a:pt x="604" y="666"/>
                    </a:cubicBezTo>
                    <a:cubicBezTo>
                      <a:pt x="604" y="677"/>
                      <a:pt x="604" y="677"/>
                      <a:pt x="604" y="677"/>
                    </a:cubicBezTo>
                    <a:cubicBezTo>
                      <a:pt x="616" y="684"/>
                      <a:pt x="616" y="684"/>
                      <a:pt x="616" y="684"/>
                    </a:cubicBezTo>
                    <a:cubicBezTo>
                      <a:pt x="619" y="702"/>
                      <a:pt x="619" y="702"/>
                      <a:pt x="619" y="702"/>
                    </a:cubicBezTo>
                    <a:cubicBezTo>
                      <a:pt x="633" y="716"/>
                      <a:pt x="633" y="716"/>
                      <a:pt x="633" y="716"/>
                    </a:cubicBezTo>
                    <a:cubicBezTo>
                      <a:pt x="629" y="729"/>
                      <a:pt x="629" y="729"/>
                      <a:pt x="629" y="729"/>
                    </a:cubicBezTo>
                    <a:cubicBezTo>
                      <a:pt x="621" y="741"/>
                      <a:pt x="621" y="741"/>
                      <a:pt x="621" y="741"/>
                    </a:cubicBezTo>
                    <a:cubicBezTo>
                      <a:pt x="624" y="751"/>
                      <a:pt x="624" y="751"/>
                      <a:pt x="624" y="751"/>
                    </a:cubicBezTo>
                    <a:cubicBezTo>
                      <a:pt x="624" y="760"/>
                      <a:pt x="624" y="760"/>
                      <a:pt x="624" y="760"/>
                    </a:cubicBezTo>
                    <a:cubicBezTo>
                      <a:pt x="620" y="764"/>
                      <a:pt x="620" y="764"/>
                      <a:pt x="620" y="764"/>
                    </a:cubicBezTo>
                    <a:cubicBezTo>
                      <a:pt x="620" y="777"/>
                      <a:pt x="620" y="777"/>
                      <a:pt x="620" y="777"/>
                    </a:cubicBezTo>
                    <a:cubicBezTo>
                      <a:pt x="627" y="781"/>
                      <a:pt x="627" y="781"/>
                      <a:pt x="627" y="781"/>
                    </a:cubicBezTo>
                    <a:cubicBezTo>
                      <a:pt x="638" y="781"/>
                      <a:pt x="638" y="781"/>
                      <a:pt x="638" y="781"/>
                    </a:cubicBezTo>
                    <a:cubicBezTo>
                      <a:pt x="643" y="775"/>
                      <a:pt x="643" y="775"/>
                      <a:pt x="643" y="775"/>
                    </a:cubicBezTo>
                    <a:cubicBezTo>
                      <a:pt x="649" y="775"/>
                      <a:pt x="649" y="775"/>
                      <a:pt x="649" y="775"/>
                    </a:cubicBezTo>
                    <a:cubicBezTo>
                      <a:pt x="655" y="782"/>
                      <a:pt x="655" y="782"/>
                      <a:pt x="655" y="782"/>
                    </a:cubicBezTo>
                    <a:cubicBezTo>
                      <a:pt x="667" y="778"/>
                      <a:pt x="667" y="778"/>
                      <a:pt x="667" y="778"/>
                    </a:cubicBezTo>
                    <a:cubicBezTo>
                      <a:pt x="676" y="782"/>
                      <a:pt x="676" y="782"/>
                      <a:pt x="676" y="782"/>
                    </a:cubicBezTo>
                    <a:cubicBezTo>
                      <a:pt x="684" y="775"/>
                      <a:pt x="684" y="775"/>
                      <a:pt x="684" y="775"/>
                    </a:cubicBezTo>
                    <a:cubicBezTo>
                      <a:pt x="693" y="775"/>
                      <a:pt x="693" y="775"/>
                      <a:pt x="693" y="775"/>
                    </a:cubicBezTo>
                    <a:cubicBezTo>
                      <a:pt x="694" y="783"/>
                      <a:pt x="694" y="783"/>
                      <a:pt x="694" y="783"/>
                    </a:cubicBezTo>
                    <a:cubicBezTo>
                      <a:pt x="690" y="791"/>
                      <a:pt x="690" y="791"/>
                      <a:pt x="690" y="791"/>
                    </a:cubicBezTo>
                    <a:cubicBezTo>
                      <a:pt x="685" y="796"/>
                      <a:pt x="685" y="796"/>
                      <a:pt x="685" y="796"/>
                    </a:cubicBezTo>
                    <a:cubicBezTo>
                      <a:pt x="677" y="795"/>
                      <a:pt x="677" y="795"/>
                      <a:pt x="677" y="795"/>
                    </a:cubicBezTo>
                    <a:cubicBezTo>
                      <a:pt x="668" y="803"/>
                      <a:pt x="668" y="803"/>
                      <a:pt x="668" y="803"/>
                    </a:cubicBezTo>
                    <a:cubicBezTo>
                      <a:pt x="659" y="807"/>
                      <a:pt x="659" y="807"/>
                      <a:pt x="659" y="807"/>
                    </a:cubicBezTo>
                    <a:cubicBezTo>
                      <a:pt x="654" y="819"/>
                      <a:pt x="654" y="819"/>
                      <a:pt x="654" y="819"/>
                    </a:cubicBezTo>
                    <a:cubicBezTo>
                      <a:pt x="654" y="831"/>
                      <a:pt x="654" y="831"/>
                      <a:pt x="654" y="831"/>
                    </a:cubicBezTo>
                    <a:cubicBezTo>
                      <a:pt x="658" y="844"/>
                      <a:pt x="658" y="844"/>
                      <a:pt x="658" y="844"/>
                    </a:cubicBezTo>
                    <a:cubicBezTo>
                      <a:pt x="655" y="855"/>
                      <a:pt x="655" y="855"/>
                      <a:pt x="655" y="855"/>
                    </a:cubicBezTo>
                    <a:cubicBezTo>
                      <a:pt x="655" y="865"/>
                      <a:pt x="655" y="865"/>
                      <a:pt x="655" y="865"/>
                    </a:cubicBezTo>
                    <a:cubicBezTo>
                      <a:pt x="666" y="876"/>
                      <a:pt x="666" y="876"/>
                      <a:pt x="666" y="876"/>
                    </a:cubicBezTo>
                    <a:cubicBezTo>
                      <a:pt x="673" y="883"/>
                      <a:pt x="673" y="883"/>
                      <a:pt x="673" y="883"/>
                    </a:cubicBezTo>
                    <a:cubicBezTo>
                      <a:pt x="670" y="893"/>
                      <a:pt x="670" y="893"/>
                      <a:pt x="670" y="893"/>
                    </a:cubicBezTo>
                    <a:cubicBezTo>
                      <a:pt x="665" y="901"/>
                      <a:pt x="665" y="901"/>
                      <a:pt x="665" y="901"/>
                    </a:cubicBezTo>
                    <a:cubicBezTo>
                      <a:pt x="674" y="910"/>
                      <a:pt x="674" y="910"/>
                      <a:pt x="674" y="910"/>
                    </a:cubicBezTo>
                    <a:cubicBezTo>
                      <a:pt x="666" y="918"/>
                      <a:pt x="666" y="918"/>
                      <a:pt x="666" y="918"/>
                    </a:cubicBezTo>
                    <a:cubicBezTo>
                      <a:pt x="660" y="922"/>
                      <a:pt x="660" y="922"/>
                      <a:pt x="660" y="922"/>
                    </a:cubicBezTo>
                    <a:cubicBezTo>
                      <a:pt x="660" y="940"/>
                      <a:pt x="660" y="940"/>
                      <a:pt x="660" y="940"/>
                    </a:cubicBezTo>
                    <a:cubicBezTo>
                      <a:pt x="653" y="944"/>
                      <a:pt x="653" y="944"/>
                      <a:pt x="653" y="944"/>
                    </a:cubicBezTo>
                    <a:cubicBezTo>
                      <a:pt x="650" y="956"/>
                      <a:pt x="650" y="956"/>
                      <a:pt x="650" y="956"/>
                    </a:cubicBezTo>
                    <a:cubicBezTo>
                      <a:pt x="638" y="961"/>
                      <a:pt x="638" y="961"/>
                      <a:pt x="638" y="961"/>
                    </a:cubicBezTo>
                    <a:cubicBezTo>
                      <a:pt x="641" y="977"/>
                      <a:pt x="641" y="977"/>
                      <a:pt x="641" y="977"/>
                    </a:cubicBezTo>
                    <a:cubicBezTo>
                      <a:pt x="636" y="982"/>
                      <a:pt x="636" y="982"/>
                      <a:pt x="636" y="982"/>
                    </a:cubicBezTo>
                    <a:cubicBezTo>
                      <a:pt x="634" y="996"/>
                      <a:pt x="634" y="996"/>
                      <a:pt x="634" y="996"/>
                    </a:cubicBezTo>
                    <a:cubicBezTo>
                      <a:pt x="637" y="1010"/>
                      <a:pt x="637" y="1010"/>
                      <a:pt x="637" y="1010"/>
                    </a:cubicBezTo>
                    <a:cubicBezTo>
                      <a:pt x="644" y="1013"/>
                      <a:pt x="644" y="1013"/>
                      <a:pt x="644" y="1013"/>
                    </a:cubicBezTo>
                    <a:cubicBezTo>
                      <a:pt x="655" y="1024"/>
                      <a:pt x="655" y="1024"/>
                      <a:pt x="655" y="1024"/>
                    </a:cubicBezTo>
                    <a:cubicBezTo>
                      <a:pt x="660" y="1019"/>
                      <a:pt x="660" y="1019"/>
                      <a:pt x="660" y="1019"/>
                    </a:cubicBezTo>
                    <a:cubicBezTo>
                      <a:pt x="670" y="1023"/>
                      <a:pt x="670" y="1023"/>
                      <a:pt x="670" y="1023"/>
                    </a:cubicBezTo>
                    <a:cubicBezTo>
                      <a:pt x="670" y="1035"/>
                      <a:pt x="670" y="1035"/>
                      <a:pt x="670" y="1035"/>
                    </a:cubicBezTo>
                    <a:cubicBezTo>
                      <a:pt x="674" y="1045"/>
                      <a:pt x="674" y="1045"/>
                      <a:pt x="674" y="1045"/>
                    </a:cubicBezTo>
                    <a:cubicBezTo>
                      <a:pt x="667" y="1044"/>
                      <a:pt x="667" y="1044"/>
                      <a:pt x="667" y="1044"/>
                    </a:cubicBezTo>
                    <a:cubicBezTo>
                      <a:pt x="662" y="1053"/>
                      <a:pt x="662" y="1053"/>
                      <a:pt x="662" y="1053"/>
                    </a:cubicBezTo>
                    <a:cubicBezTo>
                      <a:pt x="658" y="1061"/>
                      <a:pt x="658" y="1061"/>
                      <a:pt x="658" y="1061"/>
                    </a:cubicBezTo>
                    <a:cubicBezTo>
                      <a:pt x="660" y="1067"/>
                      <a:pt x="660" y="1067"/>
                      <a:pt x="660" y="1067"/>
                    </a:cubicBezTo>
                    <a:cubicBezTo>
                      <a:pt x="671" y="1067"/>
                      <a:pt x="671" y="1067"/>
                      <a:pt x="671" y="1067"/>
                    </a:cubicBezTo>
                    <a:cubicBezTo>
                      <a:pt x="676" y="1078"/>
                      <a:pt x="676" y="1078"/>
                      <a:pt x="676" y="1078"/>
                    </a:cubicBezTo>
                    <a:cubicBezTo>
                      <a:pt x="679" y="1087"/>
                      <a:pt x="679" y="1087"/>
                      <a:pt x="679" y="1087"/>
                    </a:cubicBezTo>
                    <a:cubicBezTo>
                      <a:pt x="673" y="1093"/>
                      <a:pt x="673" y="1093"/>
                      <a:pt x="673" y="1093"/>
                    </a:cubicBezTo>
                    <a:cubicBezTo>
                      <a:pt x="667" y="1103"/>
                      <a:pt x="667" y="1103"/>
                      <a:pt x="667" y="1103"/>
                    </a:cubicBezTo>
                    <a:cubicBezTo>
                      <a:pt x="667" y="1112"/>
                      <a:pt x="667" y="1112"/>
                      <a:pt x="667" y="1112"/>
                    </a:cubicBezTo>
                    <a:cubicBezTo>
                      <a:pt x="664" y="1120"/>
                      <a:pt x="664" y="1120"/>
                      <a:pt x="664" y="1120"/>
                    </a:cubicBezTo>
                    <a:cubicBezTo>
                      <a:pt x="654" y="1120"/>
                      <a:pt x="654" y="1120"/>
                      <a:pt x="654" y="1120"/>
                    </a:cubicBezTo>
                    <a:cubicBezTo>
                      <a:pt x="646" y="1111"/>
                      <a:pt x="646" y="1111"/>
                      <a:pt x="646" y="1111"/>
                    </a:cubicBezTo>
                    <a:cubicBezTo>
                      <a:pt x="634" y="1111"/>
                      <a:pt x="634" y="1111"/>
                      <a:pt x="634" y="1111"/>
                    </a:cubicBezTo>
                    <a:cubicBezTo>
                      <a:pt x="630" y="1104"/>
                      <a:pt x="630" y="1104"/>
                      <a:pt x="630" y="1104"/>
                    </a:cubicBezTo>
                    <a:cubicBezTo>
                      <a:pt x="620" y="1099"/>
                      <a:pt x="620" y="1099"/>
                      <a:pt x="620" y="1099"/>
                    </a:cubicBezTo>
                    <a:cubicBezTo>
                      <a:pt x="617" y="1092"/>
                      <a:pt x="617" y="1092"/>
                      <a:pt x="617" y="1092"/>
                    </a:cubicBezTo>
                    <a:cubicBezTo>
                      <a:pt x="609" y="1090"/>
                      <a:pt x="609" y="1090"/>
                      <a:pt x="609" y="1090"/>
                    </a:cubicBezTo>
                    <a:cubicBezTo>
                      <a:pt x="597" y="1097"/>
                      <a:pt x="597" y="1097"/>
                      <a:pt x="597" y="1097"/>
                    </a:cubicBezTo>
                    <a:cubicBezTo>
                      <a:pt x="594" y="1111"/>
                      <a:pt x="594" y="1111"/>
                      <a:pt x="594" y="1111"/>
                    </a:cubicBezTo>
                    <a:cubicBezTo>
                      <a:pt x="600" y="1124"/>
                      <a:pt x="600" y="1124"/>
                      <a:pt x="600" y="1124"/>
                    </a:cubicBezTo>
                    <a:cubicBezTo>
                      <a:pt x="591" y="1138"/>
                      <a:pt x="591" y="1138"/>
                      <a:pt x="591" y="1138"/>
                    </a:cubicBezTo>
                    <a:cubicBezTo>
                      <a:pt x="577" y="1152"/>
                      <a:pt x="577" y="1152"/>
                      <a:pt x="577" y="1152"/>
                    </a:cubicBezTo>
                    <a:cubicBezTo>
                      <a:pt x="567" y="1166"/>
                      <a:pt x="567" y="1166"/>
                      <a:pt x="567" y="1166"/>
                    </a:cubicBezTo>
                    <a:cubicBezTo>
                      <a:pt x="563" y="1180"/>
                      <a:pt x="563" y="1180"/>
                      <a:pt x="563" y="1180"/>
                    </a:cubicBezTo>
                    <a:cubicBezTo>
                      <a:pt x="558" y="1193"/>
                      <a:pt x="558" y="1193"/>
                      <a:pt x="558" y="1193"/>
                    </a:cubicBezTo>
                    <a:cubicBezTo>
                      <a:pt x="567" y="1202"/>
                      <a:pt x="567" y="1202"/>
                      <a:pt x="567" y="1202"/>
                    </a:cubicBezTo>
                    <a:cubicBezTo>
                      <a:pt x="558" y="1208"/>
                      <a:pt x="558" y="1208"/>
                      <a:pt x="558" y="1208"/>
                    </a:cubicBezTo>
                    <a:cubicBezTo>
                      <a:pt x="545" y="1200"/>
                      <a:pt x="545" y="1200"/>
                      <a:pt x="545" y="1200"/>
                    </a:cubicBezTo>
                    <a:cubicBezTo>
                      <a:pt x="539" y="1185"/>
                      <a:pt x="539" y="1185"/>
                      <a:pt x="539" y="1185"/>
                    </a:cubicBezTo>
                    <a:cubicBezTo>
                      <a:pt x="528" y="1174"/>
                      <a:pt x="528" y="1174"/>
                      <a:pt x="528" y="1174"/>
                    </a:cubicBezTo>
                    <a:cubicBezTo>
                      <a:pt x="518" y="1179"/>
                      <a:pt x="518" y="1179"/>
                      <a:pt x="518" y="1179"/>
                    </a:cubicBezTo>
                    <a:cubicBezTo>
                      <a:pt x="513" y="1193"/>
                      <a:pt x="513" y="1193"/>
                      <a:pt x="513" y="1193"/>
                    </a:cubicBezTo>
                    <a:cubicBezTo>
                      <a:pt x="497" y="1199"/>
                      <a:pt x="497" y="1199"/>
                      <a:pt x="497" y="1199"/>
                    </a:cubicBezTo>
                    <a:cubicBezTo>
                      <a:pt x="483" y="1197"/>
                      <a:pt x="483" y="1197"/>
                      <a:pt x="483" y="1197"/>
                    </a:cubicBezTo>
                    <a:cubicBezTo>
                      <a:pt x="469" y="1201"/>
                      <a:pt x="469" y="1201"/>
                      <a:pt x="469" y="1201"/>
                    </a:cubicBezTo>
                    <a:cubicBezTo>
                      <a:pt x="469" y="1220"/>
                      <a:pt x="469" y="1220"/>
                      <a:pt x="469" y="1220"/>
                    </a:cubicBezTo>
                    <a:cubicBezTo>
                      <a:pt x="461" y="1228"/>
                      <a:pt x="461" y="1228"/>
                      <a:pt x="461" y="1228"/>
                    </a:cubicBezTo>
                    <a:cubicBezTo>
                      <a:pt x="461" y="1247"/>
                      <a:pt x="461" y="1247"/>
                      <a:pt x="461" y="1247"/>
                    </a:cubicBezTo>
                    <a:cubicBezTo>
                      <a:pt x="470" y="1256"/>
                      <a:pt x="470" y="1256"/>
                      <a:pt x="470" y="1256"/>
                    </a:cubicBezTo>
                    <a:cubicBezTo>
                      <a:pt x="477" y="1271"/>
                      <a:pt x="477" y="1271"/>
                      <a:pt x="477" y="1271"/>
                    </a:cubicBezTo>
                    <a:cubicBezTo>
                      <a:pt x="477" y="1280"/>
                      <a:pt x="477" y="1280"/>
                      <a:pt x="477" y="1280"/>
                    </a:cubicBezTo>
                    <a:cubicBezTo>
                      <a:pt x="467" y="1286"/>
                      <a:pt x="467" y="1286"/>
                      <a:pt x="467" y="1286"/>
                    </a:cubicBezTo>
                    <a:cubicBezTo>
                      <a:pt x="462" y="1298"/>
                      <a:pt x="462" y="1298"/>
                      <a:pt x="462" y="1298"/>
                    </a:cubicBezTo>
                    <a:cubicBezTo>
                      <a:pt x="452" y="1298"/>
                      <a:pt x="452" y="1298"/>
                      <a:pt x="452" y="1298"/>
                    </a:cubicBezTo>
                    <a:cubicBezTo>
                      <a:pt x="449" y="1310"/>
                      <a:pt x="449" y="1310"/>
                      <a:pt x="449" y="1310"/>
                    </a:cubicBezTo>
                    <a:cubicBezTo>
                      <a:pt x="445" y="1321"/>
                      <a:pt x="445" y="1321"/>
                      <a:pt x="445" y="1321"/>
                    </a:cubicBezTo>
                    <a:cubicBezTo>
                      <a:pt x="452" y="1331"/>
                      <a:pt x="452" y="1331"/>
                      <a:pt x="452" y="1331"/>
                    </a:cubicBezTo>
                    <a:cubicBezTo>
                      <a:pt x="453" y="1342"/>
                      <a:pt x="453" y="1342"/>
                      <a:pt x="453" y="1342"/>
                    </a:cubicBezTo>
                    <a:cubicBezTo>
                      <a:pt x="447" y="1346"/>
                      <a:pt x="447" y="1346"/>
                      <a:pt x="447" y="1346"/>
                    </a:cubicBezTo>
                    <a:cubicBezTo>
                      <a:pt x="447" y="1361"/>
                      <a:pt x="447" y="1361"/>
                      <a:pt x="447" y="1361"/>
                    </a:cubicBezTo>
                    <a:cubicBezTo>
                      <a:pt x="450" y="1370"/>
                      <a:pt x="450" y="1370"/>
                      <a:pt x="450" y="1370"/>
                    </a:cubicBezTo>
                    <a:cubicBezTo>
                      <a:pt x="445" y="1378"/>
                      <a:pt x="445" y="1378"/>
                      <a:pt x="445" y="1378"/>
                    </a:cubicBezTo>
                    <a:cubicBezTo>
                      <a:pt x="447" y="1389"/>
                      <a:pt x="447" y="1389"/>
                      <a:pt x="447" y="1389"/>
                    </a:cubicBezTo>
                    <a:cubicBezTo>
                      <a:pt x="427" y="1390"/>
                      <a:pt x="427" y="1390"/>
                      <a:pt x="427" y="1390"/>
                    </a:cubicBezTo>
                    <a:cubicBezTo>
                      <a:pt x="427" y="1399"/>
                      <a:pt x="427" y="1399"/>
                      <a:pt x="427" y="1399"/>
                    </a:cubicBezTo>
                    <a:cubicBezTo>
                      <a:pt x="419" y="1397"/>
                      <a:pt x="419" y="1397"/>
                      <a:pt x="419" y="1397"/>
                    </a:cubicBezTo>
                    <a:cubicBezTo>
                      <a:pt x="416" y="1405"/>
                      <a:pt x="416" y="1405"/>
                      <a:pt x="416" y="1405"/>
                    </a:cubicBezTo>
                    <a:cubicBezTo>
                      <a:pt x="429" y="1413"/>
                      <a:pt x="429" y="1413"/>
                      <a:pt x="429" y="1413"/>
                    </a:cubicBezTo>
                    <a:cubicBezTo>
                      <a:pt x="448" y="1432"/>
                      <a:pt x="448" y="1432"/>
                      <a:pt x="448" y="1432"/>
                    </a:cubicBezTo>
                    <a:cubicBezTo>
                      <a:pt x="457" y="1438"/>
                      <a:pt x="457" y="1438"/>
                      <a:pt x="457" y="1438"/>
                    </a:cubicBezTo>
                    <a:cubicBezTo>
                      <a:pt x="453" y="1446"/>
                      <a:pt x="453" y="1446"/>
                      <a:pt x="453" y="1446"/>
                    </a:cubicBezTo>
                    <a:cubicBezTo>
                      <a:pt x="446" y="1443"/>
                      <a:pt x="446" y="1443"/>
                      <a:pt x="446" y="1443"/>
                    </a:cubicBezTo>
                    <a:cubicBezTo>
                      <a:pt x="440" y="1449"/>
                      <a:pt x="440" y="1449"/>
                      <a:pt x="440" y="1449"/>
                    </a:cubicBezTo>
                    <a:cubicBezTo>
                      <a:pt x="425" y="1448"/>
                      <a:pt x="425" y="1448"/>
                      <a:pt x="425" y="1448"/>
                    </a:cubicBezTo>
                    <a:cubicBezTo>
                      <a:pt x="413" y="1461"/>
                      <a:pt x="413" y="1461"/>
                      <a:pt x="413" y="1461"/>
                    </a:cubicBezTo>
                    <a:cubicBezTo>
                      <a:pt x="395" y="1458"/>
                      <a:pt x="395" y="1458"/>
                      <a:pt x="395" y="1458"/>
                    </a:cubicBezTo>
                    <a:cubicBezTo>
                      <a:pt x="389" y="1465"/>
                      <a:pt x="389" y="1465"/>
                      <a:pt x="389" y="1465"/>
                    </a:cubicBezTo>
                    <a:cubicBezTo>
                      <a:pt x="385" y="1489"/>
                      <a:pt x="385" y="1489"/>
                      <a:pt x="385" y="1489"/>
                    </a:cubicBezTo>
                    <a:cubicBezTo>
                      <a:pt x="369" y="1493"/>
                      <a:pt x="369" y="1493"/>
                      <a:pt x="369" y="1493"/>
                    </a:cubicBezTo>
                    <a:cubicBezTo>
                      <a:pt x="369" y="1504"/>
                      <a:pt x="369" y="1504"/>
                      <a:pt x="369" y="1504"/>
                    </a:cubicBezTo>
                    <a:cubicBezTo>
                      <a:pt x="359" y="1514"/>
                      <a:pt x="359" y="1514"/>
                      <a:pt x="359" y="1514"/>
                    </a:cubicBezTo>
                    <a:cubicBezTo>
                      <a:pt x="359" y="1531"/>
                      <a:pt x="359" y="1531"/>
                      <a:pt x="359" y="1531"/>
                    </a:cubicBezTo>
                    <a:cubicBezTo>
                      <a:pt x="345" y="1535"/>
                      <a:pt x="345" y="1535"/>
                      <a:pt x="345" y="1535"/>
                    </a:cubicBezTo>
                    <a:cubicBezTo>
                      <a:pt x="326" y="1552"/>
                      <a:pt x="326" y="1552"/>
                      <a:pt x="326" y="1552"/>
                    </a:cubicBezTo>
                    <a:cubicBezTo>
                      <a:pt x="312" y="1558"/>
                      <a:pt x="312" y="1558"/>
                      <a:pt x="312" y="1558"/>
                    </a:cubicBezTo>
                    <a:cubicBezTo>
                      <a:pt x="301" y="1558"/>
                      <a:pt x="301" y="1558"/>
                      <a:pt x="301" y="1558"/>
                    </a:cubicBezTo>
                    <a:cubicBezTo>
                      <a:pt x="288" y="1551"/>
                      <a:pt x="288" y="1551"/>
                      <a:pt x="288" y="1551"/>
                    </a:cubicBezTo>
                    <a:cubicBezTo>
                      <a:pt x="273" y="1551"/>
                      <a:pt x="273" y="1551"/>
                      <a:pt x="273" y="1551"/>
                    </a:cubicBezTo>
                    <a:cubicBezTo>
                      <a:pt x="257" y="1545"/>
                      <a:pt x="257" y="1545"/>
                      <a:pt x="257" y="1545"/>
                    </a:cubicBezTo>
                    <a:cubicBezTo>
                      <a:pt x="246" y="1534"/>
                      <a:pt x="246" y="1534"/>
                      <a:pt x="246" y="1534"/>
                    </a:cubicBezTo>
                    <a:cubicBezTo>
                      <a:pt x="250" y="1527"/>
                      <a:pt x="250" y="1527"/>
                      <a:pt x="250" y="1527"/>
                    </a:cubicBezTo>
                    <a:cubicBezTo>
                      <a:pt x="256" y="1512"/>
                      <a:pt x="256" y="1512"/>
                      <a:pt x="256" y="1512"/>
                    </a:cubicBezTo>
                    <a:cubicBezTo>
                      <a:pt x="268" y="1507"/>
                      <a:pt x="268" y="1507"/>
                      <a:pt x="268" y="1507"/>
                    </a:cubicBezTo>
                    <a:cubicBezTo>
                      <a:pt x="279" y="1496"/>
                      <a:pt x="279" y="1496"/>
                      <a:pt x="279" y="1496"/>
                    </a:cubicBezTo>
                    <a:cubicBezTo>
                      <a:pt x="278" y="1482"/>
                      <a:pt x="278" y="1482"/>
                      <a:pt x="278" y="1482"/>
                    </a:cubicBezTo>
                    <a:cubicBezTo>
                      <a:pt x="289" y="1471"/>
                      <a:pt x="289" y="1471"/>
                      <a:pt x="289" y="1471"/>
                    </a:cubicBezTo>
                    <a:cubicBezTo>
                      <a:pt x="293" y="1457"/>
                      <a:pt x="293" y="1457"/>
                      <a:pt x="293" y="1457"/>
                    </a:cubicBezTo>
                    <a:cubicBezTo>
                      <a:pt x="289" y="1447"/>
                      <a:pt x="289" y="1447"/>
                      <a:pt x="289" y="1447"/>
                    </a:cubicBezTo>
                    <a:cubicBezTo>
                      <a:pt x="289" y="1434"/>
                      <a:pt x="289" y="1434"/>
                      <a:pt x="289" y="1434"/>
                    </a:cubicBezTo>
                    <a:cubicBezTo>
                      <a:pt x="275" y="1420"/>
                      <a:pt x="275" y="1420"/>
                      <a:pt x="275" y="1420"/>
                    </a:cubicBezTo>
                    <a:cubicBezTo>
                      <a:pt x="271" y="1404"/>
                      <a:pt x="271" y="1404"/>
                      <a:pt x="271" y="1404"/>
                    </a:cubicBezTo>
                    <a:cubicBezTo>
                      <a:pt x="257" y="1390"/>
                      <a:pt x="257" y="1390"/>
                      <a:pt x="257" y="1390"/>
                    </a:cubicBezTo>
                    <a:cubicBezTo>
                      <a:pt x="262" y="1373"/>
                      <a:pt x="262" y="1373"/>
                      <a:pt x="262" y="1373"/>
                    </a:cubicBezTo>
                    <a:cubicBezTo>
                      <a:pt x="257" y="1364"/>
                      <a:pt x="257" y="1364"/>
                      <a:pt x="257" y="1364"/>
                    </a:cubicBezTo>
                    <a:cubicBezTo>
                      <a:pt x="245" y="1369"/>
                      <a:pt x="245" y="1369"/>
                      <a:pt x="245" y="1369"/>
                    </a:cubicBezTo>
                    <a:cubicBezTo>
                      <a:pt x="225" y="1367"/>
                      <a:pt x="225" y="1367"/>
                      <a:pt x="225" y="1367"/>
                    </a:cubicBezTo>
                    <a:cubicBezTo>
                      <a:pt x="219" y="1373"/>
                      <a:pt x="219" y="1373"/>
                      <a:pt x="219" y="1373"/>
                    </a:cubicBezTo>
                    <a:cubicBezTo>
                      <a:pt x="206" y="1370"/>
                      <a:pt x="206" y="1370"/>
                      <a:pt x="206" y="1370"/>
                    </a:cubicBezTo>
                    <a:cubicBezTo>
                      <a:pt x="193" y="1357"/>
                      <a:pt x="193" y="1357"/>
                      <a:pt x="193" y="1357"/>
                    </a:cubicBezTo>
                    <a:cubicBezTo>
                      <a:pt x="186" y="1344"/>
                      <a:pt x="186" y="1344"/>
                      <a:pt x="186" y="1344"/>
                    </a:cubicBezTo>
                    <a:cubicBezTo>
                      <a:pt x="198" y="1332"/>
                      <a:pt x="198" y="1332"/>
                      <a:pt x="198" y="1332"/>
                    </a:cubicBezTo>
                    <a:cubicBezTo>
                      <a:pt x="206" y="1328"/>
                      <a:pt x="206" y="1328"/>
                      <a:pt x="206" y="1328"/>
                    </a:cubicBezTo>
                    <a:cubicBezTo>
                      <a:pt x="205" y="1309"/>
                      <a:pt x="205" y="1309"/>
                      <a:pt x="205" y="1309"/>
                    </a:cubicBezTo>
                    <a:cubicBezTo>
                      <a:pt x="198" y="1296"/>
                      <a:pt x="198" y="1296"/>
                      <a:pt x="198" y="1296"/>
                    </a:cubicBezTo>
                    <a:cubicBezTo>
                      <a:pt x="189" y="1292"/>
                      <a:pt x="189" y="1292"/>
                      <a:pt x="189" y="1292"/>
                    </a:cubicBezTo>
                    <a:cubicBezTo>
                      <a:pt x="183" y="1288"/>
                      <a:pt x="183" y="1288"/>
                      <a:pt x="183" y="1288"/>
                    </a:cubicBezTo>
                    <a:cubicBezTo>
                      <a:pt x="181" y="1277"/>
                      <a:pt x="181" y="1277"/>
                      <a:pt x="181" y="1277"/>
                    </a:cubicBezTo>
                    <a:cubicBezTo>
                      <a:pt x="185" y="1263"/>
                      <a:pt x="185" y="1263"/>
                      <a:pt x="185" y="1263"/>
                    </a:cubicBezTo>
                    <a:cubicBezTo>
                      <a:pt x="185" y="1243"/>
                      <a:pt x="185" y="1243"/>
                      <a:pt x="185" y="1243"/>
                    </a:cubicBezTo>
                    <a:cubicBezTo>
                      <a:pt x="193" y="1228"/>
                      <a:pt x="193" y="1228"/>
                      <a:pt x="193" y="1228"/>
                    </a:cubicBezTo>
                    <a:cubicBezTo>
                      <a:pt x="208" y="1220"/>
                      <a:pt x="208" y="1220"/>
                      <a:pt x="208" y="1220"/>
                    </a:cubicBezTo>
                    <a:cubicBezTo>
                      <a:pt x="206" y="1205"/>
                      <a:pt x="206" y="1205"/>
                      <a:pt x="206" y="1205"/>
                    </a:cubicBezTo>
                    <a:cubicBezTo>
                      <a:pt x="188" y="1199"/>
                      <a:pt x="188" y="1199"/>
                      <a:pt x="188" y="1199"/>
                    </a:cubicBezTo>
                    <a:cubicBezTo>
                      <a:pt x="177" y="1199"/>
                      <a:pt x="177" y="1199"/>
                      <a:pt x="177" y="1199"/>
                    </a:cubicBezTo>
                    <a:cubicBezTo>
                      <a:pt x="173" y="1188"/>
                      <a:pt x="173" y="1188"/>
                      <a:pt x="173" y="1188"/>
                    </a:cubicBezTo>
                    <a:cubicBezTo>
                      <a:pt x="163" y="1172"/>
                      <a:pt x="163" y="1172"/>
                      <a:pt x="163" y="1172"/>
                    </a:cubicBezTo>
                    <a:cubicBezTo>
                      <a:pt x="170" y="1155"/>
                      <a:pt x="170" y="1155"/>
                      <a:pt x="170" y="1155"/>
                    </a:cubicBezTo>
                    <a:cubicBezTo>
                      <a:pt x="191" y="1132"/>
                      <a:pt x="191" y="1132"/>
                      <a:pt x="191" y="1132"/>
                    </a:cubicBezTo>
                    <a:cubicBezTo>
                      <a:pt x="185" y="1126"/>
                      <a:pt x="185" y="1126"/>
                      <a:pt x="185" y="1126"/>
                    </a:cubicBezTo>
                    <a:cubicBezTo>
                      <a:pt x="165" y="1127"/>
                      <a:pt x="165" y="1127"/>
                      <a:pt x="165" y="1127"/>
                    </a:cubicBezTo>
                    <a:cubicBezTo>
                      <a:pt x="161" y="1112"/>
                      <a:pt x="161" y="1112"/>
                      <a:pt x="161" y="1112"/>
                    </a:cubicBezTo>
                    <a:cubicBezTo>
                      <a:pt x="149" y="1099"/>
                      <a:pt x="149" y="1099"/>
                      <a:pt x="149" y="1099"/>
                    </a:cubicBezTo>
                    <a:cubicBezTo>
                      <a:pt x="141" y="1087"/>
                      <a:pt x="141" y="1087"/>
                      <a:pt x="141" y="1087"/>
                    </a:cubicBezTo>
                    <a:cubicBezTo>
                      <a:pt x="125" y="1083"/>
                      <a:pt x="125" y="1083"/>
                      <a:pt x="125" y="1083"/>
                    </a:cubicBezTo>
                    <a:cubicBezTo>
                      <a:pt x="103" y="1083"/>
                      <a:pt x="103" y="1083"/>
                      <a:pt x="103" y="1083"/>
                    </a:cubicBezTo>
                    <a:cubicBezTo>
                      <a:pt x="85" y="1088"/>
                      <a:pt x="85" y="1088"/>
                      <a:pt x="85" y="1088"/>
                    </a:cubicBezTo>
                    <a:cubicBezTo>
                      <a:pt x="71" y="1083"/>
                      <a:pt x="71" y="1083"/>
                      <a:pt x="71" y="1083"/>
                    </a:cubicBezTo>
                    <a:cubicBezTo>
                      <a:pt x="67" y="1070"/>
                      <a:pt x="67" y="1070"/>
                      <a:pt x="67" y="1070"/>
                    </a:cubicBezTo>
                    <a:cubicBezTo>
                      <a:pt x="79" y="1058"/>
                      <a:pt x="79" y="1058"/>
                      <a:pt x="79" y="1058"/>
                    </a:cubicBezTo>
                    <a:cubicBezTo>
                      <a:pt x="66" y="1031"/>
                      <a:pt x="66" y="1031"/>
                      <a:pt x="66" y="1031"/>
                    </a:cubicBezTo>
                    <a:cubicBezTo>
                      <a:pt x="81" y="1015"/>
                      <a:pt x="81" y="1015"/>
                      <a:pt x="81" y="1015"/>
                    </a:cubicBezTo>
                    <a:cubicBezTo>
                      <a:pt x="105" y="1005"/>
                      <a:pt x="105" y="1005"/>
                      <a:pt x="105" y="1005"/>
                    </a:cubicBezTo>
                    <a:cubicBezTo>
                      <a:pt x="115" y="989"/>
                      <a:pt x="115" y="989"/>
                      <a:pt x="115" y="989"/>
                    </a:cubicBezTo>
                    <a:cubicBezTo>
                      <a:pt x="96" y="981"/>
                      <a:pt x="96" y="981"/>
                      <a:pt x="96" y="981"/>
                    </a:cubicBezTo>
                    <a:cubicBezTo>
                      <a:pt x="79" y="969"/>
                      <a:pt x="79" y="969"/>
                      <a:pt x="79" y="969"/>
                    </a:cubicBezTo>
                    <a:cubicBezTo>
                      <a:pt x="79" y="949"/>
                      <a:pt x="79" y="949"/>
                      <a:pt x="79" y="949"/>
                    </a:cubicBezTo>
                    <a:cubicBezTo>
                      <a:pt x="94" y="933"/>
                      <a:pt x="94" y="933"/>
                      <a:pt x="94" y="933"/>
                    </a:cubicBezTo>
                    <a:cubicBezTo>
                      <a:pt x="100" y="928"/>
                      <a:pt x="100" y="928"/>
                      <a:pt x="100" y="928"/>
                    </a:cubicBezTo>
                    <a:cubicBezTo>
                      <a:pt x="101" y="913"/>
                      <a:pt x="101" y="913"/>
                      <a:pt x="101" y="913"/>
                    </a:cubicBezTo>
                    <a:cubicBezTo>
                      <a:pt x="111" y="903"/>
                      <a:pt x="111" y="903"/>
                      <a:pt x="111" y="903"/>
                    </a:cubicBezTo>
                    <a:cubicBezTo>
                      <a:pt x="111" y="886"/>
                      <a:pt x="111" y="886"/>
                      <a:pt x="111" y="886"/>
                    </a:cubicBezTo>
                    <a:cubicBezTo>
                      <a:pt x="101" y="872"/>
                      <a:pt x="101" y="872"/>
                      <a:pt x="101" y="872"/>
                    </a:cubicBezTo>
                    <a:cubicBezTo>
                      <a:pt x="107" y="860"/>
                      <a:pt x="107" y="860"/>
                      <a:pt x="107" y="860"/>
                    </a:cubicBezTo>
                    <a:cubicBezTo>
                      <a:pt x="117" y="847"/>
                      <a:pt x="117" y="847"/>
                      <a:pt x="117" y="847"/>
                    </a:cubicBezTo>
                    <a:cubicBezTo>
                      <a:pt x="126" y="838"/>
                      <a:pt x="126" y="838"/>
                      <a:pt x="126" y="838"/>
                    </a:cubicBezTo>
                    <a:cubicBezTo>
                      <a:pt x="121" y="828"/>
                      <a:pt x="121" y="828"/>
                      <a:pt x="121" y="828"/>
                    </a:cubicBezTo>
                    <a:cubicBezTo>
                      <a:pt x="124" y="814"/>
                      <a:pt x="124" y="814"/>
                      <a:pt x="124" y="814"/>
                    </a:cubicBezTo>
                    <a:cubicBezTo>
                      <a:pt x="121" y="798"/>
                      <a:pt x="121" y="798"/>
                      <a:pt x="121" y="798"/>
                    </a:cubicBezTo>
                    <a:cubicBezTo>
                      <a:pt x="114" y="805"/>
                      <a:pt x="114" y="805"/>
                      <a:pt x="114" y="805"/>
                    </a:cubicBezTo>
                    <a:cubicBezTo>
                      <a:pt x="106" y="798"/>
                      <a:pt x="106" y="798"/>
                      <a:pt x="106" y="798"/>
                    </a:cubicBezTo>
                    <a:cubicBezTo>
                      <a:pt x="91" y="794"/>
                      <a:pt x="91" y="794"/>
                      <a:pt x="91" y="794"/>
                    </a:cubicBezTo>
                    <a:cubicBezTo>
                      <a:pt x="87" y="780"/>
                      <a:pt x="87" y="780"/>
                      <a:pt x="87" y="780"/>
                    </a:cubicBezTo>
                    <a:cubicBezTo>
                      <a:pt x="94" y="774"/>
                      <a:pt x="94" y="774"/>
                      <a:pt x="94" y="774"/>
                    </a:cubicBezTo>
                    <a:cubicBezTo>
                      <a:pt x="93" y="758"/>
                      <a:pt x="93" y="758"/>
                      <a:pt x="93" y="758"/>
                    </a:cubicBezTo>
                    <a:cubicBezTo>
                      <a:pt x="87" y="746"/>
                      <a:pt x="87" y="746"/>
                      <a:pt x="87" y="746"/>
                    </a:cubicBezTo>
                    <a:cubicBezTo>
                      <a:pt x="79" y="738"/>
                      <a:pt x="79" y="738"/>
                      <a:pt x="79" y="738"/>
                    </a:cubicBezTo>
                    <a:cubicBezTo>
                      <a:pt x="71" y="738"/>
                      <a:pt x="71" y="738"/>
                      <a:pt x="71" y="738"/>
                    </a:cubicBezTo>
                    <a:cubicBezTo>
                      <a:pt x="63" y="725"/>
                      <a:pt x="63" y="725"/>
                      <a:pt x="63" y="725"/>
                    </a:cubicBezTo>
                    <a:cubicBezTo>
                      <a:pt x="69" y="720"/>
                      <a:pt x="69" y="720"/>
                      <a:pt x="69" y="720"/>
                    </a:cubicBezTo>
                    <a:cubicBezTo>
                      <a:pt x="69" y="708"/>
                      <a:pt x="69" y="708"/>
                      <a:pt x="69" y="708"/>
                    </a:cubicBezTo>
                    <a:cubicBezTo>
                      <a:pt x="65" y="700"/>
                      <a:pt x="65" y="700"/>
                      <a:pt x="65" y="700"/>
                    </a:cubicBezTo>
                    <a:cubicBezTo>
                      <a:pt x="65" y="694"/>
                      <a:pt x="65" y="694"/>
                      <a:pt x="65" y="694"/>
                    </a:cubicBezTo>
                    <a:cubicBezTo>
                      <a:pt x="74" y="685"/>
                      <a:pt x="74" y="685"/>
                      <a:pt x="74" y="685"/>
                    </a:cubicBezTo>
                    <a:cubicBezTo>
                      <a:pt x="68" y="674"/>
                      <a:pt x="68" y="674"/>
                      <a:pt x="68" y="674"/>
                    </a:cubicBezTo>
                    <a:cubicBezTo>
                      <a:pt x="53" y="665"/>
                      <a:pt x="53" y="665"/>
                      <a:pt x="53" y="665"/>
                    </a:cubicBezTo>
                    <a:cubicBezTo>
                      <a:pt x="53" y="656"/>
                      <a:pt x="53" y="656"/>
                      <a:pt x="53" y="656"/>
                    </a:cubicBezTo>
                    <a:cubicBezTo>
                      <a:pt x="47" y="650"/>
                      <a:pt x="47" y="650"/>
                      <a:pt x="47" y="650"/>
                    </a:cubicBezTo>
                    <a:cubicBezTo>
                      <a:pt x="53" y="640"/>
                      <a:pt x="53" y="640"/>
                      <a:pt x="53" y="640"/>
                    </a:cubicBezTo>
                    <a:cubicBezTo>
                      <a:pt x="51" y="628"/>
                      <a:pt x="51" y="628"/>
                      <a:pt x="51" y="628"/>
                    </a:cubicBezTo>
                    <a:cubicBezTo>
                      <a:pt x="44" y="621"/>
                      <a:pt x="44" y="621"/>
                      <a:pt x="44" y="621"/>
                    </a:cubicBezTo>
                    <a:cubicBezTo>
                      <a:pt x="45" y="610"/>
                      <a:pt x="45" y="610"/>
                      <a:pt x="45" y="610"/>
                    </a:cubicBezTo>
                    <a:cubicBezTo>
                      <a:pt x="54" y="612"/>
                      <a:pt x="54" y="612"/>
                      <a:pt x="54" y="612"/>
                    </a:cubicBezTo>
                    <a:cubicBezTo>
                      <a:pt x="57" y="604"/>
                      <a:pt x="57" y="604"/>
                      <a:pt x="57" y="604"/>
                    </a:cubicBezTo>
                    <a:cubicBezTo>
                      <a:pt x="64" y="597"/>
                      <a:pt x="64" y="597"/>
                      <a:pt x="64" y="597"/>
                    </a:cubicBezTo>
                    <a:cubicBezTo>
                      <a:pt x="68" y="584"/>
                      <a:pt x="68" y="584"/>
                      <a:pt x="68" y="584"/>
                    </a:cubicBezTo>
                    <a:cubicBezTo>
                      <a:pt x="63" y="574"/>
                      <a:pt x="63" y="574"/>
                      <a:pt x="63" y="574"/>
                    </a:cubicBezTo>
                    <a:cubicBezTo>
                      <a:pt x="68" y="574"/>
                      <a:pt x="68" y="574"/>
                      <a:pt x="68" y="574"/>
                    </a:cubicBezTo>
                    <a:cubicBezTo>
                      <a:pt x="71" y="565"/>
                      <a:pt x="71" y="565"/>
                      <a:pt x="71" y="565"/>
                    </a:cubicBezTo>
                    <a:cubicBezTo>
                      <a:pt x="65" y="549"/>
                      <a:pt x="65" y="549"/>
                      <a:pt x="65" y="549"/>
                    </a:cubicBezTo>
                    <a:cubicBezTo>
                      <a:pt x="65" y="539"/>
                      <a:pt x="65" y="539"/>
                      <a:pt x="65" y="539"/>
                    </a:cubicBezTo>
                    <a:cubicBezTo>
                      <a:pt x="55" y="537"/>
                      <a:pt x="55" y="537"/>
                      <a:pt x="55" y="537"/>
                    </a:cubicBezTo>
                    <a:cubicBezTo>
                      <a:pt x="55" y="524"/>
                      <a:pt x="55" y="524"/>
                      <a:pt x="55" y="524"/>
                    </a:cubicBezTo>
                    <a:cubicBezTo>
                      <a:pt x="55" y="524"/>
                      <a:pt x="48" y="531"/>
                      <a:pt x="47" y="532"/>
                    </a:cubicBezTo>
                    <a:cubicBezTo>
                      <a:pt x="46" y="533"/>
                      <a:pt x="43" y="528"/>
                      <a:pt x="43" y="528"/>
                    </a:cubicBezTo>
                    <a:cubicBezTo>
                      <a:pt x="35" y="535"/>
                      <a:pt x="35" y="535"/>
                      <a:pt x="35" y="535"/>
                    </a:cubicBezTo>
                    <a:cubicBezTo>
                      <a:pt x="31" y="530"/>
                      <a:pt x="31" y="530"/>
                      <a:pt x="31" y="530"/>
                    </a:cubicBezTo>
                    <a:cubicBezTo>
                      <a:pt x="29" y="522"/>
                      <a:pt x="29" y="522"/>
                      <a:pt x="29" y="522"/>
                    </a:cubicBezTo>
                    <a:cubicBezTo>
                      <a:pt x="16" y="520"/>
                      <a:pt x="16" y="520"/>
                      <a:pt x="16" y="520"/>
                    </a:cubicBezTo>
                    <a:cubicBezTo>
                      <a:pt x="8" y="511"/>
                      <a:pt x="8" y="511"/>
                      <a:pt x="8" y="511"/>
                    </a:cubicBezTo>
                    <a:cubicBezTo>
                      <a:pt x="6" y="504"/>
                      <a:pt x="6" y="504"/>
                      <a:pt x="6" y="504"/>
                    </a:cubicBezTo>
                    <a:cubicBezTo>
                      <a:pt x="0" y="498"/>
                      <a:pt x="0" y="498"/>
                      <a:pt x="0" y="498"/>
                    </a:cubicBezTo>
                    <a:cubicBezTo>
                      <a:pt x="0" y="486"/>
                      <a:pt x="0" y="486"/>
                      <a:pt x="0" y="486"/>
                    </a:cubicBezTo>
                    <a:cubicBezTo>
                      <a:pt x="12" y="477"/>
                      <a:pt x="12" y="477"/>
                      <a:pt x="12" y="477"/>
                    </a:cubicBezTo>
                    <a:cubicBezTo>
                      <a:pt x="22" y="467"/>
                      <a:pt x="22" y="467"/>
                      <a:pt x="22" y="467"/>
                    </a:cubicBezTo>
                    <a:cubicBezTo>
                      <a:pt x="27" y="459"/>
                      <a:pt x="27" y="459"/>
                      <a:pt x="27" y="459"/>
                    </a:cubicBezTo>
                    <a:cubicBezTo>
                      <a:pt x="40" y="459"/>
                      <a:pt x="40" y="459"/>
                      <a:pt x="40" y="459"/>
                    </a:cubicBezTo>
                    <a:cubicBezTo>
                      <a:pt x="40" y="436"/>
                      <a:pt x="40" y="436"/>
                      <a:pt x="40" y="436"/>
                    </a:cubicBezTo>
                    <a:cubicBezTo>
                      <a:pt x="41" y="420"/>
                      <a:pt x="41" y="420"/>
                      <a:pt x="41" y="420"/>
                    </a:cubicBezTo>
                    <a:cubicBezTo>
                      <a:pt x="27" y="412"/>
                      <a:pt x="27" y="412"/>
                      <a:pt x="27" y="412"/>
                    </a:cubicBezTo>
                    <a:cubicBezTo>
                      <a:pt x="23" y="404"/>
                      <a:pt x="23" y="404"/>
                      <a:pt x="23" y="404"/>
                    </a:cubicBezTo>
                    <a:cubicBezTo>
                      <a:pt x="20" y="407"/>
                      <a:pt x="20" y="407"/>
                      <a:pt x="20" y="407"/>
                    </a:cubicBezTo>
                    <a:cubicBezTo>
                      <a:pt x="16" y="399"/>
                      <a:pt x="16" y="399"/>
                      <a:pt x="16" y="399"/>
                    </a:cubicBezTo>
                    <a:cubicBezTo>
                      <a:pt x="25" y="389"/>
                      <a:pt x="25" y="389"/>
                      <a:pt x="25" y="389"/>
                    </a:cubicBezTo>
                    <a:cubicBezTo>
                      <a:pt x="38" y="387"/>
                      <a:pt x="38" y="387"/>
                      <a:pt x="38" y="387"/>
                    </a:cubicBezTo>
                    <a:cubicBezTo>
                      <a:pt x="36" y="380"/>
                      <a:pt x="36" y="380"/>
                      <a:pt x="36" y="380"/>
                    </a:cubicBezTo>
                    <a:cubicBezTo>
                      <a:pt x="43" y="374"/>
                      <a:pt x="43" y="374"/>
                      <a:pt x="43" y="374"/>
                    </a:cubicBezTo>
                    <a:cubicBezTo>
                      <a:pt x="40" y="365"/>
                      <a:pt x="40" y="365"/>
                      <a:pt x="40" y="365"/>
                    </a:cubicBezTo>
                    <a:cubicBezTo>
                      <a:pt x="31" y="360"/>
                      <a:pt x="31" y="360"/>
                      <a:pt x="31" y="360"/>
                    </a:cubicBezTo>
                    <a:cubicBezTo>
                      <a:pt x="23" y="359"/>
                      <a:pt x="23" y="359"/>
                      <a:pt x="23" y="359"/>
                    </a:cubicBezTo>
                    <a:cubicBezTo>
                      <a:pt x="17" y="353"/>
                      <a:pt x="17" y="353"/>
                      <a:pt x="17" y="353"/>
                    </a:cubicBezTo>
                    <a:cubicBezTo>
                      <a:pt x="14" y="346"/>
                      <a:pt x="14" y="346"/>
                      <a:pt x="14" y="346"/>
                    </a:cubicBezTo>
                    <a:cubicBezTo>
                      <a:pt x="8" y="346"/>
                      <a:pt x="8" y="346"/>
                      <a:pt x="8" y="346"/>
                    </a:cubicBezTo>
                    <a:cubicBezTo>
                      <a:pt x="7" y="338"/>
                      <a:pt x="7" y="338"/>
                      <a:pt x="7" y="338"/>
                    </a:cubicBezTo>
                    <a:cubicBezTo>
                      <a:pt x="21" y="340"/>
                      <a:pt x="21" y="340"/>
                      <a:pt x="21" y="340"/>
                    </a:cubicBezTo>
                    <a:cubicBezTo>
                      <a:pt x="32" y="339"/>
                      <a:pt x="32" y="339"/>
                      <a:pt x="32" y="339"/>
                    </a:cubicBezTo>
                    <a:cubicBezTo>
                      <a:pt x="41" y="348"/>
                      <a:pt x="41" y="348"/>
                      <a:pt x="41" y="348"/>
                    </a:cubicBezTo>
                    <a:cubicBezTo>
                      <a:pt x="58" y="357"/>
                      <a:pt x="58" y="357"/>
                      <a:pt x="58" y="357"/>
                    </a:cubicBezTo>
                    <a:cubicBezTo>
                      <a:pt x="53" y="370"/>
                      <a:pt x="53" y="370"/>
                      <a:pt x="53" y="370"/>
                    </a:cubicBezTo>
                    <a:cubicBezTo>
                      <a:pt x="58" y="375"/>
                      <a:pt x="58" y="375"/>
                      <a:pt x="58" y="375"/>
                    </a:cubicBezTo>
                    <a:cubicBezTo>
                      <a:pt x="69" y="386"/>
                      <a:pt x="69" y="386"/>
                      <a:pt x="69" y="386"/>
                    </a:cubicBezTo>
                    <a:cubicBezTo>
                      <a:pt x="87" y="386"/>
                      <a:pt x="87" y="386"/>
                      <a:pt x="87" y="386"/>
                    </a:cubicBezTo>
                    <a:cubicBezTo>
                      <a:pt x="90" y="376"/>
                      <a:pt x="90" y="376"/>
                      <a:pt x="90" y="376"/>
                    </a:cubicBezTo>
                    <a:cubicBezTo>
                      <a:pt x="83" y="366"/>
                      <a:pt x="83" y="366"/>
                      <a:pt x="83" y="366"/>
                    </a:cubicBezTo>
                    <a:cubicBezTo>
                      <a:pt x="83" y="356"/>
                      <a:pt x="83" y="356"/>
                      <a:pt x="83" y="356"/>
                    </a:cubicBezTo>
                    <a:cubicBezTo>
                      <a:pt x="71" y="352"/>
                      <a:pt x="71" y="352"/>
                      <a:pt x="71" y="352"/>
                    </a:cubicBezTo>
                    <a:cubicBezTo>
                      <a:pt x="61" y="336"/>
                      <a:pt x="61" y="336"/>
                      <a:pt x="61" y="336"/>
                    </a:cubicBezTo>
                    <a:cubicBezTo>
                      <a:pt x="56" y="331"/>
                      <a:pt x="56" y="331"/>
                      <a:pt x="56" y="331"/>
                    </a:cubicBezTo>
                    <a:cubicBezTo>
                      <a:pt x="60" y="315"/>
                      <a:pt x="60" y="315"/>
                      <a:pt x="60" y="315"/>
                    </a:cubicBezTo>
                    <a:cubicBezTo>
                      <a:pt x="66" y="302"/>
                      <a:pt x="66" y="302"/>
                      <a:pt x="66" y="302"/>
                    </a:cubicBezTo>
                    <a:cubicBezTo>
                      <a:pt x="61" y="296"/>
                      <a:pt x="61" y="296"/>
                      <a:pt x="61" y="296"/>
                    </a:cubicBezTo>
                    <a:cubicBezTo>
                      <a:pt x="57" y="280"/>
                      <a:pt x="57" y="280"/>
                      <a:pt x="57" y="280"/>
                    </a:cubicBezTo>
                    <a:cubicBezTo>
                      <a:pt x="71" y="268"/>
                      <a:pt x="71" y="268"/>
                      <a:pt x="71" y="268"/>
                    </a:cubicBezTo>
                    <a:cubicBezTo>
                      <a:pt x="102" y="268"/>
                      <a:pt x="102" y="268"/>
                      <a:pt x="102" y="268"/>
                    </a:cubicBezTo>
                    <a:cubicBezTo>
                      <a:pt x="118" y="274"/>
                      <a:pt x="118" y="274"/>
                      <a:pt x="118" y="274"/>
                    </a:cubicBezTo>
                    <a:cubicBezTo>
                      <a:pt x="118" y="270"/>
                      <a:pt x="118" y="270"/>
                      <a:pt x="118" y="270"/>
                    </a:cubicBezTo>
                    <a:cubicBezTo>
                      <a:pt x="144" y="270"/>
                      <a:pt x="144" y="270"/>
                      <a:pt x="144" y="270"/>
                    </a:cubicBezTo>
                    <a:cubicBezTo>
                      <a:pt x="161" y="262"/>
                      <a:pt x="161" y="262"/>
                      <a:pt x="161" y="262"/>
                    </a:cubicBezTo>
                    <a:cubicBezTo>
                      <a:pt x="174" y="262"/>
                      <a:pt x="174" y="262"/>
                      <a:pt x="174" y="262"/>
                    </a:cubicBezTo>
                    <a:cubicBezTo>
                      <a:pt x="181" y="256"/>
                      <a:pt x="181" y="256"/>
                      <a:pt x="181" y="256"/>
                    </a:cubicBezTo>
                    <a:cubicBezTo>
                      <a:pt x="174" y="246"/>
                      <a:pt x="174" y="246"/>
                      <a:pt x="174" y="246"/>
                    </a:cubicBezTo>
                    <a:cubicBezTo>
                      <a:pt x="166" y="243"/>
                      <a:pt x="166" y="243"/>
                      <a:pt x="166" y="243"/>
                    </a:cubicBezTo>
                    <a:cubicBezTo>
                      <a:pt x="159" y="236"/>
                      <a:pt x="159" y="236"/>
                      <a:pt x="159" y="236"/>
                    </a:cubicBezTo>
                    <a:cubicBezTo>
                      <a:pt x="159" y="236"/>
                      <a:pt x="162" y="234"/>
                      <a:pt x="167" y="229"/>
                    </a:cubicBezTo>
                    <a:cubicBezTo>
                      <a:pt x="172" y="224"/>
                      <a:pt x="172" y="234"/>
                      <a:pt x="172" y="234"/>
                    </a:cubicBezTo>
                    <a:cubicBezTo>
                      <a:pt x="180" y="232"/>
                      <a:pt x="180" y="232"/>
                      <a:pt x="180" y="232"/>
                    </a:cubicBezTo>
                    <a:cubicBezTo>
                      <a:pt x="175" y="226"/>
                      <a:pt x="175" y="226"/>
                      <a:pt x="175" y="226"/>
                    </a:cubicBezTo>
                    <a:cubicBezTo>
                      <a:pt x="178" y="217"/>
                      <a:pt x="178" y="217"/>
                      <a:pt x="178" y="217"/>
                    </a:cubicBezTo>
                    <a:cubicBezTo>
                      <a:pt x="173" y="212"/>
                      <a:pt x="173" y="212"/>
                      <a:pt x="173" y="212"/>
                    </a:cubicBezTo>
                    <a:cubicBezTo>
                      <a:pt x="179" y="202"/>
                      <a:pt x="179" y="202"/>
                      <a:pt x="179" y="202"/>
                    </a:cubicBezTo>
                    <a:cubicBezTo>
                      <a:pt x="189" y="195"/>
                      <a:pt x="189" y="195"/>
                      <a:pt x="189" y="195"/>
                    </a:cubicBezTo>
                    <a:cubicBezTo>
                      <a:pt x="179" y="194"/>
                      <a:pt x="179" y="194"/>
                      <a:pt x="179" y="194"/>
                    </a:cubicBezTo>
                    <a:cubicBezTo>
                      <a:pt x="179" y="184"/>
                      <a:pt x="179" y="184"/>
                      <a:pt x="179" y="184"/>
                    </a:cubicBezTo>
                    <a:cubicBezTo>
                      <a:pt x="197" y="185"/>
                      <a:pt x="197" y="185"/>
                      <a:pt x="197" y="185"/>
                    </a:cubicBezTo>
                    <a:cubicBezTo>
                      <a:pt x="205" y="170"/>
                      <a:pt x="205" y="170"/>
                      <a:pt x="205" y="170"/>
                    </a:cubicBezTo>
                    <a:cubicBezTo>
                      <a:pt x="223" y="163"/>
                      <a:pt x="223" y="163"/>
                      <a:pt x="223" y="163"/>
                    </a:cubicBezTo>
                    <a:cubicBezTo>
                      <a:pt x="230" y="156"/>
                      <a:pt x="230" y="156"/>
                      <a:pt x="230" y="156"/>
                    </a:cubicBezTo>
                    <a:cubicBezTo>
                      <a:pt x="255" y="152"/>
                      <a:pt x="255" y="152"/>
                      <a:pt x="255" y="152"/>
                    </a:cubicBezTo>
                    <a:cubicBezTo>
                      <a:pt x="261" y="146"/>
                      <a:pt x="261" y="146"/>
                      <a:pt x="261" y="146"/>
                    </a:cubicBezTo>
                    <a:cubicBezTo>
                      <a:pt x="279" y="140"/>
                      <a:pt x="279" y="140"/>
                      <a:pt x="279" y="140"/>
                    </a:cubicBezTo>
                    <a:cubicBezTo>
                      <a:pt x="283" y="136"/>
                      <a:pt x="283" y="136"/>
                      <a:pt x="283" y="136"/>
                    </a:cubicBezTo>
                    <a:cubicBezTo>
                      <a:pt x="271" y="132"/>
                      <a:pt x="271" y="132"/>
                      <a:pt x="271" y="132"/>
                    </a:cubicBezTo>
                    <a:cubicBezTo>
                      <a:pt x="278" y="125"/>
                      <a:pt x="278" y="125"/>
                      <a:pt x="278" y="125"/>
                    </a:cubicBezTo>
                    <a:cubicBezTo>
                      <a:pt x="295" y="121"/>
                      <a:pt x="295" y="121"/>
                      <a:pt x="295" y="121"/>
                    </a:cubicBezTo>
                    <a:cubicBezTo>
                      <a:pt x="310" y="119"/>
                      <a:pt x="310" y="119"/>
                      <a:pt x="310" y="119"/>
                    </a:cubicBezTo>
                    <a:cubicBezTo>
                      <a:pt x="313" y="112"/>
                      <a:pt x="313" y="112"/>
                      <a:pt x="313" y="112"/>
                    </a:cubicBezTo>
                    <a:cubicBezTo>
                      <a:pt x="325" y="110"/>
                      <a:pt x="325" y="110"/>
                      <a:pt x="325" y="110"/>
                    </a:cubicBezTo>
                    <a:cubicBezTo>
                      <a:pt x="319" y="122"/>
                      <a:pt x="319" y="122"/>
                      <a:pt x="319" y="122"/>
                    </a:cubicBezTo>
                    <a:cubicBezTo>
                      <a:pt x="319" y="131"/>
                      <a:pt x="319" y="131"/>
                      <a:pt x="319" y="131"/>
                    </a:cubicBezTo>
                    <a:cubicBezTo>
                      <a:pt x="327" y="123"/>
                      <a:pt x="327" y="123"/>
                      <a:pt x="327" y="123"/>
                    </a:cubicBezTo>
                    <a:cubicBezTo>
                      <a:pt x="348" y="124"/>
                      <a:pt x="348" y="124"/>
                      <a:pt x="348" y="124"/>
                    </a:cubicBezTo>
                    <a:cubicBezTo>
                      <a:pt x="350" y="113"/>
                      <a:pt x="350" y="113"/>
                      <a:pt x="350" y="113"/>
                    </a:cubicBezTo>
                    <a:cubicBezTo>
                      <a:pt x="363" y="110"/>
                      <a:pt x="363" y="110"/>
                      <a:pt x="363" y="110"/>
                    </a:cubicBezTo>
                    <a:cubicBezTo>
                      <a:pt x="377" y="113"/>
                      <a:pt x="377" y="113"/>
                      <a:pt x="377" y="113"/>
                    </a:cubicBezTo>
                    <a:cubicBezTo>
                      <a:pt x="371" y="105"/>
                      <a:pt x="371" y="105"/>
                      <a:pt x="371" y="105"/>
                    </a:cubicBezTo>
                    <a:cubicBezTo>
                      <a:pt x="363" y="99"/>
                      <a:pt x="363" y="99"/>
                      <a:pt x="363" y="99"/>
                    </a:cubicBezTo>
                    <a:cubicBezTo>
                      <a:pt x="359" y="92"/>
                      <a:pt x="359" y="92"/>
                      <a:pt x="359" y="92"/>
                    </a:cubicBezTo>
                    <a:cubicBezTo>
                      <a:pt x="373" y="92"/>
                      <a:pt x="373" y="92"/>
                      <a:pt x="373" y="92"/>
                    </a:cubicBezTo>
                    <a:cubicBezTo>
                      <a:pt x="389" y="87"/>
                      <a:pt x="389" y="87"/>
                      <a:pt x="389" y="87"/>
                    </a:cubicBezTo>
                    <a:cubicBezTo>
                      <a:pt x="393" y="87"/>
                      <a:pt x="393" y="87"/>
                      <a:pt x="393" y="87"/>
                    </a:cubicBezTo>
                    <a:cubicBezTo>
                      <a:pt x="392" y="76"/>
                      <a:pt x="392" y="76"/>
                      <a:pt x="392" y="76"/>
                    </a:cubicBezTo>
                    <a:cubicBezTo>
                      <a:pt x="387" y="72"/>
                      <a:pt x="387" y="72"/>
                      <a:pt x="387" y="72"/>
                    </a:cubicBezTo>
                    <a:cubicBezTo>
                      <a:pt x="387" y="56"/>
                      <a:pt x="387" y="56"/>
                      <a:pt x="387" y="56"/>
                    </a:cubicBezTo>
                    <a:cubicBezTo>
                      <a:pt x="390" y="45"/>
                      <a:pt x="390" y="45"/>
                      <a:pt x="390" y="45"/>
                    </a:cubicBezTo>
                    <a:cubicBezTo>
                      <a:pt x="400" y="20"/>
                      <a:pt x="400" y="20"/>
                      <a:pt x="400" y="20"/>
                    </a:cubicBezTo>
                    <a:cubicBezTo>
                      <a:pt x="412" y="12"/>
                      <a:pt x="412" y="12"/>
                      <a:pt x="412" y="12"/>
                    </a:cubicBezTo>
                    <a:cubicBezTo>
                      <a:pt x="423" y="0"/>
                      <a:pt x="423" y="0"/>
                      <a:pt x="423" y="0"/>
                    </a:cubicBezTo>
                    <a:cubicBezTo>
                      <a:pt x="436" y="8"/>
                      <a:pt x="436" y="8"/>
                      <a:pt x="436" y="8"/>
                    </a:cubicBezTo>
                    <a:cubicBezTo>
                      <a:pt x="446" y="7"/>
                      <a:pt x="446" y="7"/>
                      <a:pt x="446" y="7"/>
                    </a:cubicBezTo>
                    <a:cubicBezTo>
                      <a:pt x="449" y="21"/>
                      <a:pt x="449" y="21"/>
                      <a:pt x="449" y="21"/>
                    </a:cubicBezTo>
                    <a:cubicBezTo>
                      <a:pt x="439" y="31"/>
                      <a:pt x="439" y="31"/>
                      <a:pt x="439" y="31"/>
                    </a:cubicBezTo>
                    <a:cubicBezTo>
                      <a:pt x="430" y="42"/>
                      <a:pt x="430" y="42"/>
                      <a:pt x="430" y="42"/>
                    </a:cubicBezTo>
                    <a:cubicBezTo>
                      <a:pt x="451" y="44"/>
                      <a:pt x="451" y="44"/>
                      <a:pt x="451" y="44"/>
                    </a:cubicBezTo>
                    <a:cubicBezTo>
                      <a:pt x="455" y="39"/>
                      <a:pt x="455" y="39"/>
                      <a:pt x="455" y="39"/>
                    </a:cubicBezTo>
                    <a:cubicBezTo>
                      <a:pt x="468" y="39"/>
                      <a:pt x="468" y="39"/>
                      <a:pt x="468" y="39"/>
                    </a:cubicBezTo>
                    <a:cubicBezTo>
                      <a:pt x="478" y="49"/>
                      <a:pt x="478" y="49"/>
                      <a:pt x="478" y="49"/>
                    </a:cubicBezTo>
                    <a:cubicBezTo>
                      <a:pt x="469" y="58"/>
                      <a:pt x="469" y="58"/>
                      <a:pt x="469" y="58"/>
                    </a:cubicBezTo>
                    <a:cubicBezTo>
                      <a:pt x="469" y="58"/>
                      <a:pt x="469" y="66"/>
                      <a:pt x="473" y="66"/>
                    </a:cubicBezTo>
                    <a:cubicBezTo>
                      <a:pt x="477" y="66"/>
                      <a:pt x="487" y="71"/>
                      <a:pt x="487" y="71"/>
                    </a:cubicBezTo>
                    <a:cubicBezTo>
                      <a:pt x="491" y="60"/>
                      <a:pt x="491" y="60"/>
                      <a:pt x="491" y="60"/>
                    </a:cubicBezTo>
                    <a:cubicBezTo>
                      <a:pt x="485" y="54"/>
                      <a:pt x="485" y="54"/>
                      <a:pt x="485" y="54"/>
                    </a:cubicBezTo>
                    <a:cubicBezTo>
                      <a:pt x="499" y="46"/>
                      <a:pt x="499" y="46"/>
                      <a:pt x="499" y="46"/>
                    </a:cubicBezTo>
                    <a:cubicBezTo>
                      <a:pt x="513" y="46"/>
                      <a:pt x="513" y="46"/>
                      <a:pt x="513" y="46"/>
                    </a:cubicBezTo>
                    <a:cubicBezTo>
                      <a:pt x="526" y="36"/>
                      <a:pt x="526" y="36"/>
                      <a:pt x="526" y="36"/>
                    </a:cubicBezTo>
                    <a:cubicBezTo>
                      <a:pt x="534" y="44"/>
                      <a:pt x="534" y="44"/>
                      <a:pt x="534" y="44"/>
                    </a:cubicBezTo>
                    <a:cubicBezTo>
                      <a:pt x="544" y="39"/>
                      <a:pt x="544" y="39"/>
                      <a:pt x="544" y="39"/>
                    </a:cubicBezTo>
                    <a:cubicBezTo>
                      <a:pt x="552" y="46"/>
                      <a:pt x="552" y="46"/>
                      <a:pt x="552" y="46"/>
                    </a:cubicBezTo>
                    <a:cubicBezTo>
                      <a:pt x="559" y="60"/>
                      <a:pt x="559" y="60"/>
                      <a:pt x="559" y="60"/>
                    </a:cubicBezTo>
                    <a:cubicBezTo>
                      <a:pt x="567" y="66"/>
                      <a:pt x="567" y="66"/>
                      <a:pt x="567" y="66"/>
                    </a:cubicBezTo>
                    <a:cubicBezTo>
                      <a:pt x="571" y="61"/>
                      <a:pt x="571" y="61"/>
                      <a:pt x="571" y="61"/>
                    </a:cubicBezTo>
                    <a:cubicBezTo>
                      <a:pt x="578" y="68"/>
                      <a:pt x="578" y="68"/>
                      <a:pt x="578" y="68"/>
                    </a:cubicBezTo>
                    <a:cubicBezTo>
                      <a:pt x="587" y="77"/>
                      <a:pt x="587" y="77"/>
                      <a:pt x="587" y="77"/>
                    </a:cubicBezTo>
                    <a:cubicBezTo>
                      <a:pt x="586" y="91"/>
                      <a:pt x="586" y="91"/>
                      <a:pt x="586" y="91"/>
                    </a:cubicBezTo>
                    <a:cubicBezTo>
                      <a:pt x="573" y="88"/>
                      <a:pt x="573" y="88"/>
                      <a:pt x="573" y="88"/>
                    </a:cubicBezTo>
                    <a:cubicBezTo>
                      <a:pt x="578" y="94"/>
                      <a:pt x="578" y="94"/>
                      <a:pt x="578" y="94"/>
                    </a:cubicBezTo>
                    <a:cubicBezTo>
                      <a:pt x="591" y="101"/>
                      <a:pt x="591" y="101"/>
                      <a:pt x="591" y="101"/>
                    </a:cubicBezTo>
                    <a:cubicBezTo>
                      <a:pt x="600" y="115"/>
                      <a:pt x="600" y="115"/>
                      <a:pt x="600" y="115"/>
                    </a:cubicBezTo>
                    <a:cubicBezTo>
                      <a:pt x="592" y="123"/>
                      <a:pt x="592" y="123"/>
                      <a:pt x="592" y="123"/>
                    </a:cubicBezTo>
                    <a:cubicBezTo>
                      <a:pt x="592" y="136"/>
                      <a:pt x="592" y="136"/>
                      <a:pt x="592" y="136"/>
                    </a:cubicBezTo>
                    <a:cubicBezTo>
                      <a:pt x="585" y="146"/>
                      <a:pt x="585" y="146"/>
                      <a:pt x="585" y="146"/>
                    </a:cubicBezTo>
                    <a:cubicBezTo>
                      <a:pt x="579" y="159"/>
                      <a:pt x="579" y="159"/>
                      <a:pt x="579" y="159"/>
                    </a:cubicBezTo>
                    <a:cubicBezTo>
                      <a:pt x="571" y="166"/>
                      <a:pt x="571" y="166"/>
                      <a:pt x="571" y="166"/>
                    </a:cubicBezTo>
                    <a:cubicBezTo>
                      <a:pt x="558" y="182"/>
                      <a:pt x="558" y="182"/>
                      <a:pt x="558" y="182"/>
                    </a:cubicBezTo>
                    <a:cubicBezTo>
                      <a:pt x="558" y="189"/>
                      <a:pt x="558" y="189"/>
                      <a:pt x="558" y="189"/>
                    </a:cubicBezTo>
                    <a:cubicBezTo>
                      <a:pt x="554" y="208"/>
                      <a:pt x="554" y="208"/>
                      <a:pt x="554" y="208"/>
                    </a:cubicBezTo>
                    <a:cubicBezTo>
                      <a:pt x="544" y="218"/>
                      <a:pt x="544" y="218"/>
                      <a:pt x="544" y="218"/>
                    </a:cubicBezTo>
                    <a:cubicBezTo>
                      <a:pt x="540" y="238"/>
                      <a:pt x="540" y="238"/>
                      <a:pt x="540" y="238"/>
                    </a:cubicBezTo>
                    <a:cubicBezTo>
                      <a:pt x="524" y="242"/>
                      <a:pt x="524" y="242"/>
                      <a:pt x="524" y="242"/>
                    </a:cubicBezTo>
                    <a:cubicBezTo>
                      <a:pt x="519" y="257"/>
                      <a:pt x="519" y="257"/>
                      <a:pt x="519" y="257"/>
                    </a:cubicBezTo>
                    <a:cubicBezTo>
                      <a:pt x="508" y="268"/>
                      <a:pt x="508" y="268"/>
                      <a:pt x="508" y="268"/>
                    </a:cubicBezTo>
                    <a:cubicBezTo>
                      <a:pt x="505" y="286"/>
                      <a:pt x="505" y="286"/>
                      <a:pt x="505" y="286"/>
                    </a:cubicBezTo>
                    <a:cubicBezTo>
                      <a:pt x="502" y="298"/>
                      <a:pt x="502" y="298"/>
                      <a:pt x="502" y="298"/>
                    </a:cubicBezTo>
                    <a:cubicBezTo>
                      <a:pt x="514" y="292"/>
                      <a:pt x="514" y="292"/>
                      <a:pt x="514" y="292"/>
                    </a:cubicBezTo>
                    <a:cubicBezTo>
                      <a:pt x="511" y="279"/>
                      <a:pt x="511" y="279"/>
                      <a:pt x="511" y="279"/>
                    </a:cubicBezTo>
                    <a:cubicBezTo>
                      <a:pt x="523" y="272"/>
                      <a:pt x="523" y="272"/>
                      <a:pt x="523" y="272"/>
                    </a:cubicBezTo>
                    <a:cubicBezTo>
                      <a:pt x="523" y="272"/>
                      <a:pt x="534" y="268"/>
                      <a:pt x="540" y="268"/>
                    </a:cubicBezTo>
                    <a:cubicBezTo>
                      <a:pt x="546" y="268"/>
                      <a:pt x="548" y="256"/>
                      <a:pt x="548" y="256"/>
                    </a:cubicBezTo>
                    <a:cubicBezTo>
                      <a:pt x="559" y="247"/>
                      <a:pt x="559" y="247"/>
                      <a:pt x="559" y="247"/>
                    </a:cubicBezTo>
                    <a:cubicBezTo>
                      <a:pt x="570" y="243"/>
                      <a:pt x="570" y="243"/>
                      <a:pt x="570" y="243"/>
                    </a:cubicBezTo>
                    <a:cubicBezTo>
                      <a:pt x="576" y="231"/>
                      <a:pt x="576" y="231"/>
                      <a:pt x="576" y="231"/>
                    </a:cubicBezTo>
                    <a:cubicBezTo>
                      <a:pt x="571" y="226"/>
                      <a:pt x="571" y="226"/>
                      <a:pt x="571" y="226"/>
                    </a:cubicBezTo>
                    <a:cubicBezTo>
                      <a:pt x="563" y="225"/>
                      <a:pt x="563" y="225"/>
                      <a:pt x="563" y="225"/>
                    </a:cubicBezTo>
                    <a:cubicBezTo>
                      <a:pt x="564" y="220"/>
                      <a:pt x="564" y="220"/>
                      <a:pt x="564" y="220"/>
                    </a:cubicBezTo>
                    <a:cubicBezTo>
                      <a:pt x="563" y="209"/>
                      <a:pt x="563" y="209"/>
                      <a:pt x="563" y="209"/>
                    </a:cubicBezTo>
                    <a:cubicBezTo>
                      <a:pt x="573" y="208"/>
                      <a:pt x="573" y="208"/>
                      <a:pt x="573" y="208"/>
                    </a:cubicBezTo>
                    <a:cubicBezTo>
                      <a:pt x="581" y="208"/>
                      <a:pt x="581" y="208"/>
                      <a:pt x="581" y="208"/>
                    </a:cubicBezTo>
                    <a:cubicBezTo>
                      <a:pt x="583" y="220"/>
                      <a:pt x="583" y="220"/>
                      <a:pt x="583" y="220"/>
                    </a:cubicBezTo>
                    <a:cubicBezTo>
                      <a:pt x="588" y="224"/>
                      <a:pt x="588" y="224"/>
                      <a:pt x="588" y="224"/>
                    </a:cubicBezTo>
                    <a:cubicBezTo>
                      <a:pt x="587" y="231"/>
                      <a:pt x="587" y="231"/>
                      <a:pt x="587" y="231"/>
                    </a:cubicBezTo>
                    <a:cubicBezTo>
                      <a:pt x="582" y="236"/>
                      <a:pt x="582" y="236"/>
                      <a:pt x="582" y="236"/>
                    </a:cubicBezTo>
                    <a:cubicBezTo>
                      <a:pt x="585" y="243"/>
                      <a:pt x="585" y="243"/>
                      <a:pt x="585" y="243"/>
                    </a:cubicBezTo>
                    <a:cubicBezTo>
                      <a:pt x="591" y="252"/>
                      <a:pt x="591" y="252"/>
                      <a:pt x="591" y="252"/>
                    </a:cubicBezTo>
                    <a:cubicBezTo>
                      <a:pt x="597" y="258"/>
                      <a:pt x="597" y="258"/>
                      <a:pt x="597" y="258"/>
                    </a:cubicBezTo>
                    <a:cubicBezTo>
                      <a:pt x="595" y="271"/>
                      <a:pt x="595" y="271"/>
                      <a:pt x="595" y="271"/>
                    </a:cubicBezTo>
                    <a:cubicBezTo>
                      <a:pt x="600" y="281"/>
                      <a:pt x="600" y="281"/>
                      <a:pt x="600" y="281"/>
                    </a:cubicBezTo>
                    <a:cubicBezTo>
                      <a:pt x="613" y="286"/>
                      <a:pt x="613" y="286"/>
                      <a:pt x="613" y="286"/>
                    </a:cubicBezTo>
                    <a:cubicBezTo>
                      <a:pt x="613" y="293"/>
                      <a:pt x="613" y="293"/>
                      <a:pt x="613" y="293"/>
                    </a:cubicBezTo>
                    <a:cubicBezTo>
                      <a:pt x="631" y="306"/>
                      <a:pt x="631" y="306"/>
                      <a:pt x="631" y="306"/>
                    </a:cubicBezTo>
                    <a:cubicBezTo>
                      <a:pt x="640" y="315"/>
                      <a:pt x="640" y="315"/>
                      <a:pt x="640" y="315"/>
                    </a:cubicBezTo>
                    <a:cubicBezTo>
                      <a:pt x="640" y="331"/>
                      <a:pt x="640" y="331"/>
                      <a:pt x="640" y="331"/>
                    </a:cubicBezTo>
                    <a:cubicBezTo>
                      <a:pt x="649" y="349"/>
                      <a:pt x="649" y="349"/>
                      <a:pt x="649" y="349"/>
                    </a:cubicBezTo>
                    <a:cubicBezTo>
                      <a:pt x="660" y="349"/>
                      <a:pt x="660" y="349"/>
                      <a:pt x="660" y="349"/>
                    </a:cubicBezTo>
                    <a:cubicBezTo>
                      <a:pt x="661" y="363"/>
                      <a:pt x="661" y="363"/>
                      <a:pt x="661" y="363"/>
                    </a:cubicBezTo>
                    <a:cubicBezTo>
                      <a:pt x="655" y="363"/>
                      <a:pt x="655" y="363"/>
                      <a:pt x="655" y="363"/>
                    </a:cubicBezTo>
                    <a:cubicBezTo>
                      <a:pt x="652" y="372"/>
                      <a:pt x="652" y="372"/>
                      <a:pt x="652" y="372"/>
                    </a:cubicBezTo>
                    <a:cubicBezTo>
                      <a:pt x="640" y="385"/>
                      <a:pt x="640" y="385"/>
                      <a:pt x="640" y="385"/>
                    </a:cubicBezTo>
                    <a:cubicBezTo>
                      <a:pt x="629" y="392"/>
                      <a:pt x="629" y="392"/>
                      <a:pt x="629" y="392"/>
                    </a:cubicBezTo>
                    <a:cubicBezTo>
                      <a:pt x="629" y="406"/>
                      <a:pt x="629" y="406"/>
                      <a:pt x="629" y="406"/>
                    </a:cubicBezTo>
                    <a:cubicBezTo>
                      <a:pt x="629" y="416"/>
                      <a:pt x="629" y="416"/>
                      <a:pt x="629" y="416"/>
                    </a:cubicBezTo>
                    <a:cubicBezTo>
                      <a:pt x="619" y="420"/>
                      <a:pt x="619" y="420"/>
                      <a:pt x="619" y="420"/>
                    </a:cubicBezTo>
                    <a:cubicBezTo>
                      <a:pt x="616" y="433"/>
                      <a:pt x="616" y="433"/>
                      <a:pt x="616" y="433"/>
                    </a:cubicBezTo>
                    <a:cubicBezTo>
                      <a:pt x="623" y="440"/>
                      <a:pt x="623" y="440"/>
                      <a:pt x="623" y="440"/>
                    </a:cubicBezTo>
                    <a:cubicBezTo>
                      <a:pt x="623" y="451"/>
                      <a:pt x="623" y="451"/>
                      <a:pt x="623" y="451"/>
                    </a:cubicBezTo>
                    <a:cubicBezTo>
                      <a:pt x="619" y="460"/>
                      <a:pt x="619" y="460"/>
                      <a:pt x="619" y="460"/>
                    </a:cubicBezTo>
                    <a:cubicBezTo>
                      <a:pt x="606" y="456"/>
                      <a:pt x="606" y="456"/>
                      <a:pt x="606" y="456"/>
                    </a:cubicBezTo>
                    <a:cubicBezTo>
                      <a:pt x="596" y="459"/>
                      <a:pt x="596" y="459"/>
                      <a:pt x="596" y="459"/>
                    </a:cubicBezTo>
                    <a:cubicBezTo>
                      <a:pt x="581" y="480"/>
                      <a:pt x="581" y="480"/>
                      <a:pt x="581" y="480"/>
                    </a:cubicBezTo>
                    <a:cubicBezTo>
                      <a:pt x="567" y="485"/>
                      <a:pt x="567" y="485"/>
                      <a:pt x="567" y="485"/>
                    </a:cubicBezTo>
                    <a:cubicBezTo>
                      <a:pt x="567" y="491"/>
                      <a:pt x="567" y="491"/>
                      <a:pt x="567" y="491"/>
                    </a:cubicBezTo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6" name="Freeform 253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 rot="698053">
                <a:off x="5394410" y="3364217"/>
                <a:ext cx="657085" cy="466799"/>
              </a:xfrm>
              <a:custGeom>
                <a:avLst/>
                <a:gdLst>
                  <a:gd name="T0" fmla="*/ 589 w 860"/>
                  <a:gd name="T1" fmla="*/ 78 h 631"/>
                  <a:gd name="T2" fmla="*/ 577 w 860"/>
                  <a:gd name="T3" fmla="*/ 126 h 631"/>
                  <a:gd name="T4" fmla="*/ 613 w 860"/>
                  <a:gd name="T5" fmla="*/ 162 h 631"/>
                  <a:gd name="T6" fmla="*/ 693 w 860"/>
                  <a:gd name="T7" fmla="*/ 152 h 631"/>
                  <a:gd name="T8" fmla="*/ 741 w 860"/>
                  <a:gd name="T9" fmla="*/ 184 h 631"/>
                  <a:gd name="T10" fmla="*/ 773 w 860"/>
                  <a:gd name="T11" fmla="*/ 240 h 631"/>
                  <a:gd name="T12" fmla="*/ 826 w 860"/>
                  <a:gd name="T13" fmla="*/ 250 h 631"/>
                  <a:gd name="T14" fmla="*/ 784 w 860"/>
                  <a:gd name="T15" fmla="*/ 296 h 631"/>
                  <a:gd name="T16" fmla="*/ 790 w 860"/>
                  <a:gd name="T17" fmla="*/ 362 h 631"/>
                  <a:gd name="T18" fmla="*/ 820 w 860"/>
                  <a:gd name="T19" fmla="*/ 385 h 631"/>
                  <a:gd name="T20" fmla="*/ 860 w 860"/>
                  <a:gd name="T21" fmla="*/ 427 h 631"/>
                  <a:gd name="T22" fmla="*/ 814 w 860"/>
                  <a:gd name="T23" fmla="*/ 473 h 631"/>
                  <a:gd name="T24" fmla="*/ 788 w 860"/>
                  <a:gd name="T25" fmla="*/ 523 h 631"/>
                  <a:gd name="T26" fmla="*/ 745 w 860"/>
                  <a:gd name="T27" fmla="*/ 537 h 631"/>
                  <a:gd name="T28" fmla="*/ 691 w 860"/>
                  <a:gd name="T29" fmla="*/ 543 h 631"/>
                  <a:gd name="T30" fmla="*/ 617 w 860"/>
                  <a:gd name="T31" fmla="*/ 583 h 631"/>
                  <a:gd name="T32" fmla="*/ 545 w 860"/>
                  <a:gd name="T33" fmla="*/ 597 h 631"/>
                  <a:gd name="T34" fmla="*/ 475 w 860"/>
                  <a:gd name="T35" fmla="*/ 631 h 631"/>
                  <a:gd name="T36" fmla="*/ 473 w 860"/>
                  <a:gd name="T37" fmla="*/ 603 h 631"/>
                  <a:gd name="T38" fmla="*/ 463 w 860"/>
                  <a:gd name="T39" fmla="*/ 569 h 631"/>
                  <a:gd name="T40" fmla="*/ 441 w 860"/>
                  <a:gd name="T41" fmla="*/ 527 h 631"/>
                  <a:gd name="T42" fmla="*/ 391 w 860"/>
                  <a:gd name="T43" fmla="*/ 553 h 631"/>
                  <a:gd name="T44" fmla="*/ 341 w 860"/>
                  <a:gd name="T45" fmla="*/ 521 h 631"/>
                  <a:gd name="T46" fmla="*/ 255 w 860"/>
                  <a:gd name="T47" fmla="*/ 485 h 631"/>
                  <a:gd name="T48" fmla="*/ 215 w 860"/>
                  <a:gd name="T49" fmla="*/ 445 h 631"/>
                  <a:gd name="T50" fmla="*/ 149 w 860"/>
                  <a:gd name="T51" fmla="*/ 413 h 631"/>
                  <a:gd name="T52" fmla="*/ 81 w 860"/>
                  <a:gd name="T53" fmla="*/ 409 h 631"/>
                  <a:gd name="T54" fmla="*/ 34 w 860"/>
                  <a:gd name="T55" fmla="*/ 385 h 631"/>
                  <a:gd name="T56" fmla="*/ 12 w 860"/>
                  <a:gd name="T57" fmla="*/ 332 h 631"/>
                  <a:gd name="T58" fmla="*/ 0 w 860"/>
                  <a:gd name="T59" fmla="*/ 282 h 631"/>
                  <a:gd name="T60" fmla="*/ 16 w 860"/>
                  <a:gd name="T61" fmla="*/ 220 h 631"/>
                  <a:gd name="T62" fmla="*/ 49 w 860"/>
                  <a:gd name="T63" fmla="*/ 186 h 631"/>
                  <a:gd name="T64" fmla="*/ 91 w 860"/>
                  <a:gd name="T65" fmla="*/ 132 h 631"/>
                  <a:gd name="T66" fmla="*/ 131 w 860"/>
                  <a:gd name="T67" fmla="*/ 76 h 631"/>
                  <a:gd name="T68" fmla="*/ 205 w 860"/>
                  <a:gd name="T69" fmla="*/ 0 h 631"/>
                  <a:gd name="T70" fmla="*/ 283 w 860"/>
                  <a:gd name="T71" fmla="*/ 14 h 631"/>
                  <a:gd name="T72" fmla="*/ 339 w 860"/>
                  <a:gd name="T73" fmla="*/ 36 h 631"/>
                  <a:gd name="T74" fmla="*/ 403 w 860"/>
                  <a:gd name="T75" fmla="*/ 54 h 631"/>
                  <a:gd name="T76" fmla="*/ 463 w 860"/>
                  <a:gd name="T77" fmla="*/ 66 h 631"/>
                  <a:gd name="T78" fmla="*/ 525 w 860"/>
                  <a:gd name="T79" fmla="*/ 12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60" h="631">
                    <a:moveTo>
                      <a:pt x="575" y="48"/>
                    </a:moveTo>
                    <a:lnTo>
                      <a:pt x="589" y="78"/>
                    </a:lnTo>
                    <a:lnTo>
                      <a:pt x="601" y="102"/>
                    </a:lnTo>
                    <a:lnTo>
                      <a:pt x="577" y="126"/>
                    </a:lnTo>
                    <a:lnTo>
                      <a:pt x="585" y="152"/>
                    </a:lnTo>
                    <a:lnTo>
                      <a:pt x="613" y="162"/>
                    </a:lnTo>
                    <a:lnTo>
                      <a:pt x="649" y="152"/>
                    </a:lnTo>
                    <a:lnTo>
                      <a:pt x="693" y="152"/>
                    </a:lnTo>
                    <a:lnTo>
                      <a:pt x="725" y="160"/>
                    </a:lnTo>
                    <a:lnTo>
                      <a:pt x="741" y="184"/>
                    </a:lnTo>
                    <a:lnTo>
                      <a:pt x="765" y="210"/>
                    </a:lnTo>
                    <a:lnTo>
                      <a:pt x="773" y="240"/>
                    </a:lnTo>
                    <a:lnTo>
                      <a:pt x="814" y="238"/>
                    </a:lnTo>
                    <a:lnTo>
                      <a:pt x="826" y="250"/>
                    </a:lnTo>
                    <a:lnTo>
                      <a:pt x="804" y="276"/>
                    </a:lnTo>
                    <a:lnTo>
                      <a:pt x="784" y="296"/>
                    </a:lnTo>
                    <a:lnTo>
                      <a:pt x="769" y="330"/>
                    </a:lnTo>
                    <a:lnTo>
                      <a:pt x="790" y="362"/>
                    </a:lnTo>
                    <a:lnTo>
                      <a:pt x="798" y="385"/>
                    </a:lnTo>
                    <a:lnTo>
                      <a:pt x="820" y="385"/>
                    </a:lnTo>
                    <a:lnTo>
                      <a:pt x="856" y="397"/>
                    </a:lnTo>
                    <a:lnTo>
                      <a:pt x="860" y="427"/>
                    </a:lnTo>
                    <a:lnTo>
                      <a:pt x="830" y="443"/>
                    </a:lnTo>
                    <a:lnTo>
                      <a:pt x="814" y="473"/>
                    </a:lnTo>
                    <a:lnTo>
                      <a:pt x="814" y="513"/>
                    </a:lnTo>
                    <a:lnTo>
                      <a:pt x="788" y="523"/>
                    </a:lnTo>
                    <a:lnTo>
                      <a:pt x="759" y="551"/>
                    </a:lnTo>
                    <a:lnTo>
                      <a:pt x="745" y="537"/>
                    </a:lnTo>
                    <a:lnTo>
                      <a:pt x="715" y="553"/>
                    </a:lnTo>
                    <a:lnTo>
                      <a:pt x="691" y="543"/>
                    </a:lnTo>
                    <a:lnTo>
                      <a:pt x="663" y="543"/>
                    </a:lnTo>
                    <a:lnTo>
                      <a:pt x="617" y="583"/>
                    </a:lnTo>
                    <a:lnTo>
                      <a:pt x="571" y="583"/>
                    </a:lnTo>
                    <a:lnTo>
                      <a:pt x="545" y="597"/>
                    </a:lnTo>
                    <a:lnTo>
                      <a:pt x="511" y="595"/>
                    </a:lnTo>
                    <a:lnTo>
                      <a:pt x="475" y="631"/>
                    </a:lnTo>
                    <a:lnTo>
                      <a:pt x="461" y="617"/>
                    </a:lnTo>
                    <a:lnTo>
                      <a:pt x="473" y="603"/>
                    </a:lnTo>
                    <a:lnTo>
                      <a:pt x="463" y="593"/>
                    </a:lnTo>
                    <a:lnTo>
                      <a:pt x="463" y="569"/>
                    </a:lnTo>
                    <a:lnTo>
                      <a:pt x="459" y="535"/>
                    </a:lnTo>
                    <a:lnTo>
                      <a:pt x="441" y="527"/>
                    </a:lnTo>
                    <a:lnTo>
                      <a:pt x="423" y="545"/>
                    </a:lnTo>
                    <a:lnTo>
                      <a:pt x="391" y="553"/>
                    </a:lnTo>
                    <a:lnTo>
                      <a:pt x="363" y="553"/>
                    </a:lnTo>
                    <a:lnTo>
                      <a:pt x="341" y="521"/>
                    </a:lnTo>
                    <a:lnTo>
                      <a:pt x="283" y="521"/>
                    </a:lnTo>
                    <a:lnTo>
                      <a:pt x="255" y="485"/>
                    </a:lnTo>
                    <a:lnTo>
                      <a:pt x="237" y="467"/>
                    </a:lnTo>
                    <a:lnTo>
                      <a:pt x="215" y="445"/>
                    </a:lnTo>
                    <a:lnTo>
                      <a:pt x="179" y="429"/>
                    </a:lnTo>
                    <a:lnTo>
                      <a:pt x="149" y="413"/>
                    </a:lnTo>
                    <a:lnTo>
                      <a:pt x="113" y="409"/>
                    </a:lnTo>
                    <a:lnTo>
                      <a:pt x="81" y="409"/>
                    </a:lnTo>
                    <a:lnTo>
                      <a:pt x="65" y="393"/>
                    </a:lnTo>
                    <a:lnTo>
                      <a:pt x="34" y="385"/>
                    </a:lnTo>
                    <a:lnTo>
                      <a:pt x="26" y="362"/>
                    </a:lnTo>
                    <a:lnTo>
                      <a:pt x="12" y="332"/>
                    </a:lnTo>
                    <a:lnTo>
                      <a:pt x="16" y="298"/>
                    </a:lnTo>
                    <a:lnTo>
                      <a:pt x="0" y="282"/>
                    </a:lnTo>
                    <a:lnTo>
                      <a:pt x="0" y="256"/>
                    </a:lnTo>
                    <a:lnTo>
                      <a:pt x="16" y="220"/>
                    </a:lnTo>
                    <a:lnTo>
                      <a:pt x="12" y="208"/>
                    </a:lnTo>
                    <a:lnTo>
                      <a:pt x="49" y="186"/>
                    </a:lnTo>
                    <a:lnTo>
                      <a:pt x="53" y="158"/>
                    </a:lnTo>
                    <a:lnTo>
                      <a:pt x="91" y="132"/>
                    </a:lnTo>
                    <a:lnTo>
                      <a:pt x="135" y="118"/>
                    </a:lnTo>
                    <a:lnTo>
                      <a:pt x="131" y="76"/>
                    </a:lnTo>
                    <a:lnTo>
                      <a:pt x="163" y="8"/>
                    </a:lnTo>
                    <a:lnTo>
                      <a:pt x="205" y="0"/>
                    </a:lnTo>
                    <a:lnTo>
                      <a:pt x="237" y="14"/>
                    </a:lnTo>
                    <a:lnTo>
                      <a:pt x="283" y="14"/>
                    </a:lnTo>
                    <a:lnTo>
                      <a:pt x="295" y="32"/>
                    </a:lnTo>
                    <a:lnTo>
                      <a:pt x="339" y="36"/>
                    </a:lnTo>
                    <a:lnTo>
                      <a:pt x="371" y="24"/>
                    </a:lnTo>
                    <a:lnTo>
                      <a:pt x="403" y="54"/>
                    </a:lnTo>
                    <a:lnTo>
                      <a:pt x="427" y="48"/>
                    </a:lnTo>
                    <a:lnTo>
                      <a:pt x="463" y="66"/>
                    </a:lnTo>
                    <a:lnTo>
                      <a:pt x="473" y="34"/>
                    </a:lnTo>
                    <a:lnTo>
                      <a:pt x="525" y="12"/>
                    </a:lnTo>
                    <a:lnTo>
                      <a:pt x="575" y="4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7" name="Freeform 254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 rot="698053">
                <a:off x="5744573" y="3781474"/>
                <a:ext cx="238400" cy="399130"/>
              </a:xfrm>
              <a:custGeom>
                <a:avLst/>
                <a:gdLst>
                  <a:gd name="T0" fmla="*/ 261 w 311"/>
                  <a:gd name="T1" fmla="*/ 28 h 540"/>
                  <a:gd name="T2" fmla="*/ 243 w 311"/>
                  <a:gd name="T3" fmla="*/ 10 h 540"/>
                  <a:gd name="T4" fmla="*/ 200 w 311"/>
                  <a:gd name="T5" fmla="*/ 24 h 540"/>
                  <a:gd name="T6" fmla="*/ 146 w 311"/>
                  <a:gd name="T7" fmla="*/ 30 h 540"/>
                  <a:gd name="T8" fmla="*/ 72 w 311"/>
                  <a:gd name="T9" fmla="*/ 70 h 540"/>
                  <a:gd name="T10" fmla="*/ 0 w 311"/>
                  <a:gd name="T11" fmla="*/ 84 h 540"/>
                  <a:gd name="T12" fmla="*/ 12 w 311"/>
                  <a:gd name="T13" fmla="*/ 146 h 540"/>
                  <a:gd name="T14" fmla="*/ 14 w 311"/>
                  <a:gd name="T15" fmla="*/ 244 h 540"/>
                  <a:gd name="T16" fmla="*/ 48 w 311"/>
                  <a:gd name="T17" fmla="*/ 300 h 540"/>
                  <a:gd name="T18" fmla="*/ 88 w 311"/>
                  <a:gd name="T19" fmla="*/ 332 h 540"/>
                  <a:gd name="T20" fmla="*/ 108 w 311"/>
                  <a:gd name="T21" fmla="*/ 372 h 540"/>
                  <a:gd name="T22" fmla="*/ 150 w 311"/>
                  <a:gd name="T23" fmla="*/ 386 h 540"/>
                  <a:gd name="T24" fmla="*/ 130 w 311"/>
                  <a:gd name="T25" fmla="*/ 412 h 540"/>
                  <a:gd name="T26" fmla="*/ 144 w 311"/>
                  <a:gd name="T27" fmla="*/ 458 h 540"/>
                  <a:gd name="T28" fmla="*/ 178 w 311"/>
                  <a:gd name="T29" fmla="*/ 504 h 540"/>
                  <a:gd name="T30" fmla="*/ 228 w 311"/>
                  <a:gd name="T31" fmla="*/ 516 h 540"/>
                  <a:gd name="T32" fmla="*/ 243 w 311"/>
                  <a:gd name="T33" fmla="*/ 540 h 540"/>
                  <a:gd name="T34" fmla="*/ 261 w 311"/>
                  <a:gd name="T35" fmla="*/ 518 h 540"/>
                  <a:gd name="T36" fmla="*/ 303 w 311"/>
                  <a:gd name="T37" fmla="*/ 476 h 540"/>
                  <a:gd name="T38" fmla="*/ 281 w 311"/>
                  <a:gd name="T39" fmla="*/ 446 h 540"/>
                  <a:gd name="T40" fmla="*/ 295 w 311"/>
                  <a:gd name="T41" fmla="*/ 422 h 540"/>
                  <a:gd name="T42" fmla="*/ 269 w 311"/>
                  <a:gd name="T43" fmla="*/ 392 h 540"/>
                  <a:gd name="T44" fmla="*/ 293 w 311"/>
                  <a:gd name="T45" fmla="*/ 328 h 540"/>
                  <a:gd name="T46" fmla="*/ 301 w 311"/>
                  <a:gd name="T47" fmla="*/ 308 h 540"/>
                  <a:gd name="T48" fmla="*/ 277 w 311"/>
                  <a:gd name="T49" fmla="*/ 288 h 540"/>
                  <a:gd name="T50" fmla="*/ 243 w 311"/>
                  <a:gd name="T51" fmla="*/ 284 h 540"/>
                  <a:gd name="T52" fmla="*/ 267 w 311"/>
                  <a:gd name="T53" fmla="*/ 254 h 540"/>
                  <a:gd name="T54" fmla="*/ 261 w 311"/>
                  <a:gd name="T55" fmla="*/ 206 h 540"/>
                  <a:gd name="T56" fmla="*/ 271 w 311"/>
                  <a:gd name="T57" fmla="*/ 162 h 540"/>
                  <a:gd name="T58" fmla="*/ 311 w 311"/>
                  <a:gd name="T59" fmla="*/ 130 h 540"/>
                  <a:gd name="T60" fmla="*/ 295 w 311"/>
                  <a:gd name="T61" fmla="*/ 66 h 540"/>
                  <a:gd name="T62" fmla="*/ 265 w 311"/>
                  <a:gd name="T63" fmla="*/ 5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11" h="540">
                    <a:moveTo>
                      <a:pt x="265" y="50"/>
                    </a:moveTo>
                    <a:lnTo>
                      <a:pt x="261" y="28"/>
                    </a:lnTo>
                    <a:lnTo>
                      <a:pt x="269" y="0"/>
                    </a:lnTo>
                    <a:lnTo>
                      <a:pt x="243" y="10"/>
                    </a:lnTo>
                    <a:lnTo>
                      <a:pt x="214" y="38"/>
                    </a:lnTo>
                    <a:lnTo>
                      <a:pt x="200" y="24"/>
                    </a:lnTo>
                    <a:lnTo>
                      <a:pt x="170" y="40"/>
                    </a:lnTo>
                    <a:lnTo>
                      <a:pt x="146" y="30"/>
                    </a:lnTo>
                    <a:lnTo>
                      <a:pt x="118" y="30"/>
                    </a:lnTo>
                    <a:lnTo>
                      <a:pt x="72" y="70"/>
                    </a:lnTo>
                    <a:lnTo>
                      <a:pt x="26" y="70"/>
                    </a:lnTo>
                    <a:lnTo>
                      <a:pt x="0" y="84"/>
                    </a:lnTo>
                    <a:lnTo>
                      <a:pt x="4" y="128"/>
                    </a:lnTo>
                    <a:lnTo>
                      <a:pt x="12" y="146"/>
                    </a:lnTo>
                    <a:lnTo>
                      <a:pt x="20" y="186"/>
                    </a:lnTo>
                    <a:lnTo>
                      <a:pt x="14" y="244"/>
                    </a:lnTo>
                    <a:lnTo>
                      <a:pt x="32" y="268"/>
                    </a:lnTo>
                    <a:lnTo>
                      <a:pt x="48" y="300"/>
                    </a:lnTo>
                    <a:lnTo>
                      <a:pt x="72" y="300"/>
                    </a:lnTo>
                    <a:lnTo>
                      <a:pt x="88" y="332"/>
                    </a:lnTo>
                    <a:lnTo>
                      <a:pt x="104" y="348"/>
                    </a:lnTo>
                    <a:lnTo>
                      <a:pt x="108" y="372"/>
                    </a:lnTo>
                    <a:lnTo>
                      <a:pt x="130" y="386"/>
                    </a:lnTo>
                    <a:lnTo>
                      <a:pt x="150" y="386"/>
                    </a:lnTo>
                    <a:lnTo>
                      <a:pt x="150" y="404"/>
                    </a:lnTo>
                    <a:lnTo>
                      <a:pt x="130" y="412"/>
                    </a:lnTo>
                    <a:lnTo>
                      <a:pt x="142" y="432"/>
                    </a:lnTo>
                    <a:lnTo>
                      <a:pt x="144" y="458"/>
                    </a:lnTo>
                    <a:lnTo>
                      <a:pt x="152" y="480"/>
                    </a:lnTo>
                    <a:lnTo>
                      <a:pt x="178" y="504"/>
                    </a:lnTo>
                    <a:lnTo>
                      <a:pt x="204" y="504"/>
                    </a:lnTo>
                    <a:lnTo>
                      <a:pt x="228" y="516"/>
                    </a:lnTo>
                    <a:lnTo>
                      <a:pt x="241" y="516"/>
                    </a:lnTo>
                    <a:lnTo>
                      <a:pt x="243" y="540"/>
                    </a:lnTo>
                    <a:lnTo>
                      <a:pt x="261" y="540"/>
                    </a:lnTo>
                    <a:lnTo>
                      <a:pt x="261" y="518"/>
                    </a:lnTo>
                    <a:lnTo>
                      <a:pt x="279" y="498"/>
                    </a:lnTo>
                    <a:lnTo>
                      <a:pt x="303" y="476"/>
                    </a:lnTo>
                    <a:lnTo>
                      <a:pt x="291" y="464"/>
                    </a:lnTo>
                    <a:lnTo>
                      <a:pt x="281" y="446"/>
                    </a:lnTo>
                    <a:lnTo>
                      <a:pt x="285" y="432"/>
                    </a:lnTo>
                    <a:lnTo>
                      <a:pt x="295" y="422"/>
                    </a:lnTo>
                    <a:lnTo>
                      <a:pt x="281" y="406"/>
                    </a:lnTo>
                    <a:lnTo>
                      <a:pt x="269" y="392"/>
                    </a:lnTo>
                    <a:lnTo>
                      <a:pt x="293" y="356"/>
                    </a:lnTo>
                    <a:lnTo>
                      <a:pt x="293" y="328"/>
                    </a:lnTo>
                    <a:lnTo>
                      <a:pt x="293" y="318"/>
                    </a:lnTo>
                    <a:lnTo>
                      <a:pt x="301" y="308"/>
                    </a:lnTo>
                    <a:lnTo>
                      <a:pt x="301" y="292"/>
                    </a:lnTo>
                    <a:lnTo>
                      <a:pt x="277" y="288"/>
                    </a:lnTo>
                    <a:lnTo>
                      <a:pt x="263" y="304"/>
                    </a:lnTo>
                    <a:lnTo>
                      <a:pt x="243" y="284"/>
                    </a:lnTo>
                    <a:lnTo>
                      <a:pt x="267" y="278"/>
                    </a:lnTo>
                    <a:lnTo>
                      <a:pt x="267" y="254"/>
                    </a:lnTo>
                    <a:lnTo>
                      <a:pt x="273" y="232"/>
                    </a:lnTo>
                    <a:lnTo>
                      <a:pt x="261" y="206"/>
                    </a:lnTo>
                    <a:lnTo>
                      <a:pt x="251" y="178"/>
                    </a:lnTo>
                    <a:lnTo>
                      <a:pt x="271" y="162"/>
                    </a:lnTo>
                    <a:lnTo>
                      <a:pt x="295" y="138"/>
                    </a:lnTo>
                    <a:lnTo>
                      <a:pt x="311" y="130"/>
                    </a:lnTo>
                    <a:lnTo>
                      <a:pt x="311" y="96"/>
                    </a:lnTo>
                    <a:lnTo>
                      <a:pt x="295" y="66"/>
                    </a:lnTo>
                    <a:lnTo>
                      <a:pt x="277" y="58"/>
                    </a:lnTo>
                    <a:lnTo>
                      <a:pt x="265" y="5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8" name="Freeform 255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 rot="698053">
                <a:off x="5871947" y="3929510"/>
                <a:ext cx="219423" cy="355547"/>
              </a:xfrm>
              <a:custGeom>
                <a:avLst/>
                <a:gdLst>
                  <a:gd name="T0" fmla="*/ 73 w 287"/>
                  <a:gd name="T1" fmla="*/ 0 h 480"/>
                  <a:gd name="T2" fmla="*/ 87 w 287"/>
                  <a:gd name="T3" fmla="*/ 26 h 480"/>
                  <a:gd name="T4" fmla="*/ 113 w 287"/>
                  <a:gd name="T5" fmla="*/ 52 h 480"/>
                  <a:gd name="T6" fmla="*/ 139 w 287"/>
                  <a:gd name="T7" fmla="*/ 58 h 480"/>
                  <a:gd name="T8" fmla="*/ 151 w 287"/>
                  <a:gd name="T9" fmla="*/ 46 h 480"/>
                  <a:gd name="T10" fmla="*/ 191 w 287"/>
                  <a:gd name="T11" fmla="*/ 50 h 480"/>
                  <a:gd name="T12" fmla="*/ 215 w 287"/>
                  <a:gd name="T13" fmla="*/ 40 h 480"/>
                  <a:gd name="T14" fmla="*/ 225 w 287"/>
                  <a:gd name="T15" fmla="*/ 58 h 480"/>
                  <a:gd name="T16" fmla="*/ 215 w 287"/>
                  <a:gd name="T17" fmla="*/ 92 h 480"/>
                  <a:gd name="T18" fmla="*/ 243 w 287"/>
                  <a:gd name="T19" fmla="*/ 120 h 480"/>
                  <a:gd name="T20" fmla="*/ 251 w 287"/>
                  <a:gd name="T21" fmla="*/ 152 h 480"/>
                  <a:gd name="T22" fmla="*/ 279 w 287"/>
                  <a:gd name="T23" fmla="*/ 180 h 480"/>
                  <a:gd name="T24" fmla="*/ 279 w 287"/>
                  <a:gd name="T25" fmla="*/ 206 h 480"/>
                  <a:gd name="T26" fmla="*/ 287 w 287"/>
                  <a:gd name="T27" fmla="*/ 226 h 480"/>
                  <a:gd name="T28" fmla="*/ 279 w 287"/>
                  <a:gd name="T29" fmla="*/ 254 h 480"/>
                  <a:gd name="T30" fmla="*/ 257 w 287"/>
                  <a:gd name="T31" fmla="*/ 276 h 480"/>
                  <a:gd name="T32" fmla="*/ 259 w 287"/>
                  <a:gd name="T33" fmla="*/ 304 h 480"/>
                  <a:gd name="T34" fmla="*/ 237 w 287"/>
                  <a:gd name="T35" fmla="*/ 326 h 480"/>
                  <a:gd name="T36" fmla="*/ 213 w 287"/>
                  <a:gd name="T37" fmla="*/ 336 h 480"/>
                  <a:gd name="T38" fmla="*/ 201 w 287"/>
                  <a:gd name="T39" fmla="*/ 366 h 480"/>
                  <a:gd name="T40" fmla="*/ 193 w 287"/>
                  <a:gd name="T41" fmla="*/ 380 h 480"/>
                  <a:gd name="T42" fmla="*/ 163 w 287"/>
                  <a:gd name="T43" fmla="*/ 394 h 480"/>
                  <a:gd name="T44" fmla="*/ 163 w 287"/>
                  <a:gd name="T45" fmla="*/ 424 h 480"/>
                  <a:gd name="T46" fmla="*/ 139 w 287"/>
                  <a:gd name="T47" fmla="*/ 450 h 480"/>
                  <a:gd name="T48" fmla="*/ 89 w 287"/>
                  <a:gd name="T49" fmla="*/ 442 h 480"/>
                  <a:gd name="T50" fmla="*/ 77 w 287"/>
                  <a:gd name="T51" fmla="*/ 454 h 480"/>
                  <a:gd name="T52" fmla="*/ 63 w 287"/>
                  <a:gd name="T53" fmla="*/ 454 h 480"/>
                  <a:gd name="T54" fmla="*/ 51 w 287"/>
                  <a:gd name="T55" fmla="*/ 480 h 480"/>
                  <a:gd name="T56" fmla="*/ 28 w 287"/>
                  <a:gd name="T57" fmla="*/ 480 h 480"/>
                  <a:gd name="T58" fmla="*/ 0 w 287"/>
                  <a:gd name="T59" fmla="*/ 452 h 480"/>
                  <a:gd name="T60" fmla="*/ 14 w 287"/>
                  <a:gd name="T61" fmla="*/ 440 h 480"/>
                  <a:gd name="T62" fmla="*/ 8 w 287"/>
                  <a:gd name="T63" fmla="*/ 414 h 480"/>
                  <a:gd name="T64" fmla="*/ 45 w 287"/>
                  <a:gd name="T65" fmla="*/ 378 h 480"/>
                  <a:gd name="T66" fmla="*/ 63 w 287"/>
                  <a:gd name="T67" fmla="*/ 378 h 480"/>
                  <a:gd name="T68" fmla="*/ 63 w 287"/>
                  <a:gd name="T69" fmla="*/ 356 h 480"/>
                  <a:gd name="T70" fmla="*/ 105 w 287"/>
                  <a:gd name="T71" fmla="*/ 314 h 480"/>
                  <a:gd name="T72" fmla="*/ 93 w 287"/>
                  <a:gd name="T73" fmla="*/ 302 h 480"/>
                  <a:gd name="T74" fmla="*/ 83 w 287"/>
                  <a:gd name="T75" fmla="*/ 284 h 480"/>
                  <a:gd name="T76" fmla="*/ 87 w 287"/>
                  <a:gd name="T77" fmla="*/ 270 h 480"/>
                  <a:gd name="T78" fmla="*/ 97 w 287"/>
                  <a:gd name="T79" fmla="*/ 260 h 480"/>
                  <a:gd name="T80" fmla="*/ 83 w 287"/>
                  <a:gd name="T81" fmla="*/ 244 h 480"/>
                  <a:gd name="T82" fmla="*/ 71 w 287"/>
                  <a:gd name="T83" fmla="*/ 230 h 480"/>
                  <a:gd name="T84" fmla="*/ 93 w 287"/>
                  <a:gd name="T85" fmla="*/ 196 h 480"/>
                  <a:gd name="T86" fmla="*/ 95 w 287"/>
                  <a:gd name="T87" fmla="*/ 156 h 480"/>
                  <a:gd name="T88" fmla="*/ 103 w 287"/>
                  <a:gd name="T89" fmla="*/ 146 h 480"/>
                  <a:gd name="T90" fmla="*/ 103 w 287"/>
                  <a:gd name="T91" fmla="*/ 130 h 480"/>
                  <a:gd name="T92" fmla="*/ 79 w 287"/>
                  <a:gd name="T93" fmla="*/ 126 h 480"/>
                  <a:gd name="T94" fmla="*/ 65 w 287"/>
                  <a:gd name="T95" fmla="*/ 142 h 480"/>
                  <a:gd name="T96" fmla="*/ 45 w 287"/>
                  <a:gd name="T97" fmla="*/ 122 h 480"/>
                  <a:gd name="T98" fmla="*/ 69 w 287"/>
                  <a:gd name="T99" fmla="*/ 112 h 480"/>
                  <a:gd name="T100" fmla="*/ 69 w 287"/>
                  <a:gd name="T101" fmla="*/ 92 h 480"/>
                  <a:gd name="T102" fmla="*/ 75 w 287"/>
                  <a:gd name="T103" fmla="*/ 70 h 480"/>
                  <a:gd name="T104" fmla="*/ 63 w 287"/>
                  <a:gd name="T105" fmla="*/ 44 h 480"/>
                  <a:gd name="T106" fmla="*/ 53 w 287"/>
                  <a:gd name="T107" fmla="*/ 16 h 480"/>
                  <a:gd name="T108" fmla="*/ 73 w 287"/>
                  <a:gd name="T109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7" h="480">
                    <a:moveTo>
                      <a:pt x="73" y="0"/>
                    </a:moveTo>
                    <a:lnTo>
                      <a:pt x="87" y="26"/>
                    </a:lnTo>
                    <a:lnTo>
                      <a:pt x="113" y="52"/>
                    </a:lnTo>
                    <a:lnTo>
                      <a:pt x="139" y="58"/>
                    </a:lnTo>
                    <a:lnTo>
                      <a:pt x="151" y="46"/>
                    </a:lnTo>
                    <a:lnTo>
                      <a:pt x="191" y="50"/>
                    </a:lnTo>
                    <a:lnTo>
                      <a:pt x="215" y="40"/>
                    </a:lnTo>
                    <a:lnTo>
                      <a:pt x="225" y="58"/>
                    </a:lnTo>
                    <a:lnTo>
                      <a:pt x="215" y="92"/>
                    </a:lnTo>
                    <a:lnTo>
                      <a:pt x="243" y="120"/>
                    </a:lnTo>
                    <a:lnTo>
                      <a:pt x="251" y="152"/>
                    </a:lnTo>
                    <a:lnTo>
                      <a:pt x="279" y="180"/>
                    </a:lnTo>
                    <a:lnTo>
                      <a:pt x="279" y="206"/>
                    </a:lnTo>
                    <a:lnTo>
                      <a:pt x="287" y="226"/>
                    </a:lnTo>
                    <a:lnTo>
                      <a:pt x="279" y="254"/>
                    </a:lnTo>
                    <a:lnTo>
                      <a:pt x="257" y="276"/>
                    </a:lnTo>
                    <a:lnTo>
                      <a:pt x="259" y="304"/>
                    </a:lnTo>
                    <a:lnTo>
                      <a:pt x="237" y="326"/>
                    </a:lnTo>
                    <a:lnTo>
                      <a:pt x="213" y="336"/>
                    </a:lnTo>
                    <a:lnTo>
                      <a:pt x="201" y="366"/>
                    </a:lnTo>
                    <a:lnTo>
                      <a:pt x="193" y="380"/>
                    </a:lnTo>
                    <a:lnTo>
                      <a:pt x="163" y="394"/>
                    </a:lnTo>
                    <a:lnTo>
                      <a:pt x="163" y="424"/>
                    </a:lnTo>
                    <a:lnTo>
                      <a:pt x="139" y="450"/>
                    </a:lnTo>
                    <a:lnTo>
                      <a:pt x="89" y="442"/>
                    </a:lnTo>
                    <a:lnTo>
                      <a:pt x="77" y="454"/>
                    </a:lnTo>
                    <a:lnTo>
                      <a:pt x="63" y="454"/>
                    </a:lnTo>
                    <a:lnTo>
                      <a:pt x="51" y="480"/>
                    </a:lnTo>
                    <a:lnTo>
                      <a:pt x="28" y="480"/>
                    </a:lnTo>
                    <a:lnTo>
                      <a:pt x="0" y="452"/>
                    </a:lnTo>
                    <a:lnTo>
                      <a:pt x="14" y="440"/>
                    </a:lnTo>
                    <a:lnTo>
                      <a:pt x="8" y="414"/>
                    </a:lnTo>
                    <a:lnTo>
                      <a:pt x="45" y="378"/>
                    </a:lnTo>
                    <a:lnTo>
                      <a:pt x="63" y="378"/>
                    </a:lnTo>
                    <a:lnTo>
                      <a:pt x="63" y="356"/>
                    </a:lnTo>
                    <a:lnTo>
                      <a:pt x="105" y="314"/>
                    </a:lnTo>
                    <a:lnTo>
                      <a:pt x="93" y="302"/>
                    </a:lnTo>
                    <a:lnTo>
                      <a:pt x="83" y="284"/>
                    </a:lnTo>
                    <a:lnTo>
                      <a:pt x="87" y="270"/>
                    </a:lnTo>
                    <a:lnTo>
                      <a:pt x="97" y="260"/>
                    </a:lnTo>
                    <a:lnTo>
                      <a:pt x="83" y="244"/>
                    </a:lnTo>
                    <a:lnTo>
                      <a:pt x="71" y="230"/>
                    </a:lnTo>
                    <a:lnTo>
                      <a:pt x="93" y="196"/>
                    </a:lnTo>
                    <a:lnTo>
                      <a:pt x="95" y="156"/>
                    </a:lnTo>
                    <a:lnTo>
                      <a:pt x="103" y="146"/>
                    </a:lnTo>
                    <a:lnTo>
                      <a:pt x="103" y="130"/>
                    </a:lnTo>
                    <a:lnTo>
                      <a:pt x="79" y="126"/>
                    </a:lnTo>
                    <a:lnTo>
                      <a:pt x="65" y="142"/>
                    </a:lnTo>
                    <a:lnTo>
                      <a:pt x="45" y="122"/>
                    </a:lnTo>
                    <a:lnTo>
                      <a:pt x="69" y="112"/>
                    </a:lnTo>
                    <a:lnTo>
                      <a:pt x="69" y="92"/>
                    </a:lnTo>
                    <a:lnTo>
                      <a:pt x="75" y="70"/>
                    </a:lnTo>
                    <a:lnTo>
                      <a:pt x="63" y="44"/>
                    </a:lnTo>
                    <a:lnTo>
                      <a:pt x="53" y="16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9" name="Freeform 257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 rot="698053">
                <a:off x="5297016" y="1843109"/>
                <a:ext cx="612014" cy="441566"/>
              </a:xfrm>
              <a:custGeom>
                <a:avLst/>
                <a:gdLst>
                  <a:gd name="T0" fmla="*/ 94 w 801"/>
                  <a:gd name="T1" fmla="*/ 570 h 598"/>
                  <a:gd name="T2" fmla="*/ 72 w 801"/>
                  <a:gd name="T3" fmla="*/ 554 h 598"/>
                  <a:gd name="T4" fmla="*/ 28 w 801"/>
                  <a:gd name="T5" fmla="*/ 510 h 598"/>
                  <a:gd name="T6" fmla="*/ 54 w 801"/>
                  <a:gd name="T7" fmla="*/ 482 h 598"/>
                  <a:gd name="T8" fmla="*/ 48 w 801"/>
                  <a:gd name="T9" fmla="*/ 458 h 598"/>
                  <a:gd name="T10" fmla="*/ 40 w 801"/>
                  <a:gd name="T11" fmla="*/ 426 h 598"/>
                  <a:gd name="T12" fmla="*/ 14 w 801"/>
                  <a:gd name="T13" fmla="*/ 404 h 598"/>
                  <a:gd name="T14" fmla="*/ 4 w 801"/>
                  <a:gd name="T15" fmla="*/ 356 h 598"/>
                  <a:gd name="T16" fmla="*/ 46 w 801"/>
                  <a:gd name="T17" fmla="*/ 332 h 598"/>
                  <a:gd name="T18" fmla="*/ 62 w 801"/>
                  <a:gd name="T19" fmla="*/ 344 h 598"/>
                  <a:gd name="T20" fmla="*/ 94 w 801"/>
                  <a:gd name="T21" fmla="*/ 320 h 598"/>
                  <a:gd name="T22" fmla="*/ 100 w 801"/>
                  <a:gd name="T23" fmla="*/ 282 h 598"/>
                  <a:gd name="T24" fmla="*/ 142 w 801"/>
                  <a:gd name="T25" fmla="*/ 278 h 598"/>
                  <a:gd name="T26" fmla="*/ 148 w 801"/>
                  <a:gd name="T27" fmla="*/ 242 h 598"/>
                  <a:gd name="T28" fmla="*/ 190 w 801"/>
                  <a:gd name="T29" fmla="*/ 254 h 598"/>
                  <a:gd name="T30" fmla="*/ 206 w 801"/>
                  <a:gd name="T31" fmla="*/ 228 h 598"/>
                  <a:gd name="T32" fmla="*/ 226 w 801"/>
                  <a:gd name="T33" fmla="*/ 212 h 598"/>
                  <a:gd name="T34" fmla="*/ 200 w 801"/>
                  <a:gd name="T35" fmla="*/ 194 h 598"/>
                  <a:gd name="T36" fmla="*/ 262 w 801"/>
                  <a:gd name="T37" fmla="*/ 176 h 598"/>
                  <a:gd name="T38" fmla="*/ 298 w 801"/>
                  <a:gd name="T39" fmla="*/ 160 h 598"/>
                  <a:gd name="T40" fmla="*/ 328 w 801"/>
                  <a:gd name="T41" fmla="*/ 144 h 598"/>
                  <a:gd name="T42" fmla="*/ 336 w 801"/>
                  <a:gd name="T43" fmla="*/ 128 h 598"/>
                  <a:gd name="T44" fmla="*/ 346 w 801"/>
                  <a:gd name="T45" fmla="*/ 114 h 598"/>
                  <a:gd name="T46" fmla="*/ 344 w 801"/>
                  <a:gd name="T47" fmla="*/ 86 h 598"/>
                  <a:gd name="T48" fmla="*/ 368 w 801"/>
                  <a:gd name="T49" fmla="*/ 86 h 598"/>
                  <a:gd name="T50" fmla="*/ 386 w 801"/>
                  <a:gd name="T51" fmla="*/ 68 h 598"/>
                  <a:gd name="T52" fmla="*/ 426 w 801"/>
                  <a:gd name="T53" fmla="*/ 64 h 598"/>
                  <a:gd name="T54" fmla="*/ 456 w 801"/>
                  <a:gd name="T55" fmla="*/ 48 h 598"/>
                  <a:gd name="T56" fmla="*/ 506 w 801"/>
                  <a:gd name="T57" fmla="*/ 42 h 598"/>
                  <a:gd name="T58" fmla="*/ 557 w 801"/>
                  <a:gd name="T59" fmla="*/ 22 h 598"/>
                  <a:gd name="T60" fmla="*/ 591 w 801"/>
                  <a:gd name="T61" fmla="*/ 40 h 598"/>
                  <a:gd name="T62" fmla="*/ 629 w 801"/>
                  <a:gd name="T63" fmla="*/ 52 h 598"/>
                  <a:gd name="T64" fmla="*/ 681 w 801"/>
                  <a:gd name="T65" fmla="*/ 46 h 598"/>
                  <a:gd name="T66" fmla="*/ 723 w 801"/>
                  <a:gd name="T67" fmla="*/ 12 h 598"/>
                  <a:gd name="T68" fmla="*/ 785 w 801"/>
                  <a:gd name="T69" fmla="*/ 0 h 598"/>
                  <a:gd name="T70" fmla="*/ 801 w 801"/>
                  <a:gd name="T71" fmla="*/ 56 h 598"/>
                  <a:gd name="T72" fmla="*/ 753 w 801"/>
                  <a:gd name="T73" fmla="*/ 102 h 598"/>
                  <a:gd name="T74" fmla="*/ 687 w 801"/>
                  <a:gd name="T75" fmla="*/ 120 h 598"/>
                  <a:gd name="T76" fmla="*/ 639 w 801"/>
                  <a:gd name="T77" fmla="*/ 124 h 598"/>
                  <a:gd name="T78" fmla="*/ 553 w 801"/>
                  <a:gd name="T79" fmla="*/ 124 h 598"/>
                  <a:gd name="T80" fmla="*/ 496 w 801"/>
                  <a:gd name="T81" fmla="*/ 142 h 598"/>
                  <a:gd name="T82" fmla="*/ 476 w 801"/>
                  <a:gd name="T83" fmla="*/ 178 h 598"/>
                  <a:gd name="T84" fmla="*/ 434 w 801"/>
                  <a:gd name="T85" fmla="*/ 182 h 598"/>
                  <a:gd name="T86" fmla="*/ 410 w 801"/>
                  <a:gd name="T87" fmla="*/ 196 h 598"/>
                  <a:gd name="T88" fmla="*/ 388 w 801"/>
                  <a:gd name="T89" fmla="*/ 212 h 598"/>
                  <a:gd name="T90" fmla="*/ 350 w 801"/>
                  <a:gd name="T91" fmla="*/ 240 h 598"/>
                  <a:gd name="T92" fmla="*/ 334 w 801"/>
                  <a:gd name="T93" fmla="*/ 234 h 598"/>
                  <a:gd name="T94" fmla="*/ 324 w 801"/>
                  <a:gd name="T95" fmla="*/ 258 h 598"/>
                  <a:gd name="T96" fmla="*/ 314 w 801"/>
                  <a:gd name="T97" fmla="*/ 258 h 598"/>
                  <a:gd name="T98" fmla="*/ 302 w 801"/>
                  <a:gd name="T99" fmla="*/ 266 h 598"/>
                  <a:gd name="T100" fmla="*/ 278 w 801"/>
                  <a:gd name="T101" fmla="*/ 292 h 598"/>
                  <a:gd name="T102" fmla="*/ 250 w 801"/>
                  <a:gd name="T103" fmla="*/ 306 h 598"/>
                  <a:gd name="T104" fmla="*/ 208 w 801"/>
                  <a:gd name="T105" fmla="*/ 334 h 598"/>
                  <a:gd name="T106" fmla="*/ 188 w 801"/>
                  <a:gd name="T107" fmla="*/ 374 h 598"/>
                  <a:gd name="T108" fmla="*/ 160 w 801"/>
                  <a:gd name="T109" fmla="*/ 406 h 598"/>
                  <a:gd name="T110" fmla="*/ 144 w 801"/>
                  <a:gd name="T111" fmla="*/ 454 h 598"/>
                  <a:gd name="T112" fmla="*/ 146 w 801"/>
                  <a:gd name="T113" fmla="*/ 506 h 598"/>
                  <a:gd name="T114" fmla="*/ 150 w 801"/>
                  <a:gd name="T115" fmla="*/ 558 h 598"/>
                  <a:gd name="T116" fmla="*/ 148 w 801"/>
                  <a:gd name="T117" fmla="*/ 588 h 598"/>
                  <a:gd name="T118" fmla="*/ 128 w 801"/>
                  <a:gd name="T119" fmla="*/ 582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1" h="598">
                    <a:moveTo>
                      <a:pt x="108" y="570"/>
                    </a:moveTo>
                    <a:lnTo>
                      <a:pt x="94" y="570"/>
                    </a:lnTo>
                    <a:lnTo>
                      <a:pt x="80" y="548"/>
                    </a:lnTo>
                    <a:lnTo>
                      <a:pt x="72" y="554"/>
                    </a:lnTo>
                    <a:lnTo>
                      <a:pt x="46" y="530"/>
                    </a:lnTo>
                    <a:lnTo>
                      <a:pt x="28" y="510"/>
                    </a:lnTo>
                    <a:lnTo>
                      <a:pt x="34" y="488"/>
                    </a:lnTo>
                    <a:lnTo>
                      <a:pt x="54" y="482"/>
                    </a:lnTo>
                    <a:lnTo>
                      <a:pt x="62" y="470"/>
                    </a:lnTo>
                    <a:lnTo>
                      <a:pt x="48" y="458"/>
                    </a:lnTo>
                    <a:lnTo>
                      <a:pt x="48" y="430"/>
                    </a:lnTo>
                    <a:lnTo>
                      <a:pt x="40" y="426"/>
                    </a:lnTo>
                    <a:lnTo>
                      <a:pt x="32" y="404"/>
                    </a:lnTo>
                    <a:lnTo>
                      <a:pt x="14" y="404"/>
                    </a:lnTo>
                    <a:lnTo>
                      <a:pt x="0" y="384"/>
                    </a:lnTo>
                    <a:lnTo>
                      <a:pt x="4" y="356"/>
                    </a:lnTo>
                    <a:lnTo>
                      <a:pt x="24" y="330"/>
                    </a:lnTo>
                    <a:lnTo>
                      <a:pt x="46" y="332"/>
                    </a:lnTo>
                    <a:lnTo>
                      <a:pt x="54" y="340"/>
                    </a:lnTo>
                    <a:lnTo>
                      <a:pt x="62" y="344"/>
                    </a:lnTo>
                    <a:lnTo>
                      <a:pt x="66" y="328"/>
                    </a:lnTo>
                    <a:lnTo>
                      <a:pt x="94" y="320"/>
                    </a:lnTo>
                    <a:lnTo>
                      <a:pt x="116" y="298"/>
                    </a:lnTo>
                    <a:lnTo>
                      <a:pt x="100" y="282"/>
                    </a:lnTo>
                    <a:lnTo>
                      <a:pt x="120" y="270"/>
                    </a:lnTo>
                    <a:lnTo>
                      <a:pt x="142" y="278"/>
                    </a:lnTo>
                    <a:lnTo>
                      <a:pt x="148" y="260"/>
                    </a:lnTo>
                    <a:lnTo>
                      <a:pt x="148" y="242"/>
                    </a:lnTo>
                    <a:lnTo>
                      <a:pt x="176" y="242"/>
                    </a:lnTo>
                    <a:lnTo>
                      <a:pt x="190" y="254"/>
                    </a:lnTo>
                    <a:lnTo>
                      <a:pt x="204" y="242"/>
                    </a:lnTo>
                    <a:lnTo>
                      <a:pt x="206" y="228"/>
                    </a:lnTo>
                    <a:lnTo>
                      <a:pt x="236" y="222"/>
                    </a:lnTo>
                    <a:lnTo>
                      <a:pt x="226" y="212"/>
                    </a:lnTo>
                    <a:lnTo>
                      <a:pt x="200" y="202"/>
                    </a:lnTo>
                    <a:lnTo>
                      <a:pt x="200" y="194"/>
                    </a:lnTo>
                    <a:lnTo>
                      <a:pt x="230" y="184"/>
                    </a:lnTo>
                    <a:lnTo>
                      <a:pt x="262" y="176"/>
                    </a:lnTo>
                    <a:lnTo>
                      <a:pt x="278" y="160"/>
                    </a:lnTo>
                    <a:lnTo>
                      <a:pt x="298" y="160"/>
                    </a:lnTo>
                    <a:lnTo>
                      <a:pt x="298" y="146"/>
                    </a:lnTo>
                    <a:lnTo>
                      <a:pt x="328" y="144"/>
                    </a:lnTo>
                    <a:lnTo>
                      <a:pt x="312" y="130"/>
                    </a:lnTo>
                    <a:lnTo>
                      <a:pt x="336" y="128"/>
                    </a:lnTo>
                    <a:lnTo>
                      <a:pt x="346" y="138"/>
                    </a:lnTo>
                    <a:lnTo>
                      <a:pt x="346" y="114"/>
                    </a:lnTo>
                    <a:lnTo>
                      <a:pt x="358" y="102"/>
                    </a:lnTo>
                    <a:lnTo>
                      <a:pt x="344" y="86"/>
                    </a:lnTo>
                    <a:lnTo>
                      <a:pt x="352" y="72"/>
                    </a:lnTo>
                    <a:lnTo>
                      <a:pt x="368" y="86"/>
                    </a:lnTo>
                    <a:lnTo>
                      <a:pt x="386" y="86"/>
                    </a:lnTo>
                    <a:lnTo>
                      <a:pt x="386" y="68"/>
                    </a:lnTo>
                    <a:lnTo>
                      <a:pt x="412" y="78"/>
                    </a:lnTo>
                    <a:lnTo>
                      <a:pt x="426" y="64"/>
                    </a:lnTo>
                    <a:lnTo>
                      <a:pt x="438" y="48"/>
                    </a:lnTo>
                    <a:lnTo>
                      <a:pt x="456" y="48"/>
                    </a:lnTo>
                    <a:lnTo>
                      <a:pt x="484" y="34"/>
                    </a:lnTo>
                    <a:lnTo>
                      <a:pt x="506" y="42"/>
                    </a:lnTo>
                    <a:lnTo>
                      <a:pt x="536" y="42"/>
                    </a:lnTo>
                    <a:lnTo>
                      <a:pt x="557" y="22"/>
                    </a:lnTo>
                    <a:lnTo>
                      <a:pt x="579" y="24"/>
                    </a:lnTo>
                    <a:lnTo>
                      <a:pt x="591" y="40"/>
                    </a:lnTo>
                    <a:lnTo>
                      <a:pt x="617" y="40"/>
                    </a:lnTo>
                    <a:lnTo>
                      <a:pt x="629" y="52"/>
                    </a:lnTo>
                    <a:lnTo>
                      <a:pt x="651" y="46"/>
                    </a:lnTo>
                    <a:lnTo>
                      <a:pt x="681" y="46"/>
                    </a:lnTo>
                    <a:lnTo>
                      <a:pt x="701" y="26"/>
                    </a:lnTo>
                    <a:lnTo>
                      <a:pt x="723" y="12"/>
                    </a:lnTo>
                    <a:lnTo>
                      <a:pt x="755" y="0"/>
                    </a:lnTo>
                    <a:lnTo>
                      <a:pt x="785" y="0"/>
                    </a:lnTo>
                    <a:lnTo>
                      <a:pt x="801" y="28"/>
                    </a:lnTo>
                    <a:lnTo>
                      <a:pt x="801" y="56"/>
                    </a:lnTo>
                    <a:lnTo>
                      <a:pt x="775" y="80"/>
                    </a:lnTo>
                    <a:lnTo>
                      <a:pt x="753" y="102"/>
                    </a:lnTo>
                    <a:lnTo>
                      <a:pt x="723" y="104"/>
                    </a:lnTo>
                    <a:lnTo>
                      <a:pt x="687" y="120"/>
                    </a:lnTo>
                    <a:lnTo>
                      <a:pt x="653" y="108"/>
                    </a:lnTo>
                    <a:lnTo>
                      <a:pt x="639" y="124"/>
                    </a:lnTo>
                    <a:lnTo>
                      <a:pt x="601" y="124"/>
                    </a:lnTo>
                    <a:lnTo>
                      <a:pt x="553" y="124"/>
                    </a:lnTo>
                    <a:lnTo>
                      <a:pt x="532" y="142"/>
                    </a:lnTo>
                    <a:lnTo>
                      <a:pt x="496" y="142"/>
                    </a:lnTo>
                    <a:lnTo>
                      <a:pt x="468" y="158"/>
                    </a:lnTo>
                    <a:lnTo>
                      <a:pt x="476" y="178"/>
                    </a:lnTo>
                    <a:lnTo>
                      <a:pt x="456" y="184"/>
                    </a:lnTo>
                    <a:lnTo>
                      <a:pt x="434" y="182"/>
                    </a:lnTo>
                    <a:lnTo>
                      <a:pt x="414" y="182"/>
                    </a:lnTo>
                    <a:lnTo>
                      <a:pt x="410" y="196"/>
                    </a:lnTo>
                    <a:lnTo>
                      <a:pt x="388" y="190"/>
                    </a:lnTo>
                    <a:lnTo>
                      <a:pt x="388" y="212"/>
                    </a:lnTo>
                    <a:lnTo>
                      <a:pt x="368" y="228"/>
                    </a:lnTo>
                    <a:lnTo>
                      <a:pt x="350" y="240"/>
                    </a:lnTo>
                    <a:lnTo>
                      <a:pt x="350" y="220"/>
                    </a:lnTo>
                    <a:lnTo>
                      <a:pt x="334" y="234"/>
                    </a:lnTo>
                    <a:lnTo>
                      <a:pt x="338" y="258"/>
                    </a:lnTo>
                    <a:lnTo>
                      <a:pt x="324" y="258"/>
                    </a:lnTo>
                    <a:lnTo>
                      <a:pt x="314" y="248"/>
                    </a:lnTo>
                    <a:lnTo>
                      <a:pt x="314" y="258"/>
                    </a:lnTo>
                    <a:lnTo>
                      <a:pt x="314" y="276"/>
                    </a:lnTo>
                    <a:lnTo>
                      <a:pt x="302" y="266"/>
                    </a:lnTo>
                    <a:lnTo>
                      <a:pt x="290" y="280"/>
                    </a:lnTo>
                    <a:lnTo>
                      <a:pt x="278" y="292"/>
                    </a:lnTo>
                    <a:lnTo>
                      <a:pt x="262" y="292"/>
                    </a:lnTo>
                    <a:lnTo>
                      <a:pt x="250" y="306"/>
                    </a:lnTo>
                    <a:lnTo>
                      <a:pt x="234" y="334"/>
                    </a:lnTo>
                    <a:lnTo>
                      <a:pt x="208" y="334"/>
                    </a:lnTo>
                    <a:lnTo>
                      <a:pt x="188" y="350"/>
                    </a:lnTo>
                    <a:lnTo>
                      <a:pt x="188" y="374"/>
                    </a:lnTo>
                    <a:lnTo>
                      <a:pt x="168" y="382"/>
                    </a:lnTo>
                    <a:lnTo>
                      <a:pt x="160" y="406"/>
                    </a:lnTo>
                    <a:lnTo>
                      <a:pt x="144" y="424"/>
                    </a:lnTo>
                    <a:lnTo>
                      <a:pt x="144" y="454"/>
                    </a:lnTo>
                    <a:lnTo>
                      <a:pt x="134" y="476"/>
                    </a:lnTo>
                    <a:lnTo>
                      <a:pt x="146" y="506"/>
                    </a:lnTo>
                    <a:lnTo>
                      <a:pt x="136" y="538"/>
                    </a:lnTo>
                    <a:lnTo>
                      <a:pt x="150" y="558"/>
                    </a:lnTo>
                    <a:lnTo>
                      <a:pt x="156" y="580"/>
                    </a:lnTo>
                    <a:lnTo>
                      <a:pt x="148" y="588"/>
                    </a:lnTo>
                    <a:lnTo>
                      <a:pt x="128" y="598"/>
                    </a:lnTo>
                    <a:lnTo>
                      <a:pt x="128" y="582"/>
                    </a:lnTo>
                    <a:lnTo>
                      <a:pt x="108" y="57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0" name="Freeform 259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 rot="698053">
                <a:off x="6034711" y="1534843"/>
                <a:ext cx="53374" cy="36702"/>
              </a:xfrm>
              <a:custGeom>
                <a:avLst/>
                <a:gdLst>
                  <a:gd name="T0" fmla="*/ 50 w 70"/>
                  <a:gd name="T1" fmla="*/ 2 h 50"/>
                  <a:gd name="T2" fmla="*/ 44 w 70"/>
                  <a:gd name="T3" fmla="*/ 14 h 50"/>
                  <a:gd name="T4" fmla="*/ 18 w 70"/>
                  <a:gd name="T5" fmla="*/ 18 h 50"/>
                  <a:gd name="T6" fmla="*/ 0 w 70"/>
                  <a:gd name="T7" fmla="*/ 28 h 50"/>
                  <a:gd name="T8" fmla="*/ 14 w 70"/>
                  <a:gd name="T9" fmla="*/ 34 h 50"/>
                  <a:gd name="T10" fmla="*/ 8 w 70"/>
                  <a:gd name="T11" fmla="*/ 48 h 50"/>
                  <a:gd name="T12" fmla="*/ 18 w 70"/>
                  <a:gd name="T13" fmla="*/ 50 h 50"/>
                  <a:gd name="T14" fmla="*/ 40 w 70"/>
                  <a:gd name="T15" fmla="*/ 50 h 50"/>
                  <a:gd name="T16" fmla="*/ 58 w 70"/>
                  <a:gd name="T17" fmla="*/ 32 h 50"/>
                  <a:gd name="T18" fmla="*/ 70 w 70"/>
                  <a:gd name="T19" fmla="*/ 20 h 50"/>
                  <a:gd name="T20" fmla="*/ 66 w 70"/>
                  <a:gd name="T21" fmla="*/ 0 h 50"/>
                  <a:gd name="T22" fmla="*/ 50 w 70"/>
                  <a:gd name="T23" fmla="*/ 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0" h="50">
                    <a:moveTo>
                      <a:pt x="50" y="2"/>
                    </a:moveTo>
                    <a:lnTo>
                      <a:pt x="44" y="14"/>
                    </a:lnTo>
                    <a:lnTo>
                      <a:pt x="18" y="18"/>
                    </a:lnTo>
                    <a:lnTo>
                      <a:pt x="0" y="28"/>
                    </a:lnTo>
                    <a:lnTo>
                      <a:pt x="14" y="34"/>
                    </a:lnTo>
                    <a:lnTo>
                      <a:pt x="8" y="48"/>
                    </a:lnTo>
                    <a:lnTo>
                      <a:pt x="18" y="50"/>
                    </a:lnTo>
                    <a:lnTo>
                      <a:pt x="40" y="50"/>
                    </a:lnTo>
                    <a:lnTo>
                      <a:pt x="58" y="32"/>
                    </a:lnTo>
                    <a:lnTo>
                      <a:pt x="70" y="20"/>
                    </a:lnTo>
                    <a:lnTo>
                      <a:pt x="66" y="0"/>
                    </a:lnTo>
                    <a:lnTo>
                      <a:pt x="50" y="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1" name="Freeform 261"/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 rot="698053">
                <a:off x="5973439" y="1521419"/>
                <a:ext cx="53374" cy="45877"/>
              </a:xfrm>
              <a:custGeom>
                <a:avLst/>
                <a:gdLst>
                  <a:gd name="T0" fmla="*/ 32 w 70"/>
                  <a:gd name="T1" fmla="*/ 16 h 62"/>
                  <a:gd name="T2" fmla="*/ 18 w 70"/>
                  <a:gd name="T3" fmla="*/ 0 h 62"/>
                  <a:gd name="T4" fmla="*/ 8 w 70"/>
                  <a:gd name="T5" fmla="*/ 10 h 62"/>
                  <a:gd name="T6" fmla="*/ 0 w 70"/>
                  <a:gd name="T7" fmla="*/ 26 h 62"/>
                  <a:gd name="T8" fmla="*/ 0 w 70"/>
                  <a:gd name="T9" fmla="*/ 46 h 62"/>
                  <a:gd name="T10" fmla="*/ 16 w 70"/>
                  <a:gd name="T11" fmla="*/ 50 h 62"/>
                  <a:gd name="T12" fmla="*/ 20 w 70"/>
                  <a:gd name="T13" fmla="*/ 62 h 62"/>
                  <a:gd name="T14" fmla="*/ 42 w 70"/>
                  <a:gd name="T15" fmla="*/ 56 h 62"/>
                  <a:gd name="T16" fmla="*/ 54 w 70"/>
                  <a:gd name="T17" fmla="*/ 42 h 62"/>
                  <a:gd name="T18" fmla="*/ 64 w 70"/>
                  <a:gd name="T19" fmla="*/ 32 h 62"/>
                  <a:gd name="T20" fmla="*/ 70 w 70"/>
                  <a:gd name="T21" fmla="*/ 16 h 62"/>
                  <a:gd name="T22" fmla="*/ 56 w 70"/>
                  <a:gd name="T23" fmla="*/ 16 h 62"/>
                  <a:gd name="T24" fmla="*/ 32 w 70"/>
                  <a:gd name="T25" fmla="*/ 1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0" h="62">
                    <a:moveTo>
                      <a:pt x="32" y="16"/>
                    </a:moveTo>
                    <a:lnTo>
                      <a:pt x="18" y="0"/>
                    </a:lnTo>
                    <a:lnTo>
                      <a:pt x="8" y="10"/>
                    </a:lnTo>
                    <a:lnTo>
                      <a:pt x="0" y="26"/>
                    </a:lnTo>
                    <a:lnTo>
                      <a:pt x="0" y="46"/>
                    </a:lnTo>
                    <a:lnTo>
                      <a:pt x="16" y="50"/>
                    </a:lnTo>
                    <a:lnTo>
                      <a:pt x="20" y="62"/>
                    </a:lnTo>
                    <a:lnTo>
                      <a:pt x="42" y="56"/>
                    </a:lnTo>
                    <a:lnTo>
                      <a:pt x="54" y="42"/>
                    </a:lnTo>
                    <a:lnTo>
                      <a:pt x="64" y="32"/>
                    </a:lnTo>
                    <a:lnTo>
                      <a:pt x="70" y="16"/>
                    </a:lnTo>
                    <a:lnTo>
                      <a:pt x="56" y="16"/>
                    </a:lnTo>
                    <a:lnTo>
                      <a:pt x="32" y="1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2" name="Freeform 262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 rot="698053">
                <a:off x="5939423" y="1573794"/>
                <a:ext cx="15419" cy="13763"/>
              </a:xfrm>
              <a:custGeom>
                <a:avLst/>
                <a:gdLst>
                  <a:gd name="T0" fmla="*/ 8 w 20"/>
                  <a:gd name="T1" fmla="*/ 0 h 18"/>
                  <a:gd name="T2" fmla="*/ 0 w 20"/>
                  <a:gd name="T3" fmla="*/ 6 h 18"/>
                  <a:gd name="T4" fmla="*/ 0 w 20"/>
                  <a:gd name="T5" fmla="*/ 18 h 18"/>
                  <a:gd name="T6" fmla="*/ 14 w 20"/>
                  <a:gd name="T7" fmla="*/ 18 h 18"/>
                  <a:gd name="T8" fmla="*/ 20 w 20"/>
                  <a:gd name="T9" fmla="*/ 2 h 18"/>
                  <a:gd name="T10" fmla="*/ 8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8" y="0"/>
                    </a:moveTo>
                    <a:lnTo>
                      <a:pt x="0" y="6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3" name="Freeform 263"/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 rot="698053">
                <a:off x="5899590" y="1521274"/>
                <a:ext cx="62862" cy="34408"/>
              </a:xfrm>
              <a:custGeom>
                <a:avLst/>
                <a:gdLst>
                  <a:gd name="T0" fmla="*/ 42 w 82"/>
                  <a:gd name="T1" fmla="*/ 14 h 46"/>
                  <a:gd name="T2" fmla="*/ 34 w 82"/>
                  <a:gd name="T3" fmla="*/ 8 h 46"/>
                  <a:gd name="T4" fmla="*/ 12 w 82"/>
                  <a:gd name="T5" fmla="*/ 8 h 46"/>
                  <a:gd name="T6" fmla="*/ 12 w 82"/>
                  <a:gd name="T7" fmla="*/ 22 h 46"/>
                  <a:gd name="T8" fmla="*/ 0 w 82"/>
                  <a:gd name="T9" fmla="*/ 34 h 46"/>
                  <a:gd name="T10" fmla="*/ 8 w 82"/>
                  <a:gd name="T11" fmla="*/ 42 h 46"/>
                  <a:gd name="T12" fmla="*/ 32 w 82"/>
                  <a:gd name="T13" fmla="*/ 36 h 46"/>
                  <a:gd name="T14" fmla="*/ 40 w 82"/>
                  <a:gd name="T15" fmla="*/ 46 h 46"/>
                  <a:gd name="T16" fmla="*/ 62 w 82"/>
                  <a:gd name="T17" fmla="*/ 40 h 46"/>
                  <a:gd name="T18" fmla="*/ 68 w 82"/>
                  <a:gd name="T19" fmla="*/ 26 h 46"/>
                  <a:gd name="T20" fmla="*/ 82 w 82"/>
                  <a:gd name="T21" fmla="*/ 32 h 46"/>
                  <a:gd name="T22" fmla="*/ 74 w 82"/>
                  <a:gd name="T23" fmla="*/ 14 h 46"/>
                  <a:gd name="T24" fmla="*/ 60 w 82"/>
                  <a:gd name="T25" fmla="*/ 0 h 46"/>
                  <a:gd name="T26" fmla="*/ 42 w 82"/>
                  <a:gd name="T27" fmla="*/ 1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46">
                    <a:moveTo>
                      <a:pt x="42" y="14"/>
                    </a:moveTo>
                    <a:lnTo>
                      <a:pt x="34" y="8"/>
                    </a:lnTo>
                    <a:lnTo>
                      <a:pt x="12" y="8"/>
                    </a:lnTo>
                    <a:lnTo>
                      <a:pt x="12" y="22"/>
                    </a:lnTo>
                    <a:lnTo>
                      <a:pt x="0" y="34"/>
                    </a:lnTo>
                    <a:lnTo>
                      <a:pt x="8" y="42"/>
                    </a:lnTo>
                    <a:lnTo>
                      <a:pt x="32" y="36"/>
                    </a:lnTo>
                    <a:lnTo>
                      <a:pt x="40" y="46"/>
                    </a:lnTo>
                    <a:lnTo>
                      <a:pt x="62" y="40"/>
                    </a:lnTo>
                    <a:lnTo>
                      <a:pt x="68" y="26"/>
                    </a:lnTo>
                    <a:lnTo>
                      <a:pt x="82" y="32"/>
                    </a:lnTo>
                    <a:lnTo>
                      <a:pt x="74" y="14"/>
                    </a:lnTo>
                    <a:lnTo>
                      <a:pt x="60" y="0"/>
                    </a:lnTo>
                    <a:lnTo>
                      <a:pt x="42" y="1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4" name="Freeform 280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 rot="698053">
                <a:off x="5368120" y="2277010"/>
                <a:ext cx="43885" cy="69962"/>
              </a:xfrm>
              <a:custGeom>
                <a:avLst/>
                <a:gdLst>
                  <a:gd name="T0" fmla="*/ 32 w 58"/>
                  <a:gd name="T1" fmla="*/ 0 h 95"/>
                  <a:gd name="T2" fmla="*/ 14 w 58"/>
                  <a:gd name="T3" fmla="*/ 10 h 95"/>
                  <a:gd name="T4" fmla="*/ 0 w 58"/>
                  <a:gd name="T5" fmla="*/ 14 h 95"/>
                  <a:gd name="T6" fmla="*/ 2 w 58"/>
                  <a:gd name="T7" fmla="*/ 47 h 95"/>
                  <a:gd name="T8" fmla="*/ 6 w 58"/>
                  <a:gd name="T9" fmla="*/ 65 h 95"/>
                  <a:gd name="T10" fmla="*/ 18 w 58"/>
                  <a:gd name="T11" fmla="*/ 67 h 95"/>
                  <a:gd name="T12" fmla="*/ 24 w 58"/>
                  <a:gd name="T13" fmla="*/ 93 h 95"/>
                  <a:gd name="T14" fmla="*/ 48 w 58"/>
                  <a:gd name="T15" fmla="*/ 95 h 95"/>
                  <a:gd name="T16" fmla="*/ 58 w 58"/>
                  <a:gd name="T17" fmla="*/ 75 h 95"/>
                  <a:gd name="T18" fmla="*/ 46 w 58"/>
                  <a:gd name="T19" fmla="*/ 55 h 95"/>
                  <a:gd name="T20" fmla="*/ 46 w 58"/>
                  <a:gd name="T21" fmla="*/ 30 h 95"/>
                  <a:gd name="T22" fmla="*/ 32 w 58"/>
                  <a:gd name="T2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8" h="95">
                    <a:moveTo>
                      <a:pt x="32" y="0"/>
                    </a:moveTo>
                    <a:lnTo>
                      <a:pt x="14" y="10"/>
                    </a:lnTo>
                    <a:lnTo>
                      <a:pt x="0" y="14"/>
                    </a:lnTo>
                    <a:lnTo>
                      <a:pt x="2" y="47"/>
                    </a:lnTo>
                    <a:lnTo>
                      <a:pt x="6" y="65"/>
                    </a:lnTo>
                    <a:lnTo>
                      <a:pt x="18" y="67"/>
                    </a:lnTo>
                    <a:lnTo>
                      <a:pt x="24" y="93"/>
                    </a:lnTo>
                    <a:lnTo>
                      <a:pt x="48" y="95"/>
                    </a:lnTo>
                    <a:lnTo>
                      <a:pt x="58" y="75"/>
                    </a:lnTo>
                    <a:lnTo>
                      <a:pt x="46" y="55"/>
                    </a:lnTo>
                    <a:lnTo>
                      <a:pt x="46" y="3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5" name="Freeform 281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 rot="698053">
                <a:off x="5045525" y="2128076"/>
                <a:ext cx="72350" cy="60787"/>
              </a:xfrm>
              <a:custGeom>
                <a:avLst/>
                <a:gdLst>
                  <a:gd name="T0" fmla="*/ 54 w 94"/>
                  <a:gd name="T1" fmla="*/ 0 h 82"/>
                  <a:gd name="T2" fmla="*/ 28 w 94"/>
                  <a:gd name="T3" fmla="*/ 8 h 82"/>
                  <a:gd name="T4" fmla="*/ 12 w 94"/>
                  <a:gd name="T5" fmla="*/ 28 h 82"/>
                  <a:gd name="T6" fmla="*/ 0 w 94"/>
                  <a:gd name="T7" fmla="*/ 44 h 82"/>
                  <a:gd name="T8" fmla="*/ 8 w 94"/>
                  <a:gd name="T9" fmla="*/ 68 h 82"/>
                  <a:gd name="T10" fmla="*/ 28 w 94"/>
                  <a:gd name="T11" fmla="*/ 74 h 82"/>
                  <a:gd name="T12" fmla="*/ 46 w 94"/>
                  <a:gd name="T13" fmla="*/ 82 h 82"/>
                  <a:gd name="T14" fmla="*/ 64 w 94"/>
                  <a:gd name="T15" fmla="*/ 70 h 82"/>
                  <a:gd name="T16" fmla="*/ 84 w 94"/>
                  <a:gd name="T17" fmla="*/ 74 h 82"/>
                  <a:gd name="T18" fmla="*/ 94 w 94"/>
                  <a:gd name="T19" fmla="*/ 48 h 82"/>
                  <a:gd name="T20" fmla="*/ 78 w 94"/>
                  <a:gd name="T21" fmla="*/ 26 h 82"/>
                  <a:gd name="T22" fmla="*/ 76 w 94"/>
                  <a:gd name="T23" fmla="*/ 8 h 82"/>
                  <a:gd name="T24" fmla="*/ 54 w 94"/>
                  <a:gd name="T25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" h="82">
                    <a:moveTo>
                      <a:pt x="54" y="0"/>
                    </a:moveTo>
                    <a:lnTo>
                      <a:pt x="28" y="8"/>
                    </a:lnTo>
                    <a:lnTo>
                      <a:pt x="12" y="28"/>
                    </a:lnTo>
                    <a:lnTo>
                      <a:pt x="0" y="44"/>
                    </a:lnTo>
                    <a:lnTo>
                      <a:pt x="8" y="68"/>
                    </a:lnTo>
                    <a:lnTo>
                      <a:pt x="28" y="74"/>
                    </a:lnTo>
                    <a:lnTo>
                      <a:pt x="46" y="82"/>
                    </a:lnTo>
                    <a:lnTo>
                      <a:pt x="64" y="70"/>
                    </a:lnTo>
                    <a:lnTo>
                      <a:pt x="84" y="74"/>
                    </a:lnTo>
                    <a:lnTo>
                      <a:pt x="94" y="48"/>
                    </a:lnTo>
                    <a:lnTo>
                      <a:pt x="78" y="26"/>
                    </a:lnTo>
                    <a:lnTo>
                      <a:pt x="76" y="8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6" name="Freeform 282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 rot="698053">
                <a:off x="5944395" y="2380311"/>
                <a:ext cx="43885" cy="28673"/>
              </a:xfrm>
              <a:custGeom>
                <a:avLst/>
                <a:gdLst>
                  <a:gd name="T0" fmla="*/ 28 w 58"/>
                  <a:gd name="T1" fmla="*/ 4 h 38"/>
                  <a:gd name="T2" fmla="*/ 16 w 58"/>
                  <a:gd name="T3" fmla="*/ 16 h 38"/>
                  <a:gd name="T4" fmla="*/ 0 w 58"/>
                  <a:gd name="T5" fmla="*/ 28 h 38"/>
                  <a:gd name="T6" fmla="*/ 14 w 58"/>
                  <a:gd name="T7" fmla="*/ 38 h 38"/>
                  <a:gd name="T8" fmla="*/ 26 w 58"/>
                  <a:gd name="T9" fmla="*/ 28 h 38"/>
                  <a:gd name="T10" fmla="*/ 42 w 58"/>
                  <a:gd name="T11" fmla="*/ 28 h 38"/>
                  <a:gd name="T12" fmla="*/ 58 w 58"/>
                  <a:gd name="T13" fmla="*/ 14 h 38"/>
                  <a:gd name="T14" fmla="*/ 44 w 58"/>
                  <a:gd name="T15" fmla="*/ 0 h 38"/>
                  <a:gd name="T16" fmla="*/ 28 w 58"/>
                  <a:gd name="T17" fmla="*/ 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38">
                    <a:moveTo>
                      <a:pt x="28" y="4"/>
                    </a:moveTo>
                    <a:lnTo>
                      <a:pt x="16" y="16"/>
                    </a:lnTo>
                    <a:lnTo>
                      <a:pt x="0" y="28"/>
                    </a:lnTo>
                    <a:lnTo>
                      <a:pt x="14" y="38"/>
                    </a:lnTo>
                    <a:lnTo>
                      <a:pt x="26" y="28"/>
                    </a:lnTo>
                    <a:lnTo>
                      <a:pt x="42" y="28"/>
                    </a:lnTo>
                    <a:lnTo>
                      <a:pt x="58" y="14"/>
                    </a:lnTo>
                    <a:lnTo>
                      <a:pt x="44" y="0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7" name="Freeform 283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 rot="698053">
                <a:off x="5943988" y="2281446"/>
                <a:ext cx="30838" cy="14910"/>
              </a:xfrm>
              <a:custGeom>
                <a:avLst/>
                <a:gdLst>
                  <a:gd name="T0" fmla="*/ 12 w 40"/>
                  <a:gd name="T1" fmla="*/ 0 h 20"/>
                  <a:gd name="T2" fmla="*/ 0 w 40"/>
                  <a:gd name="T3" fmla="*/ 8 h 20"/>
                  <a:gd name="T4" fmla="*/ 8 w 40"/>
                  <a:gd name="T5" fmla="*/ 20 h 20"/>
                  <a:gd name="T6" fmla="*/ 22 w 40"/>
                  <a:gd name="T7" fmla="*/ 10 h 20"/>
                  <a:gd name="T8" fmla="*/ 40 w 40"/>
                  <a:gd name="T9" fmla="*/ 14 h 20"/>
                  <a:gd name="T10" fmla="*/ 36 w 40"/>
                  <a:gd name="T11" fmla="*/ 4 h 20"/>
                  <a:gd name="T12" fmla="*/ 12 w 40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20">
                    <a:moveTo>
                      <a:pt x="12" y="0"/>
                    </a:moveTo>
                    <a:lnTo>
                      <a:pt x="0" y="8"/>
                    </a:lnTo>
                    <a:lnTo>
                      <a:pt x="8" y="20"/>
                    </a:lnTo>
                    <a:lnTo>
                      <a:pt x="22" y="10"/>
                    </a:lnTo>
                    <a:lnTo>
                      <a:pt x="40" y="14"/>
                    </a:lnTo>
                    <a:lnTo>
                      <a:pt x="36" y="4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8" name="Freeform 284"/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auto">
              <a:xfrm rot="698053">
                <a:off x="5900066" y="2306378"/>
                <a:ext cx="15419" cy="17204"/>
              </a:xfrm>
              <a:custGeom>
                <a:avLst/>
                <a:gdLst>
                  <a:gd name="T0" fmla="*/ 6 w 20"/>
                  <a:gd name="T1" fmla="*/ 0 h 24"/>
                  <a:gd name="T2" fmla="*/ 0 w 20"/>
                  <a:gd name="T3" fmla="*/ 16 h 24"/>
                  <a:gd name="T4" fmla="*/ 10 w 20"/>
                  <a:gd name="T5" fmla="*/ 24 h 24"/>
                  <a:gd name="T6" fmla="*/ 20 w 20"/>
                  <a:gd name="T7" fmla="*/ 10 h 24"/>
                  <a:gd name="T8" fmla="*/ 6 w 20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4">
                    <a:moveTo>
                      <a:pt x="6" y="0"/>
                    </a:moveTo>
                    <a:lnTo>
                      <a:pt x="0" y="16"/>
                    </a:lnTo>
                    <a:lnTo>
                      <a:pt x="10" y="24"/>
                    </a:lnTo>
                    <a:lnTo>
                      <a:pt x="20" y="1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9" name="Freeform 285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 rot="698053">
                <a:off x="5803567" y="2226250"/>
                <a:ext cx="42699" cy="37849"/>
              </a:xfrm>
              <a:custGeom>
                <a:avLst/>
                <a:gdLst>
                  <a:gd name="T0" fmla="*/ 18 w 56"/>
                  <a:gd name="T1" fmla="*/ 2 h 52"/>
                  <a:gd name="T2" fmla="*/ 4 w 56"/>
                  <a:gd name="T3" fmla="*/ 12 h 52"/>
                  <a:gd name="T4" fmla="*/ 10 w 56"/>
                  <a:gd name="T5" fmla="*/ 24 h 52"/>
                  <a:gd name="T6" fmla="*/ 0 w 56"/>
                  <a:gd name="T7" fmla="*/ 36 h 52"/>
                  <a:gd name="T8" fmla="*/ 2 w 56"/>
                  <a:gd name="T9" fmla="*/ 46 h 52"/>
                  <a:gd name="T10" fmla="*/ 24 w 56"/>
                  <a:gd name="T11" fmla="*/ 52 h 52"/>
                  <a:gd name="T12" fmla="*/ 44 w 56"/>
                  <a:gd name="T13" fmla="*/ 42 h 52"/>
                  <a:gd name="T14" fmla="*/ 56 w 56"/>
                  <a:gd name="T15" fmla="*/ 42 h 52"/>
                  <a:gd name="T16" fmla="*/ 56 w 56"/>
                  <a:gd name="T17" fmla="*/ 30 h 52"/>
                  <a:gd name="T18" fmla="*/ 38 w 56"/>
                  <a:gd name="T19" fmla="*/ 26 h 52"/>
                  <a:gd name="T20" fmla="*/ 48 w 56"/>
                  <a:gd name="T21" fmla="*/ 16 h 52"/>
                  <a:gd name="T22" fmla="*/ 36 w 56"/>
                  <a:gd name="T23" fmla="*/ 0 h 52"/>
                  <a:gd name="T24" fmla="*/ 22 w 56"/>
                  <a:gd name="T25" fmla="*/ 4 h 52"/>
                  <a:gd name="T26" fmla="*/ 18 w 56"/>
                  <a:gd name="T27" fmla="*/ 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52">
                    <a:moveTo>
                      <a:pt x="18" y="2"/>
                    </a:moveTo>
                    <a:lnTo>
                      <a:pt x="4" y="12"/>
                    </a:lnTo>
                    <a:lnTo>
                      <a:pt x="10" y="24"/>
                    </a:lnTo>
                    <a:lnTo>
                      <a:pt x="0" y="36"/>
                    </a:lnTo>
                    <a:lnTo>
                      <a:pt x="2" y="46"/>
                    </a:lnTo>
                    <a:lnTo>
                      <a:pt x="24" y="52"/>
                    </a:lnTo>
                    <a:lnTo>
                      <a:pt x="44" y="42"/>
                    </a:lnTo>
                    <a:lnTo>
                      <a:pt x="56" y="42"/>
                    </a:lnTo>
                    <a:lnTo>
                      <a:pt x="56" y="30"/>
                    </a:lnTo>
                    <a:lnTo>
                      <a:pt x="38" y="26"/>
                    </a:lnTo>
                    <a:lnTo>
                      <a:pt x="48" y="16"/>
                    </a:lnTo>
                    <a:lnTo>
                      <a:pt x="36" y="0"/>
                    </a:lnTo>
                    <a:lnTo>
                      <a:pt x="22" y="4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0" name="Freeform 286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 rot="698053">
                <a:off x="6755432" y="2093133"/>
                <a:ext cx="13047" cy="10322"/>
              </a:xfrm>
              <a:custGeom>
                <a:avLst/>
                <a:gdLst>
                  <a:gd name="T0" fmla="*/ 6 w 16"/>
                  <a:gd name="T1" fmla="*/ 0 h 14"/>
                  <a:gd name="T2" fmla="*/ 0 w 16"/>
                  <a:gd name="T3" fmla="*/ 8 h 14"/>
                  <a:gd name="T4" fmla="*/ 12 w 16"/>
                  <a:gd name="T5" fmla="*/ 14 h 14"/>
                  <a:gd name="T6" fmla="*/ 16 w 16"/>
                  <a:gd name="T7" fmla="*/ 6 h 14"/>
                  <a:gd name="T8" fmla="*/ 6 w 1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4">
                    <a:moveTo>
                      <a:pt x="6" y="0"/>
                    </a:moveTo>
                    <a:lnTo>
                      <a:pt x="0" y="8"/>
                    </a:lnTo>
                    <a:lnTo>
                      <a:pt x="12" y="14"/>
                    </a:lnTo>
                    <a:lnTo>
                      <a:pt x="16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1" name="Freeform 287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 rot="698053">
                <a:off x="6726606" y="2006982"/>
                <a:ext cx="32024" cy="18352"/>
              </a:xfrm>
              <a:custGeom>
                <a:avLst/>
                <a:gdLst>
                  <a:gd name="T0" fmla="*/ 12 w 42"/>
                  <a:gd name="T1" fmla="*/ 0 h 24"/>
                  <a:gd name="T2" fmla="*/ 0 w 42"/>
                  <a:gd name="T3" fmla="*/ 8 h 24"/>
                  <a:gd name="T4" fmla="*/ 16 w 42"/>
                  <a:gd name="T5" fmla="*/ 16 h 24"/>
                  <a:gd name="T6" fmla="*/ 28 w 42"/>
                  <a:gd name="T7" fmla="*/ 24 h 24"/>
                  <a:gd name="T8" fmla="*/ 42 w 42"/>
                  <a:gd name="T9" fmla="*/ 22 h 24"/>
                  <a:gd name="T10" fmla="*/ 38 w 42"/>
                  <a:gd name="T11" fmla="*/ 6 h 24"/>
                  <a:gd name="T12" fmla="*/ 24 w 42"/>
                  <a:gd name="T13" fmla="*/ 10 h 24"/>
                  <a:gd name="T14" fmla="*/ 12 w 42"/>
                  <a:gd name="T1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24">
                    <a:moveTo>
                      <a:pt x="12" y="0"/>
                    </a:moveTo>
                    <a:lnTo>
                      <a:pt x="0" y="8"/>
                    </a:lnTo>
                    <a:lnTo>
                      <a:pt x="16" y="16"/>
                    </a:lnTo>
                    <a:lnTo>
                      <a:pt x="28" y="24"/>
                    </a:lnTo>
                    <a:lnTo>
                      <a:pt x="42" y="22"/>
                    </a:lnTo>
                    <a:lnTo>
                      <a:pt x="38" y="6"/>
                    </a:lnTo>
                    <a:lnTo>
                      <a:pt x="24" y="1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2" name="Freeform 288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 rot="698053">
                <a:off x="6602212" y="1897354"/>
                <a:ext cx="113863" cy="142219"/>
              </a:xfrm>
              <a:custGeom>
                <a:avLst/>
                <a:gdLst>
                  <a:gd name="T0" fmla="*/ 64 w 148"/>
                  <a:gd name="T1" fmla="*/ 64 h 193"/>
                  <a:gd name="T2" fmla="*/ 64 w 148"/>
                  <a:gd name="T3" fmla="*/ 46 h 193"/>
                  <a:gd name="T4" fmla="*/ 66 w 148"/>
                  <a:gd name="T5" fmla="*/ 16 h 193"/>
                  <a:gd name="T6" fmla="*/ 58 w 148"/>
                  <a:gd name="T7" fmla="*/ 0 h 193"/>
                  <a:gd name="T8" fmla="*/ 46 w 148"/>
                  <a:gd name="T9" fmla="*/ 0 h 193"/>
                  <a:gd name="T10" fmla="*/ 28 w 148"/>
                  <a:gd name="T11" fmla="*/ 22 h 193"/>
                  <a:gd name="T12" fmla="*/ 30 w 148"/>
                  <a:gd name="T13" fmla="*/ 40 h 193"/>
                  <a:gd name="T14" fmla="*/ 22 w 148"/>
                  <a:gd name="T15" fmla="*/ 52 h 193"/>
                  <a:gd name="T16" fmla="*/ 28 w 148"/>
                  <a:gd name="T17" fmla="*/ 85 h 193"/>
                  <a:gd name="T18" fmla="*/ 12 w 148"/>
                  <a:gd name="T19" fmla="*/ 99 h 193"/>
                  <a:gd name="T20" fmla="*/ 14 w 148"/>
                  <a:gd name="T21" fmla="*/ 133 h 193"/>
                  <a:gd name="T22" fmla="*/ 6 w 148"/>
                  <a:gd name="T23" fmla="*/ 161 h 193"/>
                  <a:gd name="T24" fmla="*/ 0 w 148"/>
                  <a:gd name="T25" fmla="*/ 187 h 193"/>
                  <a:gd name="T26" fmla="*/ 12 w 148"/>
                  <a:gd name="T27" fmla="*/ 193 h 193"/>
                  <a:gd name="T28" fmla="*/ 34 w 148"/>
                  <a:gd name="T29" fmla="*/ 175 h 193"/>
                  <a:gd name="T30" fmla="*/ 48 w 148"/>
                  <a:gd name="T31" fmla="*/ 167 h 193"/>
                  <a:gd name="T32" fmla="*/ 78 w 148"/>
                  <a:gd name="T33" fmla="*/ 151 h 193"/>
                  <a:gd name="T34" fmla="*/ 102 w 148"/>
                  <a:gd name="T35" fmla="*/ 149 h 193"/>
                  <a:gd name="T36" fmla="*/ 132 w 148"/>
                  <a:gd name="T37" fmla="*/ 127 h 193"/>
                  <a:gd name="T38" fmla="*/ 148 w 148"/>
                  <a:gd name="T39" fmla="*/ 99 h 193"/>
                  <a:gd name="T40" fmla="*/ 138 w 148"/>
                  <a:gd name="T41" fmla="*/ 74 h 193"/>
                  <a:gd name="T42" fmla="*/ 126 w 148"/>
                  <a:gd name="T43" fmla="*/ 54 h 193"/>
                  <a:gd name="T44" fmla="*/ 112 w 148"/>
                  <a:gd name="T45" fmla="*/ 62 h 193"/>
                  <a:gd name="T46" fmla="*/ 98 w 148"/>
                  <a:gd name="T47" fmla="*/ 36 h 193"/>
                  <a:gd name="T48" fmla="*/ 86 w 148"/>
                  <a:gd name="T49" fmla="*/ 24 h 193"/>
                  <a:gd name="T50" fmla="*/ 74 w 148"/>
                  <a:gd name="T51" fmla="*/ 40 h 193"/>
                  <a:gd name="T52" fmla="*/ 64 w 148"/>
                  <a:gd name="T53" fmla="*/ 64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8" h="193">
                    <a:moveTo>
                      <a:pt x="64" y="64"/>
                    </a:moveTo>
                    <a:lnTo>
                      <a:pt x="64" y="46"/>
                    </a:lnTo>
                    <a:lnTo>
                      <a:pt x="66" y="16"/>
                    </a:lnTo>
                    <a:lnTo>
                      <a:pt x="58" y="0"/>
                    </a:lnTo>
                    <a:lnTo>
                      <a:pt x="46" y="0"/>
                    </a:lnTo>
                    <a:lnTo>
                      <a:pt x="28" y="22"/>
                    </a:lnTo>
                    <a:lnTo>
                      <a:pt x="30" y="40"/>
                    </a:lnTo>
                    <a:lnTo>
                      <a:pt x="22" y="52"/>
                    </a:lnTo>
                    <a:lnTo>
                      <a:pt x="28" y="85"/>
                    </a:lnTo>
                    <a:lnTo>
                      <a:pt x="12" y="99"/>
                    </a:lnTo>
                    <a:lnTo>
                      <a:pt x="14" y="133"/>
                    </a:lnTo>
                    <a:lnTo>
                      <a:pt x="6" y="161"/>
                    </a:lnTo>
                    <a:lnTo>
                      <a:pt x="0" y="187"/>
                    </a:lnTo>
                    <a:lnTo>
                      <a:pt x="12" y="193"/>
                    </a:lnTo>
                    <a:lnTo>
                      <a:pt x="34" y="175"/>
                    </a:lnTo>
                    <a:lnTo>
                      <a:pt x="48" y="167"/>
                    </a:lnTo>
                    <a:lnTo>
                      <a:pt x="78" y="151"/>
                    </a:lnTo>
                    <a:lnTo>
                      <a:pt x="102" y="149"/>
                    </a:lnTo>
                    <a:lnTo>
                      <a:pt x="132" y="127"/>
                    </a:lnTo>
                    <a:lnTo>
                      <a:pt x="148" y="99"/>
                    </a:lnTo>
                    <a:lnTo>
                      <a:pt x="138" y="74"/>
                    </a:lnTo>
                    <a:lnTo>
                      <a:pt x="126" y="54"/>
                    </a:lnTo>
                    <a:lnTo>
                      <a:pt x="112" y="62"/>
                    </a:lnTo>
                    <a:lnTo>
                      <a:pt x="98" y="36"/>
                    </a:lnTo>
                    <a:lnTo>
                      <a:pt x="86" y="24"/>
                    </a:lnTo>
                    <a:lnTo>
                      <a:pt x="74" y="40"/>
                    </a:lnTo>
                    <a:lnTo>
                      <a:pt x="64" y="6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3" name="Freeform 289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 rot="698053">
                <a:off x="6483478" y="1808749"/>
                <a:ext cx="132840" cy="133044"/>
              </a:xfrm>
              <a:custGeom>
                <a:avLst/>
                <a:gdLst>
                  <a:gd name="T0" fmla="*/ 66 w 87"/>
                  <a:gd name="T1" fmla="*/ 10 h 90"/>
                  <a:gd name="T2" fmla="*/ 60 w 87"/>
                  <a:gd name="T3" fmla="*/ 17 h 90"/>
                  <a:gd name="T4" fmla="*/ 56 w 87"/>
                  <a:gd name="T5" fmla="*/ 26 h 90"/>
                  <a:gd name="T6" fmla="*/ 51 w 87"/>
                  <a:gd name="T7" fmla="*/ 24 h 90"/>
                  <a:gd name="T8" fmla="*/ 54 w 87"/>
                  <a:gd name="T9" fmla="*/ 12 h 90"/>
                  <a:gd name="T10" fmla="*/ 54 w 87"/>
                  <a:gd name="T11" fmla="*/ 0 h 90"/>
                  <a:gd name="T12" fmla="*/ 41 w 87"/>
                  <a:gd name="T13" fmla="*/ 5 h 90"/>
                  <a:gd name="T14" fmla="*/ 31 w 87"/>
                  <a:gd name="T15" fmla="*/ 7 h 90"/>
                  <a:gd name="T16" fmla="*/ 21 w 87"/>
                  <a:gd name="T17" fmla="*/ 11 h 90"/>
                  <a:gd name="T18" fmla="*/ 16 w 87"/>
                  <a:gd name="T19" fmla="*/ 20 h 90"/>
                  <a:gd name="T20" fmla="*/ 14 w 87"/>
                  <a:gd name="T21" fmla="*/ 28 h 90"/>
                  <a:gd name="T22" fmla="*/ 8 w 87"/>
                  <a:gd name="T23" fmla="*/ 34 h 90"/>
                  <a:gd name="T24" fmla="*/ 10 w 87"/>
                  <a:gd name="T25" fmla="*/ 42 h 90"/>
                  <a:gd name="T26" fmla="*/ 0 w 87"/>
                  <a:gd name="T27" fmla="*/ 50 h 90"/>
                  <a:gd name="T28" fmla="*/ 5 w 87"/>
                  <a:gd name="T29" fmla="*/ 54 h 90"/>
                  <a:gd name="T30" fmla="*/ 12 w 87"/>
                  <a:gd name="T31" fmla="*/ 52 h 90"/>
                  <a:gd name="T32" fmla="*/ 18 w 87"/>
                  <a:gd name="T33" fmla="*/ 60 h 90"/>
                  <a:gd name="T34" fmla="*/ 19 w 87"/>
                  <a:gd name="T35" fmla="*/ 68 h 90"/>
                  <a:gd name="T36" fmla="*/ 24 w 87"/>
                  <a:gd name="T37" fmla="*/ 75 h 90"/>
                  <a:gd name="T38" fmla="*/ 38 w 87"/>
                  <a:gd name="T39" fmla="*/ 76 h 90"/>
                  <a:gd name="T40" fmla="*/ 40 w 87"/>
                  <a:gd name="T41" fmla="*/ 84 h 90"/>
                  <a:gd name="T42" fmla="*/ 50 w 87"/>
                  <a:gd name="T43" fmla="*/ 78 h 90"/>
                  <a:gd name="T44" fmla="*/ 54 w 87"/>
                  <a:gd name="T45" fmla="*/ 86 h 90"/>
                  <a:gd name="T46" fmla="*/ 68 w 87"/>
                  <a:gd name="T47" fmla="*/ 90 h 90"/>
                  <a:gd name="T48" fmla="*/ 80 w 87"/>
                  <a:gd name="T49" fmla="*/ 84 h 90"/>
                  <a:gd name="T50" fmla="*/ 87 w 87"/>
                  <a:gd name="T51" fmla="*/ 76 h 90"/>
                  <a:gd name="T52" fmla="*/ 82 w 87"/>
                  <a:gd name="T53" fmla="*/ 66 h 90"/>
                  <a:gd name="T54" fmla="*/ 74 w 87"/>
                  <a:gd name="T55" fmla="*/ 55 h 90"/>
                  <a:gd name="T56" fmla="*/ 80 w 87"/>
                  <a:gd name="T57" fmla="*/ 51 h 90"/>
                  <a:gd name="T58" fmla="*/ 82 w 87"/>
                  <a:gd name="T59" fmla="*/ 41 h 90"/>
                  <a:gd name="T60" fmla="*/ 79 w 87"/>
                  <a:gd name="T61" fmla="*/ 29 h 90"/>
                  <a:gd name="T62" fmla="*/ 80 w 87"/>
                  <a:gd name="T63" fmla="*/ 18 h 90"/>
                  <a:gd name="T64" fmla="*/ 66 w 87"/>
                  <a:gd name="T65" fmla="*/ 1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7" h="90">
                    <a:moveTo>
                      <a:pt x="66" y="10"/>
                    </a:moveTo>
                    <a:cubicBezTo>
                      <a:pt x="60" y="17"/>
                      <a:pt x="60" y="17"/>
                      <a:pt x="60" y="17"/>
                    </a:cubicBezTo>
                    <a:cubicBezTo>
                      <a:pt x="56" y="26"/>
                      <a:pt x="56" y="26"/>
                      <a:pt x="56" y="26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1" y="5"/>
                      <a:pt x="33" y="6"/>
                      <a:pt x="31" y="7"/>
                    </a:cubicBezTo>
                    <a:cubicBezTo>
                      <a:pt x="30" y="8"/>
                      <a:pt x="21" y="11"/>
                      <a:pt x="21" y="11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18" y="60"/>
                      <a:pt x="18" y="60"/>
                      <a:pt x="18" y="60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40" y="84"/>
                      <a:pt x="40" y="84"/>
                      <a:pt x="40" y="84"/>
                    </a:cubicBezTo>
                    <a:cubicBezTo>
                      <a:pt x="50" y="78"/>
                      <a:pt x="50" y="78"/>
                      <a:pt x="50" y="78"/>
                    </a:cubicBezTo>
                    <a:cubicBezTo>
                      <a:pt x="54" y="86"/>
                      <a:pt x="54" y="86"/>
                      <a:pt x="54" y="86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80" y="84"/>
                      <a:pt x="80" y="84"/>
                      <a:pt x="80" y="84"/>
                    </a:cubicBezTo>
                    <a:cubicBezTo>
                      <a:pt x="87" y="76"/>
                      <a:pt x="87" y="76"/>
                      <a:pt x="87" y="76"/>
                    </a:cubicBezTo>
                    <a:cubicBezTo>
                      <a:pt x="82" y="66"/>
                      <a:pt x="82" y="66"/>
                      <a:pt x="82" y="66"/>
                    </a:cubicBezTo>
                    <a:cubicBezTo>
                      <a:pt x="74" y="55"/>
                      <a:pt x="74" y="55"/>
                      <a:pt x="74" y="55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2" y="41"/>
                      <a:pt x="82" y="41"/>
                      <a:pt x="82" y="41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80" y="18"/>
                      <a:pt x="80" y="18"/>
                      <a:pt x="80" y="18"/>
                    </a:cubicBezTo>
                    <a:lnTo>
                      <a:pt x="66" y="1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4" name="Freeform 290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 rot="698053">
                <a:off x="6502369" y="2093510"/>
                <a:ext cx="22535" cy="22939"/>
              </a:xfrm>
              <a:custGeom>
                <a:avLst/>
                <a:gdLst>
                  <a:gd name="T0" fmla="*/ 28 w 30"/>
                  <a:gd name="T1" fmla="*/ 0 h 30"/>
                  <a:gd name="T2" fmla="*/ 16 w 30"/>
                  <a:gd name="T3" fmla="*/ 14 h 30"/>
                  <a:gd name="T4" fmla="*/ 0 w 30"/>
                  <a:gd name="T5" fmla="*/ 18 h 30"/>
                  <a:gd name="T6" fmla="*/ 14 w 30"/>
                  <a:gd name="T7" fmla="*/ 30 h 30"/>
                  <a:gd name="T8" fmla="*/ 30 w 30"/>
                  <a:gd name="T9" fmla="*/ 14 h 30"/>
                  <a:gd name="T10" fmla="*/ 28 w 30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0">
                    <a:moveTo>
                      <a:pt x="28" y="0"/>
                    </a:moveTo>
                    <a:lnTo>
                      <a:pt x="16" y="14"/>
                    </a:lnTo>
                    <a:lnTo>
                      <a:pt x="0" y="18"/>
                    </a:lnTo>
                    <a:lnTo>
                      <a:pt x="14" y="30"/>
                    </a:lnTo>
                    <a:lnTo>
                      <a:pt x="30" y="14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5" name="Freeform 291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 rot="698053">
                <a:off x="6369207" y="2060750"/>
                <a:ext cx="14232" cy="11468"/>
              </a:xfrm>
              <a:custGeom>
                <a:avLst/>
                <a:gdLst>
                  <a:gd name="T0" fmla="*/ 6 w 20"/>
                  <a:gd name="T1" fmla="*/ 0 h 16"/>
                  <a:gd name="T2" fmla="*/ 0 w 20"/>
                  <a:gd name="T3" fmla="*/ 10 h 16"/>
                  <a:gd name="T4" fmla="*/ 8 w 20"/>
                  <a:gd name="T5" fmla="*/ 16 h 16"/>
                  <a:gd name="T6" fmla="*/ 20 w 20"/>
                  <a:gd name="T7" fmla="*/ 0 h 16"/>
                  <a:gd name="T8" fmla="*/ 6 w 20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6">
                    <a:moveTo>
                      <a:pt x="6" y="0"/>
                    </a:moveTo>
                    <a:lnTo>
                      <a:pt x="0" y="10"/>
                    </a:lnTo>
                    <a:lnTo>
                      <a:pt x="8" y="16"/>
                    </a:lnTo>
                    <a:lnTo>
                      <a:pt x="2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6" name="Freeform 292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 rot="698053">
                <a:off x="6220359" y="2277399"/>
                <a:ext cx="14232" cy="18352"/>
              </a:xfrm>
              <a:custGeom>
                <a:avLst/>
                <a:gdLst>
                  <a:gd name="T0" fmla="*/ 8 w 9"/>
                  <a:gd name="T1" fmla="*/ 0 h 13"/>
                  <a:gd name="T2" fmla="*/ 0 w 9"/>
                  <a:gd name="T3" fmla="*/ 4 h 13"/>
                  <a:gd name="T4" fmla="*/ 3 w 9"/>
                  <a:gd name="T5" fmla="*/ 12 h 13"/>
                  <a:gd name="T6" fmla="*/ 9 w 9"/>
                  <a:gd name="T7" fmla="*/ 10 h 13"/>
                  <a:gd name="T8" fmla="*/ 8 w 9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3">
                    <a:moveTo>
                      <a:pt x="8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3" y="13"/>
                      <a:pt x="3" y="12"/>
                    </a:cubicBezTo>
                    <a:cubicBezTo>
                      <a:pt x="3" y="11"/>
                      <a:pt x="9" y="10"/>
                      <a:pt x="9" y="10"/>
                    </a:cubicBez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7" name="Freeform 293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 rot="698053">
                <a:off x="6159835" y="2182218"/>
                <a:ext cx="15419" cy="19498"/>
              </a:xfrm>
              <a:custGeom>
                <a:avLst/>
                <a:gdLst>
                  <a:gd name="T0" fmla="*/ 14 w 20"/>
                  <a:gd name="T1" fmla="*/ 0 h 26"/>
                  <a:gd name="T2" fmla="*/ 0 w 20"/>
                  <a:gd name="T3" fmla="*/ 10 h 26"/>
                  <a:gd name="T4" fmla="*/ 8 w 20"/>
                  <a:gd name="T5" fmla="*/ 26 h 26"/>
                  <a:gd name="T6" fmla="*/ 20 w 20"/>
                  <a:gd name="T7" fmla="*/ 24 h 26"/>
                  <a:gd name="T8" fmla="*/ 14 w 20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6">
                    <a:moveTo>
                      <a:pt x="14" y="0"/>
                    </a:moveTo>
                    <a:lnTo>
                      <a:pt x="0" y="10"/>
                    </a:lnTo>
                    <a:lnTo>
                      <a:pt x="8" y="26"/>
                    </a:lnTo>
                    <a:lnTo>
                      <a:pt x="20" y="24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8" name="Freeform 294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 rot="698053">
                <a:off x="6142598" y="2298747"/>
                <a:ext cx="23722" cy="17204"/>
              </a:xfrm>
              <a:custGeom>
                <a:avLst/>
                <a:gdLst>
                  <a:gd name="T0" fmla="*/ 2 w 32"/>
                  <a:gd name="T1" fmla="*/ 0 h 24"/>
                  <a:gd name="T2" fmla="*/ 0 w 32"/>
                  <a:gd name="T3" fmla="*/ 14 h 24"/>
                  <a:gd name="T4" fmla="*/ 20 w 32"/>
                  <a:gd name="T5" fmla="*/ 14 h 24"/>
                  <a:gd name="T6" fmla="*/ 32 w 32"/>
                  <a:gd name="T7" fmla="*/ 24 h 24"/>
                  <a:gd name="T8" fmla="*/ 32 w 32"/>
                  <a:gd name="T9" fmla="*/ 6 h 24"/>
                  <a:gd name="T10" fmla="*/ 20 w 32"/>
                  <a:gd name="T11" fmla="*/ 4 h 24"/>
                  <a:gd name="T12" fmla="*/ 2 w 32"/>
                  <a:gd name="T1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4">
                    <a:moveTo>
                      <a:pt x="2" y="0"/>
                    </a:moveTo>
                    <a:lnTo>
                      <a:pt x="0" y="14"/>
                    </a:lnTo>
                    <a:lnTo>
                      <a:pt x="20" y="14"/>
                    </a:lnTo>
                    <a:lnTo>
                      <a:pt x="32" y="24"/>
                    </a:lnTo>
                    <a:lnTo>
                      <a:pt x="32" y="6"/>
                    </a:lnTo>
                    <a:lnTo>
                      <a:pt x="2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49" name="Freeform 295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 rot="698053">
                <a:off x="6186824" y="1766833"/>
                <a:ext cx="17792" cy="14910"/>
              </a:xfrm>
              <a:custGeom>
                <a:avLst/>
                <a:gdLst>
                  <a:gd name="T0" fmla="*/ 6 w 24"/>
                  <a:gd name="T1" fmla="*/ 0 h 20"/>
                  <a:gd name="T2" fmla="*/ 0 w 24"/>
                  <a:gd name="T3" fmla="*/ 6 h 20"/>
                  <a:gd name="T4" fmla="*/ 8 w 24"/>
                  <a:gd name="T5" fmla="*/ 12 h 20"/>
                  <a:gd name="T6" fmla="*/ 20 w 24"/>
                  <a:gd name="T7" fmla="*/ 20 h 20"/>
                  <a:gd name="T8" fmla="*/ 24 w 24"/>
                  <a:gd name="T9" fmla="*/ 8 h 20"/>
                  <a:gd name="T10" fmla="*/ 6 w 24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0">
                    <a:moveTo>
                      <a:pt x="6" y="0"/>
                    </a:moveTo>
                    <a:lnTo>
                      <a:pt x="0" y="6"/>
                    </a:lnTo>
                    <a:lnTo>
                      <a:pt x="8" y="12"/>
                    </a:lnTo>
                    <a:lnTo>
                      <a:pt x="20" y="20"/>
                    </a:lnTo>
                    <a:lnTo>
                      <a:pt x="24" y="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0" name="Freeform 296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 rot="698053">
                <a:off x="6011903" y="2361248"/>
                <a:ext cx="22535" cy="29820"/>
              </a:xfrm>
              <a:custGeom>
                <a:avLst/>
                <a:gdLst>
                  <a:gd name="T0" fmla="*/ 8 w 30"/>
                  <a:gd name="T1" fmla="*/ 4 h 40"/>
                  <a:gd name="T2" fmla="*/ 0 w 30"/>
                  <a:gd name="T3" fmla="*/ 16 h 40"/>
                  <a:gd name="T4" fmla="*/ 4 w 30"/>
                  <a:gd name="T5" fmla="*/ 30 h 40"/>
                  <a:gd name="T6" fmla="*/ 14 w 30"/>
                  <a:gd name="T7" fmla="*/ 40 h 40"/>
                  <a:gd name="T8" fmla="*/ 26 w 30"/>
                  <a:gd name="T9" fmla="*/ 28 h 40"/>
                  <a:gd name="T10" fmla="*/ 30 w 30"/>
                  <a:gd name="T11" fmla="*/ 12 h 40"/>
                  <a:gd name="T12" fmla="*/ 20 w 30"/>
                  <a:gd name="T13" fmla="*/ 0 h 40"/>
                  <a:gd name="T14" fmla="*/ 8 w 30"/>
                  <a:gd name="T15" fmla="*/ 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40">
                    <a:moveTo>
                      <a:pt x="8" y="4"/>
                    </a:moveTo>
                    <a:lnTo>
                      <a:pt x="0" y="16"/>
                    </a:lnTo>
                    <a:lnTo>
                      <a:pt x="4" y="30"/>
                    </a:lnTo>
                    <a:lnTo>
                      <a:pt x="14" y="40"/>
                    </a:lnTo>
                    <a:lnTo>
                      <a:pt x="26" y="28"/>
                    </a:lnTo>
                    <a:lnTo>
                      <a:pt x="30" y="12"/>
                    </a:lnTo>
                    <a:lnTo>
                      <a:pt x="20" y="0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1" name="Freeform 297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 rot="698053">
                <a:off x="6277414" y="1668154"/>
                <a:ext cx="24908" cy="13763"/>
              </a:xfrm>
              <a:custGeom>
                <a:avLst/>
                <a:gdLst>
                  <a:gd name="T0" fmla="*/ 16 w 32"/>
                  <a:gd name="T1" fmla="*/ 0 h 18"/>
                  <a:gd name="T2" fmla="*/ 6 w 32"/>
                  <a:gd name="T3" fmla="*/ 2 h 18"/>
                  <a:gd name="T4" fmla="*/ 0 w 32"/>
                  <a:gd name="T5" fmla="*/ 8 h 18"/>
                  <a:gd name="T6" fmla="*/ 10 w 32"/>
                  <a:gd name="T7" fmla="*/ 18 h 18"/>
                  <a:gd name="T8" fmla="*/ 24 w 32"/>
                  <a:gd name="T9" fmla="*/ 14 h 18"/>
                  <a:gd name="T10" fmla="*/ 32 w 32"/>
                  <a:gd name="T11" fmla="*/ 6 h 18"/>
                  <a:gd name="T12" fmla="*/ 16 w 32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8">
                    <a:moveTo>
                      <a:pt x="16" y="0"/>
                    </a:moveTo>
                    <a:lnTo>
                      <a:pt x="6" y="2"/>
                    </a:lnTo>
                    <a:lnTo>
                      <a:pt x="0" y="8"/>
                    </a:lnTo>
                    <a:lnTo>
                      <a:pt x="10" y="18"/>
                    </a:lnTo>
                    <a:lnTo>
                      <a:pt x="24" y="14"/>
                    </a:lnTo>
                    <a:lnTo>
                      <a:pt x="32" y="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2" name="Freeform 298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 rot="698053">
                <a:off x="6457553" y="1692465"/>
                <a:ext cx="22535" cy="18352"/>
              </a:xfrm>
              <a:custGeom>
                <a:avLst/>
                <a:gdLst>
                  <a:gd name="T0" fmla="*/ 10 w 30"/>
                  <a:gd name="T1" fmla="*/ 0 h 24"/>
                  <a:gd name="T2" fmla="*/ 0 w 30"/>
                  <a:gd name="T3" fmla="*/ 10 h 24"/>
                  <a:gd name="T4" fmla="*/ 8 w 30"/>
                  <a:gd name="T5" fmla="*/ 16 h 24"/>
                  <a:gd name="T6" fmla="*/ 14 w 30"/>
                  <a:gd name="T7" fmla="*/ 24 h 24"/>
                  <a:gd name="T8" fmla="*/ 30 w 30"/>
                  <a:gd name="T9" fmla="*/ 10 h 24"/>
                  <a:gd name="T10" fmla="*/ 30 w 30"/>
                  <a:gd name="T11" fmla="*/ 0 h 24"/>
                  <a:gd name="T12" fmla="*/ 10 w 30"/>
                  <a:gd name="T1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24">
                    <a:moveTo>
                      <a:pt x="10" y="0"/>
                    </a:moveTo>
                    <a:lnTo>
                      <a:pt x="0" y="10"/>
                    </a:lnTo>
                    <a:lnTo>
                      <a:pt x="8" y="16"/>
                    </a:lnTo>
                    <a:lnTo>
                      <a:pt x="14" y="24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3" name="Freeform 299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 rot="698053">
                <a:off x="6480873" y="1697878"/>
                <a:ext cx="99631" cy="126162"/>
              </a:xfrm>
              <a:custGeom>
                <a:avLst/>
                <a:gdLst>
                  <a:gd name="T0" fmla="*/ 62 w 130"/>
                  <a:gd name="T1" fmla="*/ 0 h 170"/>
                  <a:gd name="T2" fmla="*/ 58 w 130"/>
                  <a:gd name="T3" fmla="*/ 20 h 170"/>
                  <a:gd name="T4" fmla="*/ 40 w 130"/>
                  <a:gd name="T5" fmla="*/ 28 h 170"/>
                  <a:gd name="T6" fmla="*/ 14 w 130"/>
                  <a:gd name="T7" fmla="*/ 46 h 170"/>
                  <a:gd name="T8" fmla="*/ 14 w 130"/>
                  <a:gd name="T9" fmla="*/ 70 h 170"/>
                  <a:gd name="T10" fmla="*/ 24 w 130"/>
                  <a:gd name="T11" fmla="*/ 82 h 170"/>
                  <a:gd name="T12" fmla="*/ 10 w 130"/>
                  <a:gd name="T13" fmla="*/ 96 h 170"/>
                  <a:gd name="T14" fmla="*/ 0 w 130"/>
                  <a:gd name="T15" fmla="*/ 114 h 170"/>
                  <a:gd name="T16" fmla="*/ 14 w 130"/>
                  <a:gd name="T17" fmla="*/ 132 h 170"/>
                  <a:gd name="T18" fmla="*/ 18 w 130"/>
                  <a:gd name="T19" fmla="*/ 150 h 170"/>
                  <a:gd name="T20" fmla="*/ 42 w 130"/>
                  <a:gd name="T21" fmla="*/ 170 h 170"/>
                  <a:gd name="T22" fmla="*/ 62 w 130"/>
                  <a:gd name="T23" fmla="*/ 150 h 170"/>
                  <a:gd name="T24" fmla="*/ 76 w 130"/>
                  <a:gd name="T25" fmla="*/ 150 h 170"/>
                  <a:gd name="T26" fmla="*/ 98 w 130"/>
                  <a:gd name="T27" fmla="*/ 138 h 170"/>
                  <a:gd name="T28" fmla="*/ 122 w 130"/>
                  <a:gd name="T29" fmla="*/ 130 h 170"/>
                  <a:gd name="T30" fmla="*/ 116 w 130"/>
                  <a:gd name="T31" fmla="*/ 106 h 170"/>
                  <a:gd name="T32" fmla="*/ 116 w 130"/>
                  <a:gd name="T33" fmla="*/ 76 h 170"/>
                  <a:gd name="T34" fmla="*/ 130 w 130"/>
                  <a:gd name="T35" fmla="*/ 64 h 170"/>
                  <a:gd name="T36" fmla="*/ 118 w 130"/>
                  <a:gd name="T37" fmla="*/ 50 h 170"/>
                  <a:gd name="T38" fmla="*/ 92 w 130"/>
                  <a:gd name="T39" fmla="*/ 26 h 170"/>
                  <a:gd name="T40" fmla="*/ 84 w 130"/>
                  <a:gd name="T41" fmla="*/ 6 h 170"/>
                  <a:gd name="T42" fmla="*/ 62 w 130"/>
                  <a:gd name="T43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0" h="170">
                    <a:moveTo>
                      <a:pt x="62" y="0"/>
                    </a:moveTo>
                    <a:lnTo>
                      <a:pt x="58" y="20"/>
                    </a:lnTo>
                    <a:lnTo>
                      <a:pt x="40" y="28"/>
                    </a:lnTo>
                    <a:lnTo>
                      <a:pt x="14" y="46"/>
                    </a:lnTo>
                    <a:lnTo>
                      <a:pt x="14" y="70"/>
                    </a:lnTo>
                    <a:lnTo>
                      <a:pt x="24" y="82"/>
                    </a:lnTo>
                    <a:lnTo>
                      <a:pt x="10" y="96"/>
                    </a:lnTo>
                    <a:lnTo>
                      <a:pt x="0" y="114"/>
                    </a:lnTo>
                    <a:lnTo>
                      <a:pt x="14" y="132"/>
                    </a:lnTo>
                    <a:lnTo>
                      <a:pt x="18" y="150"/>
                    </a:lnTo>
                    <a:lnTo>
                      <a:pt x="42" y="170"/>
                    </a:lnTo>
                    <a:lnTo>
                      <a:pt x="62" y="150"/>
                    </a:lnTo>
                    <a:lnTo>
                      <a:pt x="76" y="150"/>
                    </a:lnTo>
                    <a:lnTo>
                      <a:pt x="98" y="138"/>
                    </a:lnTo>
                    <a:lnTo>
                      <a:pt x="122" y="130"/>
                    </a:lnTo>
                    <a:lnTo>
                      <a:pt x="116" y="106"/>
                    </a:lnTo>
                    <a:lnTo>
                      <a:pt x="116" y="76"/>
                    </a:lnTo>
                    <a:lnTo>
                      <a:pt x="130" y="64"/>
                    </a:lnTo>
                    <a:lnTo>
                      <a:pt x="118" y="50"/>
                    </a:lnTo>
                    <a:lnTo>
                      <a:pt x="92" y="26"/>
                    </a:lnTo>
                    <a:lnTo>
                      <a:pt x="84" y="6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4" name="Freeform 300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 rot="698053">
                <a:off x="6456553" y="1809287"/>
                <a:ext cx="41513" cy="36702"/>
              </a:xfrm>
              <a:custGeom>
                <a:avLst/>
                <a:gdLst>
                  <a:gd name="T0" fmla="*/ 16 w 54"/>
                  <a:gd name="T1" fmla="*/ 2 h 50"/>
                  <a:gd name="T2" fmla="*/ 0 w 54"/>
                  <a:gd name="T3" fmla="*/ 0 h 50"/>
                  <a:gd name="T4" fmla="*/ 2 w 54"/>
                  <a:gd name="T5" fmla="*/ 22 h 50"/>
                  <a:gd name="T6" fmla="*/ 2 w 54"/>
                  <a:gd name="T7" fmla="*/ 36 h 50"/>
                  <a:gd name="T8" fmla="*/ 24 w 54"/>
                  <a:gd name="T9" fmla="*/ 42 h 50"/>
                  <a:gd name="T10" fmla="*/ 34 w 54"/>
                  <a:gd name="T11" fmla="*/ 50 h 50"/>
                  <a:gd name="T12" fmla="*/ 46 w 54"/>
                  <a:gd name="T13" fmla="*/ 36 h 50"/>
                  <a:gd name="T14" fmla="*/ 54 w 54"/>
                  <a:gd name="T15" fmla="*/ 18 h 50"/>
                  <a:gd name="T16" fmla="*/ 42 w 54"/>
                  <a:gd name="T17" fmla="*/ 8 h 50"/>
                  <a:gd name="T18" fmla="*/ 16 w 54"/>
                  <a:gd name="T19" fmla="*/ 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50">
                    <a:moveTo>
                      <a:pt x="16" y="2"/>
                    </a:moveTo>
                    <a:lnTo>
                      <a:pt x="0" y="0"/>
                    </a:lnTo>
                    <a:lnTo>
                      <a:pt x="2" y="22"/>
                    </a:lnTo>
                    <a:lnTo>
                      <a:pt x="2" y="36"/>
                    </a:lnTo>
                    <a:lnTo>
                      <a:pt x="24" y="42"/>
                    </a:lnTo>
                    <a:lnTo>
                      <a:pt x="34" y="50"/>
                    </a:lnTo>
                    <a:lnTo>
                      <a:pt x="46" y="36"/>
                    </a:lnTo>
                    <a:lnTo>
                      <a:pt x="54" y="18"/>
                    </a:lnTo>
                    <a:lnTo>
                      <a:pt x="42" y="8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5" name="Freeform 301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 rot="698053">
                <a:off x="6193609" y="2137272"/>
                <a:ext cx="18977" cy="10322"/>
              </a:xfrm>
              <a:custGeom>
                <a:avLst/>
                <a:gdLst>
                  <a:gd name="T0" fmla="*/ 8 w 24"/>
                  <a:gd name="T1" fmla="*/ 0 h 14"/>
                  <a:gd name="T2" fmla="*/ 0 w 24"/>
                  <a:gd name="T3" fmla="*/ 6 h 14"/>
                  <a:gd name="T4" fmla="*/ 10 w 24"/>
                  <a:gd name="T5" fmla="*/ 14 h 14"/>
                  <a:gd name="T6" fmla="*/ 24 w 24"/>
                  <a:gd name="T7" fmla="*/ 10 h 14"/>
                  <a:gd name="T8" fmla="*/ 8 w 24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4">
                    <a:moveTo>
                      <a:pt x="8" y="0"/>
                    </a:moveTo>
                    <a:lnTo>
                      <a:pt x="0" y="6"/>
                    </a:lnTo>
                    <a:lnTo>
                      <a:pt x="10" y="14"/>
                    </a:lnTo>
                    <a:lnTo>
                      <a:pt x="24" y="1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6" name="Freeform 302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 rot="698053">
                <a:off x="6890720" y="2352699"/>
                <a:ext cx="43885" cy="40142"/>
              </a:xfrm>
              <a:custGeom>
                <a:avLst/>
                <a:gdLst>
                  <a:gd name="T0" fmla="*/ 22 w 58"/>
                  <a:gd name="T1" fmla="*/ 2 h 54"/>
                  <a:gd name="T2" fmla="*/ 0 w 58"/>
                  <a:gd name="T3" fmla="*/ 26 h 54"/>
                  <a:gd name="T4" fmla="*/ 0 w 58"/>
                  <a:gd name="T5" fmla="*/ 40 h 54"/>
                  <a:gd name="T6" fmla="*/ 18 w 58"/>
                  <a:gd name="T7" fmla="*/ 40 h 54"/>
                  <a:gd name="T8" fmla="*/ 24 w 58"/>
                  <a:gd name="T9" fmla="*/ 54 h 54"/>
                  <a:gd name="T10" fmla="*/ 40 w 58"/>
                  <a:gd name="T11" fmla="*/ 48 h 54"/>
                  <a:gd name="T12" fmla="*/ 58 w 58"/>
                  <a:gd name="T13" fmla="*/ 30 h 54"/>
                  <a:gd name="T14" fmla="*/ 58 w 58"/>
                  <a:gd name="T15" fmla="*/ 0 h 54"/>
                  <a:gd name="T16" fmla="*/ 34 w 58"/>
                  <a:gd name="T17" fmla="*/ 0 h 54"/>
                  <a:gd name="T18" fmla="*/ 22 w 58"/>
                  <a:gd name="T19" fmla="*/ 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4">
                    <a:moveTo>
                      <a:pt x="22" y="2"/>
                    </a:moveTo>
                    <a:lnTo>
                      <a:pt x="0" y="26"/>
                    </a:lnTo>
                    <a:lnTo>
                      <a:pt x="0" y="40"/>
                    </a:lnTo>
                    <a:lnTo>
                      <a:pt x="18" y="40"/>
                    </a:lnTo>
                    <a:lnTo>
                      <a:pt x="24" y="54"/>
                    </a:lnTo>
                    <a:lnTo>
                      <a:pt x="40" y="48"/>
                    </a:lnTo>
                    <a:lnTo>
                      <a:pt x="58" y="30"/>
                    </a:lnTo>
                    <a:lnTo>
                      <a:pt x="58" y="0"/>
                    </a:lnTo>
                    <a:lnTo>
                      <a:pt x="34" y="0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7" name="Freeform 303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 rot="698053">
                <a:off x="7642052" y="1961309"/>
                <a:ext cx="116235" cy="81432"/>
              </a:xfrm>
              <a:custGeom>
                <a:avLst/>
                <a:gdLst>
                  <a:gd name="T0" fmla="*/ 4 w 152"/>
                  <a:gd name="T1" fmla="*/ 72 h 110"/>
                  <a:gd name="T2" fmla="*/ 0 w 152"/>
                  <a:gd name="T3" fmla="*/ 62 h 110"/>
                  <a:gd name="T4" fmla="*/ 20 w 152"/>
                  <a:gd name="T5" fmla="*/ 70 h 110"/>
                  <a:gd name="T6" fmla="*/ 28 w 152"/>
                  <a:gd name="T7" fmla="*/ 62 h 110"/>
                  <a:gd name="T8" fmla="*/ 40 w 152"/>
                  <a:gd name="T9" fmla="*/ 50 h 110"/>
                  <a:gd name="T10" fmla="*/ 60 w 152"/>
                  <a:gd name="T11" fmla="*/ 30 h 110"/>
                  <a:gd name="T12" fmla="*/ 72 w 152"/>
                  <a:gd name="T13" fmla="*/ 44 h 110"/>
                  <a:gd name="T14" fmla="*/ 78 w 152"/>
                  <a:gd name="T15" fmla="*/ 44 h 110"/>
                  <a:gd name="T16" fmla="*/ 92 w 152"/>
                  <a:gd name="T17" fmla="*/ 30 h 110"/>
                  <a:gd name="T18" fmla="*/ 106 w 152"/>
                  <a:gd name="T19" fmla="*/ 12 h 110"/>
                  <a:gd name="T20" fmla="*/ 132 w 152"/>
                  <a:gd name="T21" fmla="*/ 0 h 110"/>
                  <a:gd name="T22" fmla="*/ 152 w 152"/>
                  <a:gd name="T23" fmla="*/ 16 h 110"/>
                  <a:gd name="T24" fmla="*/ 142 w 152"/>
                  <a:gd name="T25" fmla="*/ 46 h 110"/>
                  <a:gd name="T26" fmla="*/ 142 w 152"/>
                  <a:gd name="T27" fmla="*/ 62 h 110"/>
                  <a:gd name="T28" fmla="*/ 128 w 152"/>
                  <a:gd name="T29" fmla="*/ 76 h 110"/>
                  <a:gd name="T30" fmla="*/ 108 w 152"/>
                  <a:gd name="T31" fmla="*/ 84 h 110"/>
                  <a:gd name="T32" fmla="*/ 86 w 152"/>
                  <a:gd name="T33" fmla="*/ 92 h 110"/>
                  <a:gd name="T34" fmla="*/ 66 w 152"/>
                  <a:gd name="T35" fmla="*/ 92 h 110"/>
                  <a:gd name="T36" fmla="*/ 48 w 152"/>
                  <a:gd name="T37" fmla="*/ 110 h 110"/>
                  <a:gd name="T38" fmla="*/ 22 w 152"/>
                  <a:gd name="T39" fmla="*/ 100 h 110"/>
                  <a:gd name="T40" fmla="*/ 10 w 152"/>
                  <a:gd name="T41" fmla="*/ 80 h 110"/>
                  <a:gd name="T42" fmla="*/ 4 w 152"/>
                  <a:gd name="T43" fmla="*/ 7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2" h="110">
                    <a:moveTo>
                      <a:pt x="4" y="72"/>
                    </a:moveTo>
                    <a:lnTo>
                      <a:pt x="0" y="62"/>
                    </a:lnTo>
                    <a:lnTo>
                      <a:pt x="20" y="70"/>
                    </a:lnTo>
                    <a:lnTo>
                      <a:pt x="28" y="62"/>
                    </a:lnTo>
                    <a:lnTo>
                      <a:pt x="40" y="50"/>
                    </a:lnTo>
                    <a:lnTo>
                      <a:pt x="60" y="30"/>
                    </a:lnTo>
                    <a:lnTo>
                      <a:pt x="72" y="44"/>
                    </a:lnTo>
                    <a:lnTo>
                      <a:pt x="78" y="44"/>
                    </a:lnTo>
                    <a:lnTo>
                      <a:pt x="92" y="30"/>
                    </a:lnTo>
                    <a:lnTo>
                      <a:pt x="106" y="12"/>
                    </a:lnTo>
                    <a:lnTo>
                      <a:pt x="132" y="0"/>
                    </a:lnTo>
                    <a:lnTo>
                      <a:pt x="152" y="16"/>
                    </a:lnTo>
                    <a:lnTo>
                      <a:pt x="142" y="46"/>
                    </a:lnTo>
                    <a:lnTo>
                      <a:pt x="142" y="62"/>
                    </a:lnTo>
                    <a:lnTo>
                      <a:pt x="128" y="76"/>
                    </a:lnTo>
                    <a:lnTo>
                      <a:pt x="108" y="84"/>
                    </a:lnTo>
                    <a:lnTo>
                      <a:pt x="86" y="92"/>
                    </a:lnTo>
                    <a:lnTo>
                      <a:pt x="66" y="92"/>
                    </a:lnTo>
                    <a:lnTo>
                      <a:pt x="48" y="110"/>
                    </a:lnTo>
                    <a:lnTo>
                      <a:pt x="22" y="100"/>
                    </a:lnTo>
                    <a:lnTo>
                      <a:pt x="10" y="80"/>
                    </a:lnTo>
                    <a:lnTo>
                      <a:pt x="4" y="7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304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 rot="698053">
                <a:off x="7439341" y="1994785"/>
                <a:ext cx="180283" cy="165157"/>
              </a:xfrm>
              <a:custGeom>
                <a:avLst/>
                <a:gdLst>
                  <a:gd name="T0" fmla="*/ 201 w 237"/>
                  <a:gd name="T1" fmla="*/ 6 h 223"/>
                  <a:gd name="T2" fmla="*/ 163 w 237"/>
                  <a:gd name="T3" fmla="*/ 6 h 223"/>
                  <a:gd name="T4" fmla="*/ 151 w 237"/>
                  <a:gd name="T5" fmla="*/ 18 h 223"/>
                  <a:gd name="T6" fmla="*/ 131 w 237"/>
                  <a:gd name="T7" fmla="*/ 32 h 223"/>
                  <a:gd name="T8" fmla="*/ 115 w 237"/>
                  <a:gd name="T9" fmla="*/ 18 h 223"/>
                  <a:gd name="T10" fmla="*/ 81 w 237"/>
                  <a:gd name="T11" fmla="*/ 28 h 223"/>
                  <a:gd name="T12" fmla="*/ 83 w 237"/>
                  <a:gd name="T13" fmla="*/ 50 h 223"/>
                  <a:gd name="T14" fmla="*/ 93 w 237"/>
                  <a:gd name="T15" fmla="*/ 60 h 223"/>
                  <a:gd name="T16" fmla="*/ 105 w 237"/>
                  <a:gd name="T17" fmla="*/ 72 h 223"/>
                  <a:gd name="T18" fmla="*/ 115 w 237"/>
                  <a:gd name="T19" fmla="*/ 82 h 223"/>
                  <a:gd name="T20" fmla="*/ 101 w 237"/>
                  <a:gd name="T21" fmla="*/ 92 h 223"/>
                  <a:gd name="T22" fmla="*/ 83 w 237"/>
                  <a:gd name="T23" fmla="*/ 76 h 223"/>
                  <a:gd name="T24" fmla="*/ 73 w 237"/>
                  <a:gd name="T25" fmla="*/ 86 h 223"/>
                  <a:gd name="T26" fmla="*/ 61 w 237"/>
                  <a:gd name="T27" fmla="*/ 74 h 223"/>
                  <a:gd name="T28" fmla="*/ 29 w 237"/>
                  <a:gd name="T29" fmla="*/ 80 h 223"/>
                  <a:gd name="T30" fmla="*/ 17 w 237"/>
                  <a:gd name="T31" fmla="*/ 72 h 223"/>
                  <a:gd name="T32" fmla="*/ 10 w 237"/>
                  <a:gd name="T33" fmla="*/ 88 h 223"/>
                  <a:gd name="T34" fmla="*/ 21 w 237"/>
                  <a:gd name="T35" fmla="*/ 98 h 223"/>
                  <a:gd name="T36" fmla="*/ 0 w 237"/>
                  <a:gd name="T37" fmla="*/ 108 h 223"/>
                  <a:gd name="T38" fmla="*/ 0 w 237"/>
                  <a:gd name="T39" fmla="*/ 130 h 223"/>
                  <a:gd name="T40" fmla="*/ 17 w 237"/>
                  <a:gd name="T41" fmla="*/ 144 h 223"/>
                  <a:gd name="T42" fmla="*/ 12 w 237"/>
                  <a:gd name="T43" fmla="*/ 162 h 223"/>
                  <a:gd name="T44" fmla="*/ 27 w 237"/>
                  <a:gd name="T45" fmla="*/ 162 h 223"/>
                  <a:gd name="T46" fmla="*/ 43 w 237"/>
                  <a:gd name="T47" fmla="*/ 178 h 223"/>
                  <a:gd name="T48" fmla="*/ 39 w 237"/>
                  <a:gd name="T49" fmla="*/ 198 h 223"/>
                  <a:gd name="T50" fmla="*/ 61 w 237"/>
                  <a:gd name="T51" fmla="*/ 209 h 223"/>
                  <a:gd name="T52" fmla="*/ 89 w 237"/>
                  <a:gd name="T53" fmla="*/ 211 h 223"/>
                  <a:gd name="T54" fmla="*/ 101 w 237"/>
                  <a:gd name="T55" fmla="*/ 223 h 223"/>
                  <a:gd name="T56" fmla="*/ 123 w 237"/>
                  <a:gd name="T57" fmla="*/ 223 h 223"/>
                  <a:gd name="T58" fmla="*/ 149 w 237"/>
                  <a:gd name="T59" fmla="*/ 215 h 223"/>
                  <a:gd name="T60" fmla="*/ 149 w 237"/>
                  <a:gd name="T61" fmla="*/ 196 h 223"/>
                  <a:gd name="T62" fmla="*/ 133 w 237"/>
                  <a:gd name="T63" fmla="*/ 180 h 223"/>
                  <a:gd name="T64" fmla="*/ 141 w 237"/>
                  <a:gd name="T65" fmla="*/ 172 h 223"/>
                  <a:gd name="T66" fmla="*/ 153 w 237"/>
                  <a:gd name="T67" fmla="*/ 186 h 223"/>
                  <a:gd name="T68" fmla="*/ 177 w 237"/>
                  <a:gd name="T69" fmla="*/ 144 h 223"/>
                  <a:gd name="T70" fmla="*/ 197 w 237"/>
                  <a:gd name="T71" fmla="*/ 124 h 223"/>
                  <a:gd name="T72" fmla="*/ 207 w 237"/>
                  <a:gd name="T73" fmla="*/ 132 h 223"/>
                  <a:gd name="T74" fmla="*/ 225 w 237"/>
                  <a:gd name="T75" fmla="*/ 114 h 223"/>
                  <a:gd name="T76" fmla="*/ 231 w 237"/>
                  <a:gd name="T77" fmla="*/ 96 h 223"/>
                  <a:gd name="T78" fmla="*/ 211 w 237"/>
                  <a:gd name="T79" fmla="*/ 88 h 223"/>
                  <a:gd name="T80" fmla="*/ 195 w 237"/>
                  <a:gd name="T81" fmla="*/ 102 h 223"/>
                  <a:gd name="T82" fmla="*/ 177 w 237"/>
                  <a:gd name="T83" fmla="*/ 90 h 223"/>
                  <a:gd name="T84" fmla="*/ 155 w 237"/>
                  <a:gd name="T85" fmla="*/ 76 h 223"/>
                  <a:gd name="T86" fmla="*/ 133 w 237"/>
                  <a:gd name="T87" fmla="*/ 60 h 223"/>
                  <a:gd name="T88" fmla="*/ 141 w 237"/>
                  <a:gd name="T89" fmla="*/ 44 h 223"/>
                  <a:gd name="T90" fmla="*/ 153 w 237"/>
                  <a:gd name="T91" fmla="*/ 32 h 223"/>
                  <a:gd name="T92" fmla="*/ 161 w 237"/>
                  <a:gd name="T93" fmla="*/ 64 h 223"/>
                  <a:gd name="T94" fmla="*/ 175 w 237"/>
                  <a:gd name="T95" fmla="*/ 78 h 223"/>
                  <a:gd name="T96" fmla="*/ 199 w 237"/>
                  <a:gd name="T97" fmla="*/ 82 h 223"/>
                  <a:gd name="T98" fmla="*/ 213 w 237"/>
                  <a:gd name="T99" fmla="*/ 76 h 223"/>
                  <a:gd name="T100" fmla="*/ 225 w 237"/>
                  <a:gd name="T101" fmla="*/ 76 h 223"/>
                  <a:gd name="T102" fmla="*/ 237 w 237"/>
                  <a:gd name="T103" fmla="*/ 64 h 223"/>
                  <a:gd name="T104" fmla="*/ 231 w 237"/>
                  <a:gd name="T105" fmla="*/ 38 h 223"/>
                  <a:gd name="T106" fmla="*/ 213 w 237"/>
                  <a:gd name="T107" fmla="*/ 38 h 223"/>
                  <a:gd name="T108" fmla="*/ 217 w 237"/>
                  <a:gd name="T109" fmla="*/ 16 h 223"/>
                  <a:gd name="T110" fmla="*/ 217 w 237"/>
                  <a:gd name="T111" fmla="*/ 0 h 223"/>
                  <a:gd name="T112" fmla="*/ 201 w 237"/>
                  <a:gd name="T113" fmla="*/ 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37" h="223">
                    <a:moveTo>
                      <a:pt x="201" y="6"/>
                    </a:moveTo>
                    <a:lnTo>
                      <a:pt x="163" y="6"/>
                    </a:lnTo>
                    <a:lnTo>
                      <a:pt x="151" y="18"/>
                    </a:lnTo>
                    <a:lnTo>
                      <a:pt x="131" y="32"/>
                    </a:lnTo>
                    <a:lnTo>
                      <a:pt x="115" y="18"/>
                    </a:lnTo>
                    <a:lnTo>
                      <a:pt x="81" y="28"/>
                    </a:lnTo>
                    <a:lnTo>
                      <a:pt x="83" y="50"/>
                    </a:lnTo>
                    <a:lnTo>
                      <a:pt x="93" y="60"/>
                    </a:lnTo>
                    <a:lnTo>
                      <a:pt x="105" y="72"/>
                    </a:lnTo>
                    <a:lnTo>
                      <a:pt x="115" y="82"/>
                    </a:lnTo>
                    <a:lnTo>
                      <a:pt x="101" y="92"/>
                    </a:lnTo>
                    <a:lnTo>
                      <a:pt x="83" y="76"/>
                    </a:lnTo>
                    <a:lnTo>
                      <a:pt x="73" y="86"/>
                    </a:lnTo>
                    <a:lnTo>
                      <a:pt x="61" y="74"/>
                    </a:lnTo>
                    <a:lnTo>
                      <a:pt x="29" y="80"/>
                    </a:lnTo>
                    <a:lnTo>
                      <a:pt x="17" y="72"/>
                    </a:lnTo>
                    <a:lnTo>
                      <a:pt x="10" y="88"/>
                    </a:lnTo>
                    <a:lnTo>
                      <a:pt x="21" y="98"/>
                    </a:lnTo>
                    <a:lnTo>
                      <a:pt x="0" y="108"/>
                    </a:lnTo>
                    <a:lnTo>
                      <a:pt x="0" y="130"/>
                    </a:lnTo>
                    <a:lnTo>
                      <a:pt x="17" y="144"/>
                    </a:lnTo>
                    <a:lnTo>
                      <a:pt x="12" y="162"/>
                    </a:lnTo>
                    <a:lnTo>
                      <a:pt x="27" y="162"/>
                    </a:lnTo>
                    <a:lnTo>
                      <a:pt x="43" y="178"/>
                    </a:lnTo>
                    <a:lnTo>
                      <a:pt x="39" y="198"/>
                    </a:lnTo>
                    <a:lnTo>
                      <a:pt x="61" y="209"/>
                    </a:lnTo>
                    <a:lnTo>
                      <a:pt x="89" y="211"/>
                    </a:lnTo>
                    <a:lnTo>
                      <a:pt x="101" y="223"/>
                    </a:lnTo>
                    <a:lnTo>
                      <a:pt x="123" y="223"/>
                    </a:lnTo>
                    <a:lnTo>
                      <a:pt x="149" y="215"/>
                    </a:lnTo>
                    <a:lnTo>
                      <a:pt x="149" y="196"/>
                    </a:lnTo>
                    <a:lnTo>
                      <a:pt x="133" y="180"/>
                    </a:lnTo>
                    <a:lnTo>
                      <a:pt x="141" y="172"/>
                    </a:lnTo>
                    <a:lnTo>
                      <a:pt x="153" y="186"/>
                    </a:lnTo>
                    <a:lnTo>
                      <a:pt x="177" y="144"/>
                    </a:lnTo>
                    <a:lnTo>
                      <a:pt x="197" y="124"/>
                    </a:lnTo>
                    <a:lnTo>
                      <a:pt x="207" y="132"/>
                    </a:lnTo>
                    <a:lnTo>
                      <a:pt x="225" y="114"/>
                    </a:lnTo>
                    <a:lnTo>
                      <a:pt x="231" y="96"/>
                    </a:lnTo>
                    <a:lnTo>
                      <a:pt x="211" y="88"/>
                    </a:lnTo>
                    <a:lnTo>
                      <a:pt x="195" y="102"/>
                    </a:lnTo>
                    <a:lnTo>
                      <a:pt x="177" y="90"/>
                    </a:lnTo>
                    <a:lnTo>
                      <a:pt x="155" y="76"/>
                    </a:lnTo>
                    <a:lnTo>
                      <a:pt x="133" y="60"/>
                    </a:lnTo>
                    <a:lnTo>
                      <a:pt x="141" y="44"/>
                    </a:lnTo>
                    <a:lnTo>
                      <a:pt x="153" y="32"/>
                    </a:lnTo>
                    <a:lnTo>
                      <a:pt x="161" y="64"/>
                    </a:lnTo>
                    <a:lnTo>
                      <a:pt x="175" y="78"/>
                    </a:lnTo>
                    <a:lnTo>
                      <a:pt x="199" y="82"/>
                    </a:lnTo>
                    <a:lnTo>
                      <a:pt x="213" y="76"/>
                    </a:lnTo>
                    <a:lnTo>
                      <a:pt x="225" y="76"/>
                    </a:lnTo>
                    <a:lnTo>
                      <a:pt x="237" y="64"/>
                    </a:lnTo>
                    <a:lnTo>
                      <a:pt x="231" y="38"/>
                    </a:lnTo>
                    <a:lnTo>
                      <a:pt x="213" y="38"/>
                    </a:lnTo>
                    <a:lnTo>
                      <a:pt x="217" y="16"/>
                    </a:lnTo>
                    <a:lnTo>
                      <a:pt x="217" y="0"/>
                    </a:lnTo>
                    <a:lnTo>
                      <a:pt x="201" y="6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9" name="Freeform 305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 rot="698053">
                <a:off x="7579518" y="2172453"/>
                <a:ext cx="26093" cy="35555"/>
              </a:xfrm>
              <a:custGeom>
                <a:avLst/>
                <a:gdLst>
                  <a:gd name="T0" fmla="*/ 12 w 34"/>
                  <a:gd name="T1" fmla="*/ 0 h 48"/>
                  <a:gd name="T2" fmla="*/ 0 w 34"/>
                  <a:gd name="T3" fmla="*/ 10 h 48"/>
                  <a:gd name="T4" fmla="*/ 8 w 34"/>
                  <a:gd name="T5" fmla="*/ 34 h 48"/>
                  <a:gd name="T6" fmla="*/ 22 w 34"/>
                  <a:gd name="T7" fmla="*/ 48 h 48"/>
                  <a:gd name="T8" fmla="*/ 34 w 34"/>
                  <a:gd name="T9" fmla="*/ 26 h 48"/>
                  <a:gd name="T10" fmla="*/ 34 w 34"/>
                  <a:gd name="T11" fmla="*/ 8 h 48"/>
                  <a:gd name="T12" fmla="*/ 26 w 34"/>
                  <a:gd name="T13" fmla="*/ 0 h 48"/>
                  <a:gd name="T14" fmla="*/ 12 w 34"/>
                  <a:gd name="T1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48">
                    <a:moveTo>
                      <a:pt x="12" y="0"/>
                    </a:moveTo>
                    <a:lnTo>
                      <a:pt x="0" y="10"/>
                    </a:lnTo>
                    <a:lnTo>
                      <a:pt x="8" y="34"/>
                    </a:lnTo>
                    <a:lnTo>
                      <a:pt x="22" y="48"/>
                    </a:lnTo>
                    <a:lnTo>
                      <a:pt x="34" y="26"/>
                    </a:lnTo>
                    <a:lnTo>
                      <a:pt x="34" y="8"/>
                    </a:lnTo>
                    <a:lnTo>
                      <a:pt x="2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0" name="Freeform 306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 rot="698053">
                <a:off x="7610918" y="2182042"/>
                <a:ext cx="88956" cy="74550"/>
              </a:xfrm>
              <a:custGeom>
                <a:avLst/>
                <a:gdLst>
                  <a:gd name="T0" fmla="*/ 14 w 116"/>
                  <a:gd name="T1" fmla="*/ 28 h 100"/>
                  <a:gd name="T2" fmla="*/ 0 w 116"/>
                  <a:gd name="T3" fmla="*/ 42 h 100"/>
                  <a:gd name="T4" fmla="*/ 8 w 116"/>
                  <a:gd name="T5" fmla="*/ 60 h 100"/>
                  <a:gd name="T6" fmla="*/ 22 w 116"/>
                  <a:gd name="T7" fmla="*/ 74 h 100"/>
                  <a:gd name="T8" fmla="*/ 14 w 116"/>
                  <a:gd name="T9" fmla="*/ 94 h 100"/>
                  <a:gd name="T10" fmla="*/ 20 w 116"/>
                  <a:gd name="T11" fmla="*/ 100 h 100"/>
                  <a:gd name="T12" fmla="*/ 32 w 116"/>
                  <a:gd name="T13" fmla="*/ 78 h 100"/>
                  <a:gd name="T14" fmla="*/ 60 w 116"/>
                  <a:gd name="T15" fmla="*/ 72 h 100"/>
                  <a:gd name="T16" fmla="*/ 84 w 116"/>
                  <a:gd name="T17" fmla="*/ 62 h 100"/>
                  <a:gd name="T18" fmla="*/ 116 w 116"/>
                  <a:gd name="T19" fmla="*/ 42 h 100"/>
                  <a:gd name="T20" fmla="*/ 100 w 116"/>
                  <a:gd name="T21" fmla="*/ 12 h 100"/>
                  <a:gd name="T22" fmla="*/ 76 w 116"/>
                  <a:gd name="T23" fmla="*/ 12 h 100"/>
                  <a:gd name="T24" fmla="*/ 44 w 116"/>
                  <a:gd name="T25" fmla="*/ 0 h 100"/>
                  <a:gd name="T26" fmla="*/ 28 w 116"/>
                  <a:gd name="T27" fmla="*/ 14 h 100"/>
                  <a:gd name="T28" fmla="*/ 14 w 116"/>
                  <a:gd name="T29" fmla="*/ 2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6" h="100">
                    <a:moveTo>
                      <a:pt x="14" y="28"/>
                    </a:moveTo>
                    <a:lnTo>
                      <a:pt x="0" y="42"/>
                    </a:lnTo>
                    <a:lnTo>
                      <a:pt x="8" y="60"/>
                    </a:lnTo>
                    <a:lnTo>
                      <a:pt x="22" y="74"/>
                    </a:lnTo>
                    <a:lnTo>
                      <a:pt x="14" y="94"/>
                    </a:lnTo>
                    <a:lnTo>
                      <a:pt x="20" y="100"/>
                    </a:lnTo>
                    <a:lnTo>
                      <a:pt x="32" y="78"/>
                    </a:lnTo>
                    <a:lnTo>
                      <a:pt x="60" y="72"/>
                    </a:lnTo>
                    <a:lnTo>
                      <a:pt x="84" y="62"/>
                    </a:lnTo>
                    <a:lnTo>
                      <a:pt x="116" y="42"/>
                    </a:lnTo>
                    <a:lnTo>
                      <a:pt x="100" y="12"/>
                    </a:lnTo>
                    <a:lnTo>
                      <a:pt x="76" y="12"/>
                    </a:lnTo>
                    <a:lnTo>
                      <a:pt x="44" y="0"/>
                    </a:lnTo>
                    <a:lnTo>
                      <a:pt x="28" y="14"/>
                    </a:lnTo>
                    <a:lnTo>
                      <a:pt x="14" y="2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1" name="Freeform 307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 rot="698053">
                <a:off x="7404646" y="2101174"/>
                <a:ext cx="27280" cy="32114"/>
              </a:xfrm>
              <a:custGeom>
                <a:avLst/>
                <a:gdLst>
                  <a:gd name="T0" fmla="*/ 30 w 36"/>
                  <a:gd name="T1" fmla="*/ 12 h 43"/>
                  <a:gd name="T2" fmla="*/ 20 w 36"/>
                  <a:gd name="T3" fmla="*/ 2 h 43"/>
                  <a:gd name="T4" fmla="*/ 0 w 36"/>
                  <a:gd name="T5" fmla="*/ 0 h 43"/>
                  <a:gd name="T6" fmla="*/ 14 w 36"/>
                  <a:gd name="T7" fmla="*/ 12 h 43"/>
                  <a:gd name="T8" fmla="*/ 20 w 36"/>
                  <a:gd name="T9" fmla="*/ 43 h 43"/>
                  <a:gd name="T10" fmla="*/ 36 w 36"/>
                  <a:gd name="T11" fmla="*/ 43 h 43"/>
                  <a:gd name="T12" fmla="*/ 36 w 36"/>
                  <a:gd name="T13" fmla="*/ 27 h 43"/>
                  <a:gd name="T14" fmla="*/ 30 w 36"/>
                  <a:gd name="T15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3">
                    <a:moveTo>
                      <a:pt x="30" y="12"/>
                    </a:moveTo>
                    <a:lnTo>
                      <a:pt x="20" y="2"/>
                    </a:lnTo>
                    <a:lnTo>
                      <a:pt x="0" y="0"/>
                    </a:lnTo>
                    <a:lnTo>
                      <a:pt x="14" y="12"/>
                    </a:lnTo>
                    <a:lnTo>
                      <a:pt x="20" y="43"/>
                    </a:lnTo>
                    <a:lnTo>
                      <a:pt x="36" y="43"/>
                    </a:lnTo>
                    <a:lnTo>
                      <a:pt x="36" y="27"/>
                    </a:lnTo>
                    <a:lnTo>
                      <a:pt x="30" y="12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2" name="Freeform 308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 rot="698053">
                <a:off x="7614405" y="1868052"/>
                <a:ext cx="11861" cy="14910"/>
              </a:xfrm>
              <a:custGeom>
                <a:avLst/>
                <a:gdLst>
                  <a:gd name="T0" fmla="*/ 6 w 16"/>
                  <a:gd name="T1" fmla="*/ 0 h 20"/>
                  <a:gd name="T2" fmla="*/ 0 w 16"/>
                  <a:gd name="T3" fmla="*/ 12 h 20"/>
                  <a:gd name="T4" fmla="*/ 8 w 16"/>
                  <a:gd name="T5" fmla="*/ 20 h 20"/>
                  <a:gd name="T6" fmla="*/ 16 w 16"/>
                  <a:gd name="T7" fmla="*/ 12 h 20"/>
                  <a:gd name="T8" fmla="*/ 6 w 1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0">
                    <a:moveTo>
                      <a:pt x="6" y="0"/>
                    </a:moveTo>
                    <a:lnTo>
                      <a:pt x="0" y="12"/>
                    </a:lnTo>
                    <a:lnTo>
                      <a:pt x="8" y="20"/>
                    </a:lnTo>
                    <a:lnTo>
                      <a:pt x="16" y="1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3" name="Freeform 309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 rot="698053">
                <a:off x="7471138" y="2235392"/>
                <a:ext cx="29651" cy="17204"/>
              </a:xfrm>
              <a:custGeom>
                <a:avLst/>
                <a:gdLst>
                  <a:gd name="T0" fmla="*/ 30 w 38"/>
                  <a:gd name="T1" fmla="*/ 4 h 24"/>
                  <a:gd name="T2" fmla="*/ 8 w 38"/>
                  <a:gd name="T3" fmla="*/ 0 h 24"/>
                  <a:gd name="T4" fmla="*/ 0 w 38"/>
                  <a:gd name="T5" fmla="*/ 6 h 24"/>
                  <a:gd name="T6" fmla="*/ 14 w 38"/>
                  <a:gd name="T7" fmla="*/ 12 h 24"/>
                  <a:gd name="T8" fmla="*/ 30 w 38"/>
                  <a:gd name="T9" fmla="*/ 24 h 24"/>
                  <a:gd name="T10" fmla="*/ 38 w 38"/>
                  <a:gd name="T11" fmla="*/ 14 h 24"/>
                  <a:gd name="T12" fmla="*/ 30 w 38"/>
                  <a:gd name="T13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24">
                    <a:moveTo>
                      <a:pt x="30" y="4"/>
                    </a:moveTo>
                    <a:lnTo>
                      <a:pt x="8" y="0"/>
                    </a:lnTo>
                    <a:lnTo>
                      <a:pt x="0" y="6"/>
                    </a:lnTo>
                    <a:lnTo>
                      <a:pt x="14" y="12"/>
                    </a:lnTo>
                    <a:lnTo>
                      <a:pt x="30" y="24"/>
                    </a:lnTo>
                    <a:lnTo>
                      <a:pt x="38" y="14"/>
                    </a:lnTo>
                    <a:lnTo>
                      <a:pt x="30" y="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4" name="Freeform 310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 rot="698053">
                <a:off x="6770043" y="2002575"/>
                <a:ext cx="1601200" cy="1867194"/>
              </a:xfrm>
              <a:custGeom>
                <a:avLst/>
                <a:gdLst>
                  <a:gd name="T0" fmla="*/ 859 w 1046"/>
                  <a:gd name="T1" fmla="*/ 27 h 1261"/>
                  <a:gd name="T2" fmla="*/ 753 w 1046"/>
                  <a:gd name="T3" fmla="*/ 112 h 1261"/>
                  <a:gd name="T4" fmla="*/ 661 w 1046"/>
                  <a:gd name="T5" fmla="*/ 142 h 1261"/>
                  <a:gd name="T6" fmla="*/ 616 w 1046"/>
                  <a:gd name="T7" fmla="*/ 176 h 1261"/>
                  <a:gd name="T8" fmla="*/ 591 w 1046"/>
                  <a:gd name="T9" fmla="*/ 158 h 1261"/>
                  <a:gd name="T10" fmla="*/ 513 w 1046"/>
                  <a:gd name="T11" fmla="*/ 212 h 1261"/>
                  <a:gd name="T12" fmla="*/ 531 w 1046"/>
                  <a:gd name="T13" fmla="*/ 261 h 1261"/>
                  <a:gd name="T14" fmla="*/ 526 w 1046"/>
                  <a:gd name="T15" fmla="*/ 314 h 1261"/>
                  <a:gd name="T16" fmla="*/ 434 w 1046"/>
                  <a:gd name="T17" fmla="*/ 344 h 1261"/>
                  <a:gd name="T18" fmla="*/ 420 w 1046"/>
                  <a:gd name="T19" fmla="*/ 408 h 1261"/>
                  <a:gd name="T20" fmla="*/ 350 w 1046"/>
                  <a:gd name="T21" fmla="*/ 382 h 1261"/>
                  <a:gd name="T22" fmla="*/ 328 w 1046"/>
                  <a:gd name="T23" fmla="*/ 331 h 1261"/>
                  <a:gd name="T24" fmla="*/ 274 w 1046"/>
                  <a:gd name="T25" fmla="*/ 326 h 1261"/>
                  <a:gd name="T26" fmla="*/ 225 w 1046"/>
                  <a:gd name="T27" fmla="*/ 321 h 1261"/>
                  <a:gd name="T28" fmla="*/ 180 w 1046"/>
                  <a:gd name="T29" fmla="*/ 384 h 1261"/>
                  <a:gd name="T30" fmla="*/ 100 w 1046"/>
                  <a:gd name="T31" fmla="*/ 384 h 1261"/>
                  <a:gd name="T32" fmla="*/ 50 w 1046"/>
                  <a:gd name="T33" fmla="*/ 389 h 1261"/>
                  <a:gd name="T34" fmla="*/ 15 w 1046"/>
                  <a:gd name="T35" fmla="*/ 428 h 1261"/>
                  <a:gd name="T36" fmla="*/ 64 w 1046"/>
                  <a:gd name="T37" fmla="*/ 498 h 1261"/>
                  <a:gd name="T38" fmla="*/ 73 w 1046"/>
                  <a:gd name="T39" fmla="*/ 577 h 1261"/>
                  <a:gd name="T40" fmla="*/ 39 w 1046"/>
                  <a:gd name="T41" fmla="*/ 648 h 1261"/>
                  <a:gd name="T42" fmla="*/ 22 w 1046"/>
                  <a:gd name="T43" fmla="*/ 733 h 1261"/>
                  <a:gd name="T44" fmla="*/ 21 w 1046"/>
                  <a:gd name="T45" fmla="*/ 837 h 1261"/>
                  <a:gd name="T46" fmla="*/ 52 w 1046"/>
                  <a:gd name="T47" fmla="*/ 894 h 1261"/>
                  <a:gd name="T48" fmla="*/ 60 w 1046"/>
                  <a:gd name="T49" fmla="*/ 973 h 1261"/>
                  <a:gd name="T50" fmla="*/ 126 w 1046"/>
                  <a:gd name="T51" fmla="*/ 967 h 1261"/>
                  <a:gd name="T52" fmla="*/ 159 w 1046"/>
                  <a:gd name="T53" fmla="*/ 1011 h 1261"/>
                  <a:gd name="T54" fmla="*/ 199 w 1046"/>
                  <a:gd name="T55" fmla="*/ 1072 h 1261"/>
                  <a:gd name="T56" fmla="*/ 225 w 1046"/>
                  <a:gd name="T57" fmla="*/ 1131 h 1261"/>
                  <a:gd name="T58" fmla="*/ 259 w 1046"/>
                  <a:gd name="T59" fmla="*/ 1240 h 1261"/>
                  <a:gd name="T60" fmla="*/ 323 w 1046"/>
                  <a:gd name="T61" fmla="*/ 1236 h 1261"/>
                  <a:gd name="T62" fmla="*/ 367 w 1046"/>
                  <a:gd name="T63" fmla="*/ 1124 h 1261"/>
                  <a:gd name="T64" fmla="*/ 438 w 1046"/>
                  <a:gd name="T65" fmla="*/ 1151 h 1261"/>
                  <a:gd name="T66" fmla="*/ 497 w 1046"/>
                  <a:gd name="T67" fmla="*/ 1161 h 1261"/>
                  <a:gd name="T68" fmla="*/ 554 w 1046"/>
                  <a:gd name="T69" fmla="*/ 1243 h 1261"/>
                  <a:gd name="T70" fmla="*/ 625 w 1046"/>
                  <a:gd name="T71" fmla="*/ 1240 h 1261"/>
                  <a:gd name="T72" fmla="*/ 692 w 1046"/>
                  <a:gd name="T73" fmla="*/ 1232 h 1261"/>
                  <a:gd name="T74" fmla="*/ 774 w 1046"/>
                  <a:gd name="T75" fmla="*/ 1231 h 1261"/>
                  <a:gd name="T76" fmla="*/ 860 w 1046"/>
                  <a:gd name="T77" fmla="*/ 1200 h 1261"/>
                  <a:gd name="T78" fmla="*/ 906 w 1046"/>
                  <a:gd name="T79" fmla="*/ 1101 h 1261"/>
                  <a:gd name="T80" fmla="*/ 869 w 1046"/>
                  <a:gd name="T81" fmla="*/ 1032 h 1261"/>
                  <a:gd name="T82" fmla="*/ 863 w 1046"/>
                  <a:gd name="T83" fmla="*/ 959 h 1261"/>
                  <a:gd name="T84" fmla="*/ 913 w 1046"/>
                  <a:gd name="T85" fmla="*/ 902 h 1261"/>
                  <a:gd name="T86" fmla="*/ 945 w 1046"/>
                  <a:gd name="T87" fmla="*/ 811 h 1261"/>
                  <a:gd name="T88" fmla="*/ 920 w 1046"/>
                  <a:gd name="T89" fmla="*/ 715 h 1261"/>
                  <a:gd name="T90" fmla="*/ 940 w 1046"/>
                  <a:gd name="T91" fmla="*/ 665 h 1261"/>
                  <a:gd name="T92" fmla="*/ 1007 w 1046"/>
                  <a:gd name="T93" fmla="*/ 630 h 1261"/>
                  <a:gd name="T94" fmla="*/ 967 w 1046"/>
                  <a:gd name="T95" fmla="*/ 544 h 1261"/>
                  <a:gd name="T96" fmla="*/ 969 w 1046"/>
                  <a:gd name="T97" fmla="*/ 475 h 1261"/>
                  <a:gd name="T98" fmla="*/ 981 w 1046"/>
                  <a:gd name="T99" fmla="*/ 424 h 1261"/>
                  <a:gd name="T100" fmla="*/ 1026 w 1046"/>
                  <a:gd name="T101" fmla="*/ 382 h 1261"/>
                  <a:gd name="T102" fmla="*/ 1011 w 1046"/>
                  <a:gd name="T103" fmla="*/ 309 h 1261"/>
                  <a:gd name="T104" fmla="*/ 1001 w 1046"/>
                  <a:gd name="T105" fmla="*/ 252 h 1261"/>
                  <a:gd name="T106" fmla="*/ 1046 w 1046"/>
                  <a:gd name="T107" fmla="*/ 190 h 1261"/>
                  <a:gd name="T108" fmla="*/ 965 w 1046"/>
                  <a:gd name="T109" fmla="*/ 152 h 1261"/>
                  <a:gd name="T110" fmla="*/ 972 w 1046"/>
                  <a:gd name="T111" fmla="*/ 56 h 1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46" h="1261">
                    <a:moveTo>
                      <a:pt x="926" y="0"/>
                    </a:moveTo>
                    <a:cubicBezTo>
                      <a:pt x="913" y="13"/>
                      <a:pt x="913" y="13"/>
                      <a:pt x="913" y="13"/>
                    </a:cubicBezTo>
                    <a:cubicBezTo>
                      <a:pt x="913" y="22"/>
                      <a:pt x="913" y="22"/>
                      <a:pt x="913" y="22"/>
                    </a:cubicBezTo>
                    <a:cubicBezTo>
                      <a:pt x="919" y="29"/>
                      <a:pt x="919" y="29"/>
                      <a:pt x="919" y="29"/>
                    </a:cubicBezTo>
                    <a:cubicBezTo>
                      <a:pt x="906" y="29"/>
                      <a:pt x="906" y="29"/>
                      <a:pt x="906" y="29"/>
                    </a:cubicBezTo>
                    <a:cubicBezTo>
                      <a:pt x="894" y="38"/>
                      <a:pt x="894" y="38"/>
                      <a:pt x="894" y="38"/>
                    </a:cubicBezTo>
                    <a:cubicBezTo>
                      <a:pt x="878" y="46"/>
                      <a:pt x="878" y="46"/>
                      <a:pt x="878" y="46"/>
                    </a:cubicBezTo>
                    <a:cubicBezTo>
                      <a:pt x="859" y="27"/>
                      <a:pt x="859" y="27"/>
                      <a:pt x="859" y="27"/>
                    </a:cubicBezTo>
                    <a:cubicBezTo>
                      <a:pt x="850" y="18"/>
                      <a:pt x="850" y="18"/>
                      <a:pt x="850" y="18"/>
                    </a:cubicBezTo>
                    <a:cubicBezTo>
                      <a:pt x="832" y="19"/>
                      <a:pt x="832" y="19"/>
                      <a:pt x="832" y="19"/>
                    </a:cubicBezTo>
                    <a:cubicBezTo>
                      <a:pt x="810" y="22"/>
                      <a:pt x="810" y="22"/>
                      <a:pt x="810" y="22"/>
                    </a:cubicBezTo>
                    <a:cubicBezTo>
                      <a:pt x="797" y="38"/>
                      <a:pt x="797" y="38"/>
                      <a:pt x="797" y="38"/>
                    </a:cubicBezTo>
                    <a:cubicBezTo>
                      <a:pt x="783" y="52"/>
                      <a:pt x="783" y="52"/>
                      <a:pt x="783" y="52"/>
                    </a:cubicBezTo>
                    <a:cubicBezTo>
                      <a:pt x="766" y="76"/>
                      <a:pt x="766" y="76"/>
                      <a:pt x="766" y="76"/>
                    </a:cubicBezTo>
                    <a:cubicBezTo>
                      <a:pt x="766" y="96"/>
                      <a:pt x="766" y="96"/>
                      <a:pt x="766" y="96"/>
                    </a:cubicBezTo>
                    <a:cubicBezTo>
                      <a:pt x="753" y="112"/>
                      <a:pt x="753" y="112"/>
                      <a:pt x="753" y="112"/>
                    </a:cubicBezTo>
                    <a:cubicBezTo>
                      <a:pt x="740" y="125"/>
                      <a:pt x="740" y="125"/>
                      <a:pt x="740" y="125"/>
                    </a:cubicBezTo>
                    <a:cubicBezTo>
                      <a:pt x="726" y="126"/>
                      <a:pt x="726" y="126"/>
                      <a:pt x="726" y="126"/>
                    </a:cubicBezTo>
                    <a:cubicBezTo>
                      <a:pt x="714" y="119"/>
                      <a:pt x="714" y="119"/>
                      <a:pt x="714" y="119"/>
                    </a:cubicBezTo>
                    <a:cubicBezTo>
                      <a:pt x="696" y="129"/>
                      <a:pt x="696" y="129"/>
                      <a:pt x="696" y="129"/>
                    </a:cubicBezTo>
                    <a:cubicBezTo>
                      <a:pt x="696" y="129"/>
                      <a:pt x="700" y="146"/>
                      <a:pt x="698" y="144"/>
                    </a:cubicBezTo>
                    <a:cubicBezTo>
                      <a:pt x="696" y="142"/>
                      <a:pt x="685" y="131"/>
                      <a:pt x="685" y="131"/>
                    </a:cubicBezTo>
                    <a:cubicBezTo>
                      <a:pt x="676" y="142"/>
                      <a:pt x="676" y="142"/>
                      <a:pt x="676" y="142"/>
                    </a:cubicBezTo>
                    <a:cubicBezTo>
                      <a:pt x="661" y="142"/>
                      <a:pt x="661" y="142"/>
                      <a:pt x="661" y="142"/>
                    </a:cubicBezTo>
                    <a:cubicBezTo>
                      <a:pt x="661" y="142"/>
                      <a:pt x="652" y="139"/>
                      <a:pt x="656" y="134"/>
                    </a:cubicBezTo>
                    <a:cubicBezTo>
                      <a:pt x="661" y="130"/>
                      <a:pt x="666" y="122"/>
                      <a:pt x="666" y="122"/>
                    </a:cubicBezTo>
                    <a:cubicBezTo>
                      <a:pt x="654" y="114"/>
                      <a:pt x="654" y="114"/>
                      <a:pt x="654" y="114"/>
                    </a:cubicBezTo>
                    <a:cubicBezTo>
                      <a:pt x="634" y="122"/>
                      <a:pt x="634" y="122"/>
                      <a:pt x="634" y="122"/>
                    </a:cubicBezTo>
                    <a:cubicBezTo>
                      <a:pt x="620" y="129"/>
                      <a:pt x="620" y="129"/>
                      <a:pt x="620" y="129"/>
                    </a:cubicBezTo>
                    <a:cubicBezTo>
                      <a:pt x="614" y="146"/>
                      <a:pt x="614" y="146"/>
                      <a:pt x="614" y="146"/>
                    </a:cubicBezTo>
                    <a:cubicBezTo>
                      <a:pt x="612" y="155"/>
                      <a:pt x="612" y="155"/>
                      <a:pt x="612" y="155"/>
                    </a:cubicBezTo>
                    <a:cubicBezTo>
                      <a:pt x="616" y="176"/>
                      <a:pt x="616" y="176"/>
                      <a:pt x="616" y="176"/>
                    </a:cubicBezTo>
                    <a:cubicBezTo>
                      <a:pt x="616" y="189"/>
                      <a:pt x="616" y="189"/>
                      <a:pt x="616" y="189"/>
                    </a:cubicBezTo>
                    <a:cubicBezTo>
                      <a:pt x="604" y="200"/>
                      <a:pt x="604" y="200"/>
                      <a:pt x="604" y="200"/>
                    </a:cubicBezTo>
                    <a:cubicBezTo>
                      <a:pt x="608" y="174"/>
                      <a:pt x="608" y="174"/>
                      <a:pt x="608" y="174"/>
                    </a:cubicBezTo>
                    <a:cubicBezTo>
                      <a:pt x="595" y="170"/>
                      <a:pt x="595" y="170"/>
                      <a:pt x="595" y="170"/>
                    </a:cubicBezTo>
                    <a:cubicBezTo>
                      <a:pt x="585" y="180"/>
                      <a:pt x="585" y="180"/>
                      <a:pt x="585" y="180"/>
                    </a:cubicBezTo>
                    <a:cubicBezTo>
                      <a:pt x="574" y="185"/>
                      <a:pt x="574" y="185"/>
                      <a:pt x="574" y="185"/>
                    </a:cubicBezTo>
                    <a:cubicBezTo>
                      <a:pt x="578" y="167"/>
                      <a:pt x="578" y="167"/>
                      <a:pt x="578" y="167"/>
                    </a:cubicBezTo>
                    <a:cubicBezTo>
                      <a:pt x="578" y="167"/>
                      <a:pt x="591" y="162"/>
                      <a:pt x="591" y="158"/>
                    </a:cubicBezTo>
                    <a:cubicBezTo>
                      <a:pt x="591" y="154"/>
                      <a:pt x="588" y="152"/>
                      <a:pt x="588" y="152"/>
                    </a:cubicBezTo>
                    <a:cubicBezTo>
                      <a:pt x="569" y="160"/>
                      <a:pt x="569" y="160"/>
                      <a:pt x="569" y="160"/>
                    </a:cubicBezTo>
                    <a:cubicBezTo>
                      <a:pt x="544" y="170"/>
                      <a:pt x="544" y="170"/>
                      <a:pt x="544" y="170"/>
                    </a:cubicBezTo>
                    <a:cubicBezTo>
                      <a:pt x="539" y="185"/>
                      <a:pt x="539" y="185"/>
                      <a:pt x="539" y="185"/>
                    </a:cubicBezTo>
                    <a:cubicBezTo>
                      <a:pt x="520" y="194"/>
                      <a:pt x="520" y="194"/>
                      <a:pt x="520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499" y="203"/>
                      <a:pt x="499" y="203"/>
                      <a:pt x="499" y="203"/>
                    </a:cubicBezTo>
                    <a:cubicBezTo>
                      <a:pt x="513" y="212"/>
                      <a:pt x="513" y="212"/>
                      <a:pt x="513" y="212"/>
                    </a:cubicBezTo>
                    <a:cubicBezTo>
                      <a:pt x="515" y="221"/>
                      <a:pt x="515" y="221"/>
                      <a:pt x="515" y="221"/>
                    </a:cubicBezTo>
                    <a:cubicBezTo>
                      <a:pt x="500" y="234"/>
                      <a:pt x="500" y="234"/>
                      <a:pt x="500" y="234"/>
                    </a:cubicBezTo>
                    <a:cubicBezTo>
                      <a:pt x="500" y="248"/>
                      <a:pt x="500" y="248"/>
                      <a:pt x="500" y="248"/>
                    </a:cubicBezTo>
                    <a:cubicBezTo>
                      <a:pt x="508" y="254"/>
                      <a:pt x="508" y="254"/>
                      <a:pt x="508" y="254"/>
                    </a:cubicBezTo>
                    <a:cubicBezTo>
                      <a:pt x="515" y="236"/>
                      <a:pt x="515" y="236"/>
                      <a:pt x="515" y="236"/>
                    </a:cubicBezTo>
                    <a:cubicBezTo>
                      <a:pt x="520" y="240"/>
                      <a:pt x="520" y="240"/>
                      <a:pt x="520" y="240"/>
                    </a:cubicBezTo>
                    <a:cubicBezTo>
                      <a:pt x="520" y="255"/>
                      <a:pt x="520" y="255"/>
                      <a:pt x="520" y="255"/>
                    </a:cubicBezTo>
                    <a:cubicBezTo>
                      <a:pt x="531" y="261"/>
                      <a:pt x="531" y="261"/>
                      <a:pt x="531" y="261"/>
                    </a:cubicBezTo>
                    <a:cubicBezTo>
                      <a:pt x="541" y="271"/>
                      <a:pt x="541" y="271"/>
                      <a:pt x="541" y="271"/>
                    </a:cubicBezTo>
                    <a:cubicBezTo>
                      <a:pt x="546" y="274"/>
                      <a:pt x="546" y="274"/>
                      <a:pt x="546" y="274"/>
                    </a:cubicBezTo>
                    <a:cubicBezTo>
                      <a:pt x="536" y="284"/>
                      <a:pt x="536" y="284"/>
                      <a:pt x="536" y="284"/>
                    </a:cubicBezTo>
                    <a:cubicBezTo>
                      <a:pt x="523" y="283"/>
                      <a:pt x="523" y="283"/>
                      <a:pt x="523" y="283"/>
                    </a:cubicBezTo>
                    <a:cubicBezTo>
                      <a:pt x="516" y="291"/>
                      <a:pt x="516" y="291"/>
                      <a:pt x="516" y="291"/>
                    </a:cubicBezTo>
                    <a:cubicBezTo>
                      <a:pt x="510" y="297"/>
                      <a:pt x="510" y="297"/>
                      <a:pt x="510" y="297"/>
                    </a:cubicBezTo>
                    <a:cubicBezTo>
                      <a:pt x="526" y="304"/>
                      <a:pt x="526" y="304"/>
                      <a:pt x="526" y="304"/>
                    </a:cubicBezTo>
                    <a:cubicBezTo>
                      <a:pt x="526" y="314"/>
                      <a:pt x="526" y="314"/>
                      <a:pt x="526" y="314"/>
                    </a:cubicBezTo>
                    <a:cubicBezTo>
                      <a:pt x="511" y="310"/>
                      <a:pt x="511" y="310"/>
                      <a:pt x="511" y="310"/>
                    </a:cubicBezTo>
                    <a:cubicBezTo>
                      <a:pt x="498" y="310"/>
                      <a:pt x="498" y="310"/>
                      <a:pt x="498" y="310"/>
                    </a:cubicBezTo>
                    <a:cubicBezTo>
                      <a:pt x="481" y="314"/>
                      <a:pt x="481" y="314"/>
                      <a:pt x="481" y="314"/>
                    </a:cubicBezTo>
                    <a:cubicBezTo>
                      <a:pt x="472" y="332"/>
                      <a:pt x="472" y="332"/>
                      <a:pt x="472" y="332"/>
                    </a:cubicBezTo>
                    <a:cubicBezTo>
                      <a:pt x="475" y="349"/>
                      <a:pt x="475" y="349"/>
                      <a:pt x="475" y="349"/>
                    </a:cubicBezTo>
                    <a:cubicBezTo>
                      <a:pt x="458" y="349"/>
                      <a:pt x="458" y="349"/>
                      <a:pt x="458" y="349"/>
                    </a:cubicBezTo>
                    <a:cubicBezTo>
                      <a:pt x="444" y="353"/>
                      <a:pt x="444" y="353"/>
                      <a:pt x="444" y="353"/>
                    </a:cubicBezTo>
                    <a:cubicBezTo>
                      <a:pt x="434" y="344"/>
                      <a:pt x="434" y="344"/>
                      <a:pt x="434" y="344"/>
                    </a:cubicBezTo>
                    <a:cubicBezTo>
                      <a:pt x="418" y="342"/>
                      <a:pt x="418" y="342"/>
                      <a:pt x="418" y="342"/>
                    </a:cubicBezTo>
                    <a:cubicBezTo>
                      <a:pt x="418" y="354"/>
                      <a:pt x="418" y="354"/>
                      <a:pt x="418" y="354"/>
                    </a:cubicBezTo>
                    <a:cubicBezTo>
                      <a:pt x="426" y="362"/>
                      <a:pt x="426" y="362"/>
                      <a:pt x="426" y="362"/>
                    </a:cubicBezTo>
                    <a:cubicBezTo>
                      <a:pt x="426" y="372"/>
                      <a:pt x="426" y="372"/>
                      <a:pt x="426" y="372"/>
                    </a:cubicBezTo>
                    <a:cubicBezTo>
                      <a:pt x="430" y="382"/>
                      <a:pt x="430" y="382"/>
                      <a:pt x="430" y="382"/>
                    </a:cubicBezTo>
                    <a:cubicBezTo>
                      <a:pt x="437" y="404"/>
                      <a:pt x="437" y="404"/>
                      <a:pt x="437" y="404"/>
                    </a:cubicBezTo>
                    <a:cubicBezTo>
                      <a:pt x="436" y="416"/>
                      <a:pt x="436" y="416"/>
                      <a:pt x="436" y="416"/>
                    </a:cubicBezTo>
                    <a:cubicBezTo>
                      <a:pt x="420" y="408"/>
                      <a:pt x="420" y="408"/>
                      <a:pt x="420" y="408"/>
                    </a:cubicBezTo>
                    <a:cubicBezTo>
                      <a:pt x="414" y="414"/>
                      <a:pt x="414" y="414"/>
                      <a:pt x="414" y="414"/>
                    </a:cubicBezTo>
                    <a:cubicBezTo>
                      <a:pt x="400" y="412"/>
                      <a:pt x="400" y="412"/>
                      <a:pt x="400" y="412"/>
                    </a:cubicBezTo>
                    <a:cubicBezTo>
                      <a:pt x="390" y="405"/>
                      <a:pt x="390" y="405"/>
                      <a:pt x="390" y="405"/>
                    </a:cubicBezTo>
                    <a:cubicBezTo>
                      <a:pt x="377" y="392"/>
                      <a:pt x="377" y="392"/>
                      <a:pt x="377" y="392"/>
                    </a:cubicBezTo>
                    <a:cubicBezTo>
                      <a:pt x="364" y="392"/>
                      <a:pt x="364" y="392"/>
                      <a:pt x="364" y="392"/>
                    </a:cubicBezTo>
                    <a:cubicBezTo>
                      <a:pt x="364" y="382"/>
                      <a:pt x="364" y="382"/>
                      <a:pt x="364" y="382"/>
                    </a:cubicBezTo>
                    <a:cubicBezTo>
                      <a:pt x="364" y="382"/>
                      <a:pt x="358" y="372"/>
                      <a:pt x="358" y="376"/>
                    </a:cubicBezTo>
                    <a:cubicBezTo>
                      <a:pt x="358" y="379"/>
                      <a:pt x="350" y="382"/>
                      <a:pt x="350" y="382"/>
                    </a:cubicBezTo>
                    <a:cubicBezTo>
                      <a:pt x="341" y="373"/>
                      <a:pt x="341" y="373"/>
                      <a:pt x="341" y="373"/>
                    </a:cubicBezTo>
                    <a:cubicBezTo>
                      <a:pt x="346" y="368"/>
                      <a:pt x="346" y="368"/>
                      <a:pt x="346" y="368"/>
                    </a:cubicBezTo>
                    <a:cubicBezTo>
                      <a:pt x="355" y="365"/>
                      <a:pt x="355" y="365"/>
                      <a:pt x="355" y="365"/>
                    </a:cubicBezTo>
                    <a:cubicBezTo>
                      <a:pt x="355" y="350"/>
                      <a:pt x="355" y="350"/>
                      <a:pt x="355" y="350"/>
                    </a:cubicBezTo>
                    <a:cubicBezTo>
                      <a:pt x="348" y="344"/>
                      <a:pt x="348" y="344"/>
                      <a:pt x="348" y="344"/>
                    </a:cubicBezTo>
                    <a:cubicBezTo>
                      <a:pt x="336" y="352"/>
                      <a:pt x="336" y="352"/>
                      <a:pt x="336" y="352"/>
                    </a:cubicBezTo>
                    <a:cubicBezTo>
                      <a:pt x="336" y="339"/>
                      <a:pt x="336" y="339"/>
                      <a:pt x="336" y="339"/>
                    </a:cubicBezTo>
                    <a:cubicBezTo>
                      <a:pt x="328" y="331"/>
                      <a:pt x="328" y="331"/>
                      <a:pt x="328" y="331"/>
                    </a:cubicBezTo>
                    <a:cubicBezTo>
                      <a:pt x="320" y="331"/>
                      <a:pt x="320" y="331"/>
                      <a:pt x="320" y="331"/>
                    </a:cubicBezTo>
                    <a:cubicBezTo>
                      <a:pt x="326" y="315"/>
                      <a:pt x="326" y="315"/>
                      <a:pt x="326" y="315"/>
                    </a:cubicBezTo>
                    <a:cubicBezTo>
                      <a:pt x="310" y="310"/>
                      <a:pt x="310" y="310"/>
                      <a:pt x="310" y="310"/>
                    </a:cubicBezTo>
                    <a:cubicBezTo>
                      <a:pt x="305" y="314"/>
                      <a:pt x="305" y="314"/>
                      <a:pt x="305" y="314"/>
                    </a:cubicBezTo>
                    <a:cubicBezTo>
                      <a:pt x="290" y="303"/>
                      <a:pt x="290" y="303"/>
                      <a:pt x="290" y="303"/>
                    </a:cubicBezTo>
                    <a:cubicBezTo>
                      <a:pt x="290" y="303"/>
                      <a:pt x="289" y="309"/>
                      <a:pt x="284" y="309"/>
                    </a:cubicBezTo>
                    <a:cubicBezTo>
                      <a:pt x="279" y="309"/>
                      <a:pt x="280" y="322"/>
                      <a:pt x="280" y="322"/>
                    </a:cubicBezTo>
                    <a:cubicBezTo>
                      <a:pt x="274" y="326"/>
                      <a:pt x="274" y="326"/>
                      <a:pt x="274" y="326"/>
                    </a:cubicBezTo>
                    <a:cubicBezTo>
                      <a:pt x="269" y="320"/>
                      <a:pt x="269" y="320"/>
                      <a:pt x="269" y="320"/>
                    </a:cubicBezTo>
                    <a:cubicBezTo>
                      <a:pt x="264" y="321"/>
                      <a:pt x="264" y="321"/>
                      <a:pt x="264" y="321"/>
                    </a:cubicBezTo>
                    <a:cubicBezTo>
                      <a:pt x="261" y="329"/>
                      <a:pt x="261" y="329"/>
                      <a:pt x="261" y="329"/>
                    </a:cubicBezTo>
                    <a:cubicBezTo>
                      <a:pt x="250" y="322"/>
                      <a:pt x="250" y="322"/>
                      <a:pt x="250" y="322"/>
                    </a:cubicBezTo>
                    <a:cubicBezTo>
                      <a:pt x="243" y="315"/>
                      <a:pt x="243" y="315"/>
                      <a:pt x="243" y="315"/>
                    </a:cubicBezTo>
                    <a:cubicBezTo>
                      <a:pt x="235" y="321"/>
                      <a:pt x="235" y="321"/>
                      <a:pt x="235" y="321"/>
                    </a:cubicBezTo>
                    <a:cubicBezTo>
                      <a:pt x="227" y="313"/>
                      <a:pt x="227" y="313"/>
                      <a:pt x="227" y="313"/>
                    </a:cubicBezTo>
                    <a:cubicBezTo>
                      <a:pt x="225" y="321"/>
                      <a:pt x="225" y="321"/>
                      <a:pt x="225" y="321"/>
                    </a:cubicBezTo>
                    <a:cubicBezTo>
                      <a:pt x="222" y="336"/>
                      <a:pt x="222" y="336"/>
                      <a:pt x="222" y="336"/>
                    </a:cubicBezTo>
                    <a:cubicBezTo>
                      <a:pt x="232" y="352"/>
                      <a:pt x="232" y="352"/>
                      <a:pt x="232" y="352"/>
                    </a:cubicBezTo>
                    <a:cubicBezTo>
                      <a:pt x="234" y="365"/>
                      <a:pt x="234" y="365"/>
                      <a:pt x="234" y="365"/>
                    </a:cubicBezTo>
                    <a:cubicBezTo>
                      <a:pt x="234" y="365"/>
                      <a:pt x="238" y="377"/>
                      <a:pt x="234" y="377"/>
                    </a:cubicBezTo>
                    <a:cubicBezTo>
                      <a:pt x="231" y="377"/>
                      <a:pt x="216" y="380"/>
                      <a:pt x="216" y="380"/>
                    </a:cubicBezTo>
                    <a:cubicBezTo>
                      <a:pt x="202" y="392"/>
                      <a:pt x="202" y="392"/>
                      <a:pt x="202" y="392"/>
                    </a:cubicBezTo>
                    <a:cubicBezTo>
                      <a:pt x="188" y="397"/>
                      <a:pt x="188" y="397"/>
                      <a:pt x="188" y="397"/>
                    </a:cubicBezTo>
                    <a:cubicBezTo>
                      <a:pt x="180" y="384"/>
                      <a:pt x="180" y="384"/>
                      <a:pt x="180" y="384"/>
                    </a:cubicBezTo>
                    <a:cubicBezTo>
                      <a:pt x="178" y="392"/>
                      <a:pt x="178" y="392"/>
                      <a:pt x="178" y="392"/>
                    </a:cubicBezTo>
                    <a:cubicBezTo>
                      <a:pt x="178" y="397"/>
                      <a:pt x="178" y="397"/>
                      <a:pt x="178" y="397"/>
                    </a:cubicBezTo>
                    <a:cubicBezTo>
                      <a:pt x="157" y="397"/>
                      <a:pt x="157" y="397"/>
                      <a:pt x="157" y="397"/>
                    </a:cubicBezTo>
                    <a:cubicBezTo>
                      <a:pt x="146" y="386"/>
                      <a:pt x="146" y="386"/>
                      <a:pt x="146" y="386"/>
                    </a:cubicBezTo>
                    <a:cubicBezTo>
                      <a:pt x="151" y="381"/>
                      <a:pt x="151" y="381"/>
                      <a:pt x="151" y="381"/>
                    </a:cubicBezTo>
                    <a:cubicBezTo>
                      <a:pt x="146" y="374"/>
                      <a:pt x="146" y="374"/>
                      <a:pt x="146" y="374"/>
                    </a:cubicBezTo>
                    <a:cubicBezTo>
                      <a:pt x="126" y="380"/>
                      <a:pt x="126" y="380"/>
                      <a:pt x="126" y="380"/>
                    </a:cubicBezTo>
                    <a:cubicBezTo>
                      <a:pt x="100" y="384"/>
                      <a:pt x="100" y="384"/>
                      <a:pt x="100" y="384"/>
                    </a:cubicBezTo>
                    <a:cubicBezTo>
                      <a:pt x="84" y="393"/>
                      <a:pt x="84" y="393"/>
                      <a:pt x="84" y="393"/>
                    </a:cubicBezTo>
                    <a:cubicBezTo>
                      <a:pt x="71" y="405"/>
                      <a:pt x="71" y="405"/>
                      <a:pt x="71" y="405"/>
                    </a:cubicBezTo>
                    <a:cubicBezTo>
                      <a:pt x="65" y="412"/>
                      <a:pt x="65" y="412"/>
                      <a:pt x="65" y="412"/>
                    </a:cubicBezTo>
                    <a:cubicBezTo>
                      <a:pt x="74" y="420"/>
                      <a:pt x="74" y="420"/>
                      <a:pt x="74" y="420"/>
                    </a:cubicBezTo>
                    <a:cubicBezTo>
                      <a:pt x="65" y="420"/>
                      <a:pt x="65" y="420"/>
                      <a:pt x="65" y="420"/>
                    </a:cubicBezTo>
                    <a:cubicBezTo>
                      <a:pt x="57" y="409"/>
                      <a:pt x="57" y="409"/>
                      <a:pt x="57" y="409"/>
                    </a:cubicBezTo>
                    <a:cubicBezTo>
                      <a:pt x="57" y="396"/>
                      <a:pt x="57" y="396"/>
                      <a:pt x="57" y="396"/>
                    </a:cubicBezTo>
                    <a:cubicBezTo>
                      <a:pt x="50" y="389"/>
                      <a:pt x="50" y="389"/>
                      <a:pt x="50" y="389"/>
                    </a:cubicBezTo>
                    <a:cubicBezTo>
                      <a:pt x="42" y="400"/>
                      <a:pt x="42" y="400"/>
                      <a:pt x="42" y="400"/>
                    </a:cubicBezTo>
                    <a:cubicBezTo>
                      <a:pt x="39" y="408"/>
                      <a:pt x="39" y="408"/>
                      <a:pt x="39" y="408"/>
                    </a:cubicBezTo>
                    <a:cubicBezTo>
                      <a:pt x="26" y="403"/>
                      <a:pt x="26" y="403"/>
                      <a:pt x="26" y="403"/>
                    </a:cubicBezTo>
                    <a:cubicBezTo>
                      <a:pt x="14" y="400"/>
                      <a:pt x="14" y="400"/>
                      <a:pt x="14" y="400"/>
                    </a:cubicBezTo>
                    <a:cubicBezTo>
                      <a:pt x="16" y="412"/>
                      <a:pt x="16" y="412"/>
                      <a:pt x="16" y="412"/>
                    </a:cubicBezTo>
                    <a:cubicBezTo>
                      <a:pt x="21" y="416"/>
                      <a:pt x="21" y="416"/>
                      <a:pt x="21" y="416"/>
                    </a:cubicBezTo>
                    <a:cubicBezTo>
                      <a:pt x="20" y="423"/>
                      <a:pt x="20" y="423"/>
                      <a:pt x="20" y="423"/>
                    </a:cubicBezTo>
                    <a:cubicBezTo>
                      <a:pt x="15" y="428"/>
                      <a:pt x="15" y="428"/>
                      <a:pt x="15" y="428"/>
                    </a:cubicBezTo>
                    <a:cubicBezTo>
                      <a:pt x="18" y="435"/>
                      <a:pt x="18" y="435"/>
                      <a:pt x="18" y="435"/>
                    </a:cubicBezTo>
                    <a:cubicBezTo>
                      <a:pt x="24" y="444"/>
                      <a:pt x="24" y="444"/>
                      <a:pt x="24" y="444"/>
                    </a:cubicBezTo>
                    <a:cubicBezTo>
                      <a:pt x="30" y="450"/>
                      <a:pt x="30" y="450"/>
                      <a:pt x="30" y="450"/>
                    </a:cubicBezTo>
                    <a:cubicBezTo>
                      <a:pt x="28" y="463"/>
                      <a:pt x="28" y="463"/>
                      <a:pt x="28" y="463"/>
                    </a:cubicBezTo>
                    <a:cubicBezTo>
                      <a:pt x="33" y="473"/>
                      <a:pt x="33" y="473"/>
                      <a:pt x="33" y="473"/>
                    </a:cubicBezTo>
                    <a:cubicBezTo>
                      <a:pt x="46" y="478"/>
                      <a:pt x="46" y="478"/>
                      <a:pt x="46" y="478"/>
                    </a:cubicBezTo>
                    <a:cubicBezTo>
                      <a:pt x="46" y="485"/>
                      <a:pt x="46" y="485"/>
                      <a:pt x="46" y="485"/>
                    </a:cubicBezTo>
                    <a:cubicBezTo>
                      <a:pt x="64" y="498"/>
                      <a:pt x="64" y="498"/>
                      <a:pt x="64" y="498"/>
                    </a:cubicBezTo>
                    <a:cubicBezTo>
                      <a:pt x="73" y="507"/>
                      <a:pt x="73" y="507"/>
                      <a:pt x="73" y="507"/>
                    </a:cubicBezTo>
                    <a:cubicBezTo>
                      <a:pt x="73" y="523"/>
                      <a:pt x="73" y="523"/>
                      <a:pt x="73" y="523"/>
                    </a:cubicBezTo>
                    <a:cubicBezTo>
                      <a:pt x="82" y="541"/>
                      <a:pt x="82" y="541"/>
                      <a:pt x="82" y="541"/>
                    </a:cubicBezTo>
                    <a:cubicBezTo>
                      <a:pt x="93" y="541"/>
                      <a:pt x="93" y="541"/>
                      <a:pt x="93" y="541"/>
                    </a:cubicBezTo>
                    <a:cubicBezTo>
                      <a:pt x="94" y="555"/>
                      <a:pt x="94" y="555"/>
                      <a:pt x="94" y="555"/>
                    </a:cubicBezTo>
                    <a:cubicBezTo>
                      <a:pt x="88" y="555"/>
                      <a:pt x="88" y="555"/>
                      <a:pt x="88" y="555"/>
                    </a:cubicBezTo>
                    <a:cubicBezTo>
                      <a:pt x="85" y="564"/>
                      <a:pt x="85" y="564"/>
                      <a:pt x="85" y="564"/>
                    </a:cubicBezTo>
                    <a:cubicBezTo>
                      <a:pt x="73" y="577"/>
                      <a:pt x="73" y="577"/>
                      <a:pt x="73" y="577"/>
                    </a:cubicBezTo>
                    <a:cubicBezTo>
                      <a:pt x="62" y="584"/>
                      <a:pt x="62" y="584"/>
                      <a:pt x="62" y="584"/>
                    </a:cubicBezTo>
                    <a:cubicBezTo>
                      <a:pt x="62" y="608"/>
                      <a:pt x="62" y="608"/>
                      <a:pt x="62" y="608"/>
                    </a:cubicBezTo>
                    <a:cubicBezTo>
                      <a:pt x="52" y="612"/>
                      <a:pt x="52" y="612"/>
                      <a:pt x="52" y="612"/>
                    </a:cubicBezTo>
                    <a:cubicBezTo>
                      <a:pt x="49" y="625"/>
                      <a:pt x="49" y="625"/>
                      <a:pt x="49" y="625"/>
                    </a:cubicBezTo>
                    <a:cubicBezTo>
                      <a:pt x="56" y="632"/>
                      <a:pt x="56" y="632"/>
                      <a:pt x="56" y="632"/>
                    </a:cubicBezTo>
                    <a:cubicBezTo>
                      <a:pt x="56" y="643"/>
                      <a:pt x="56" y="643"/>
                      <a:pt x="56" y="643"/>
                    </a:cubicBezTo>
                    <a:cubicBezTo>
                      <a:pt x="52" y="652"/>
                      <a:pt x="52" y="652"/>
                      <a:pt x="52" y="652"/>
                    </a:cubicBezTo>
                    <a:cubicBezTo>
                      <a:pt x="39" y="648"/>
                      <a:pt x="39" y="648"/>
                      <a:pt x="39" y="648"/>
                    </a:cubicBezTo>
                    <a:cubicBezTo>
                      <a:pt x="29" y="651"/>
                      <a:pt x="29" y="651"/>
                      <a:pt x="29" y="651"/>
                    </a:cubicBezTo>
                    <a:cubicBezTo>
                      <a:pt x="14" y="672"/>
                      <a:pt x="14" y="672"/>
                      <a:pt x="14" y="672"/>
                    </a:cubicBezTo>
                    <a:cubicBezTo>
                      <a:pt x="0" y="677"/>
                      <a:pt x="0" y="677"/>
                      <a:pt x="0" y="677"/>
                    </a:cubicBezTo>
                    <a:cubicBezTo>
                      <a:pt x="0" y="683"/>
                      <a:pt x="0" y="683"/>
                      <a:pt x="0" y="683"/>
                    </a:cubicBezTo>
                    <a:cubicBezTo>
                      <a:pt x="4" y="692"/>
                      <a:pt x="4" y="692"/>
                      <a:pt x="4" y="692"/>
                    </a:cubicBezTo>
                    <a:cubicBezTo>
                      <a:pt x="9" y="703"/>
                      <a:pt x="9" y="703"/>
                      <a:pt x="9" y="703"/>
                    </a:cubicBezTo>
                    <a:cubicBezTo>
                      <a:pt x="20" y="711"/>
                      <a:pt x="20" y="711"/>
                      <a:pt x="20" y="711"/>
                    </a:cubicBezTo>
                    <a:cubicBezTo>
                      <a:pt x="22" y="733"/>
                      <a:pt x="22" y="733"/>
                      <a:pt x="22" y="733"/>
                    </a:cubicBezTo>
                    <a:cubicBezTo>
                      <a:pt x="33" y="755"/>
                      <a:pt x="33" y="755"/>
                      <a:pt x="33" y="755"/>
                    </a:cubicBezTo>
                    <a:cubicBezTo>
                      <a:pt x="33" y="763"/>
                      <a:pt x="33" y="763"/>
                      <a:pt x="33" y="763"/>
                    </a:cubicBezTo>
                    <a:cubicBezTo>
                      <a:pt x="36" y="780"/>
                      <a:pt x="36" y="780"/>
                      <a:pt x="36" y="780"/>
                    </a:cubicBezTo>
                    <a:cubicBezTo>
                      <a:pt x="40" y="806"/>
                      <a:pt x="40" y="806"/>
                      <a:pt x="40" y="806"/>
                    </a:cubicBezTo>
                    <a:cubicBezTo>
                      <a:pt x="30" y="809"/>
                      <a:pt x="30" y="809"/>
                      <a:pt x="30" y="809"/>
                    </a:cubicBezTo>
                    <a:cubicBezTo>
                      <a:pt x="23" y="820"/>
                      <a:pt x="23" y="820"/>
                      <a:pt x="23" y="820"/>
                    </a:cubicBezTo>
                    <a:cubicBezTo>
                      <a:pt x="17" y="826"/>
                      <a:pt x="17" y="826"/>
                      <a:pt x="17" y="826"/>
                    </a:cubicBezTo>
                    <a:cubicBezTo>
                      <a:pt x="21" y="837"/>
                      <a:pt x="21" y="837"/>
                      <a:pt x="21" y="837"/>
                    </a:cubicBezTo>
                    <a:cubicBezTo>
                      <a:pt x="24" y="833"/>
                      <a:pt x="24" y="833"/>
                      <a:pt x="24" y="833"/>
                    </a:cubicBezTo>
                    <a:cubicBezTo>
                      <a:pt x="37" y="838"/>
                      <a:pt x="37" y="838"/>
                      <a:pt x="37" y="838"/>
                    </a:cubicBezTo>
                    <a:cubicBezTo>
                      <a:pt x="37" y="849"/>
                      <a:pt x="37" y="849"/>
                      <a:pt x="37" y="849"/>
                    </a:cubicBezTo>
                    <a:cubicBezTo>
                      <a:pt x="42" y="854"/>
                      <a:pt x="42" y="854"/>
                      <a:pt x="42" y="854"/>
                    </a:cubicBezTo>
                    <a:cubicBezTo>
                      <a:pt x="37" y="858"/>
                      <a:pt x="37" y="858"/>
                      <a:pt x="37" y="858"/>
                    </a:cubicBezTo>
                    <a:cubicBezTo>
                      <a:pt x="37" y="869"/>
                      <a:pt x="37" y="869"/>
                      <a:pt x="37" y="869"/>
                    </a:cubicBezTo>
                    <a:cubicBezTo>
                      <a:pt x="49" y="876"/>
                      <a:pt x="49" y="876"/>
                      <a:pt x="49" y="876"/>
                    </a:cubicBezTo>
                    <a:cubicBezTo>
                      <a:pt x="52" y="894"/>
                      <a:pt x="52" y="894"/>
                      <a:pt x="52" y="894"/>
                    </a:cubicBezTo>
                    <a:cubicBezTo>
                      <a:pt x="66" y="908"/>
                      <a:pt x="66" y="908"/>
                      <a:pt x="66" y="908"/>
                    </a:cubicBezTo>
                    <a:cubicBezTo>
                      <a:pt x="62" y="921"/>
                      <a:pt x="62" y="921"/>
                      <a:pt x="62" y="921"/>
                    </a:cubicBezTo>
                    <a:cubicBezTo>
                      <a:pt x="54" y="933"/>
                      <a:pt x="54" y="933"/>
                      <a:pt x="54" y="933"/>
                    </a:cubicBezTo>
                    <a:cubicBezTo>
                      <a:pt x="57" y="943"/>
                      <a:pt x="57" y="943"/>
                      <a:pt x="57" y="943"/>
                    </a:cubicBezTo>
                    <a:cubicBezTo>
                      <a:pt x="57" y="952"/>
                      <a:pt x="57" y="952"/>
                      <a:pt x="57" y="952"/>
                    </a:cubicBezTo>
                    <a:cubicBezTo>
                      <a:pt x="53" y="956"/>
                      <a:pt x="53" y="956"/>
                      <a:pt x="53" y="956"/>
                    </a:cubicBezTo>
                    <a:cubicBezTo>
                      <a:pt x="53" y="969"/>
                      <a:pt x="53" y="969"/>
                      <a:pt x="53" y="969"/>
                    </a:cubicBezTo>
                    <a:cubicBezTo>
                      <a:pt x="60" y="973"/>
                      <a:pt x="60" y="973"/>
                      <a:pt x="60" y="973"/>
                    </a:cubicBezTo>
                    <a:cubicBezTo>
                      <a:pt x="71" y="973"/>
                      <a:pt x="71" y="973"/>
                      <a:pt x="71" y="973"/>
                    </a:cubicBezTo>
                    <a:cubicBezTo>
                      <a:pt x="76" y="967"/>
                      <a:pt x="76" y="967"/>
                      <a:pt x="76" y="967"/>
                    </a:cubicBezTo>
                    <a:cubicBezTo>
                      <a:pt x="82" y="967"/>
                      <a:pt x="82" y="967"/>
                      <a:pt x="82" y="967"/>
                    </a:cubicBezTo>
                    <a:cubicBezTo>
                      <a:pt x="88" y="974"/>
                      <a:pt x="88" y="974"/>
                      <a:pt x="88" y="974"/>
                    </a:cubicBezTo>
                    <a:cubicBezTo>
                      <a:pt x="100" y="970"/>
                      <a:pt x="100" y="970"/>
                      <a:pt x="100" y="970"/>
                    </a:cubicBezTo>
                    <a:cubicBezTo>
                      <a:pt x="109" y="974"/>
                      <a:pt x="109" y="974"/>
                      <a:pt x="109" y="974"/>
                    </a:cubicBezTo>
                    <a:cubicBezTo>
                      <a:pt x="117" y="967"/>
                      <a:pt x="117" y="967"/>
                      <a:pt x="117" y="967"/>
                    </a:cubicBezTo>
                    <a:cubicBezTo>
                      <a:pt x="126" y="967"/>
                      <a:pt x="126" y="967"/>
                      <a:pt x="126" y="967"/>
                    </a:cubicBezTo>
                    <a:cubicBezTo>
                      <a:pt x="127" y="975"/>
                      <a:pt x="127" y="975"/>
                      <a:pt x="127" y="975"/>
                    </a:cubicBezTo>
                    <a:cubicBezTo>
                      <a:pt x="136" y="985"/>
                      <a:pt x="136" y="985"/>
                      <a:pt x="136" y="985"/>
                    </a:cubicBezTo>
                    <a:cubicBezTo>
                      <a:pt x="136" y="993"/>
                      <a:pt x="136" y="993"/>
                      <a:pt x="136" y="993"/>
                    </a:cubicBezTo>
                    <a:cubicBezTo>
                      <a:pt x="127" y="996"/>
                      <a:pt x="127" y="996"/>
                      <a:pt x="127" y="996"/>
                    </a:cubicBezTo>
                    <a:cubicBezTo>
                      <a:pt x="127" y="1009"/>
                      <a:pt x="127" y="1009"/>
                      <a:pt x="127" y="1009"/>
                    </a:cubicBezTo>
                    <a:cubicBezTo>
                      <a:pt x="138" y="1008"/>
                      <a:pt x="138" y="1008"/>
                      <a:pt x="138" y="1008"/>
                    </a:cubicBezTo>
                    <a:cubicBezTo>
                      <a:pt x="149" y="1004"/>
                      <a:pt x="149" y="1004"/>
                      <a:pt x="149" y="1004"/>
                    </a:cubicBezTo>
                    <a:cubicBezTo>
                      <a:pt x="159" y="1011"/>
                      <a:pt x="159" y="1011"/>
                      <a:pt x="159" y="1011"/>
                    </a:cubicBezTo>
                    <a:cubicBezTo>
                      <a:pt x="168" y="1026"/>
                      <a:pt x="168" y="1026"/>
                      <a:pt x="168" y="1026"/>
                    </a:cubicBezTo>
                    <a:cubicBezTo>
                      <a:pt x="171" y="1041"/>
                      <a:pt x="171" y="1041"/>
                      <a:pt x="171" y="1041"/>
                    </a:cubicBezTo>
                    <a:cubicBezTo>
                      <a:pt x="176" y="1046"/>
                      <a:pt x="176" y="1046"/>
                      <a:pt x="176" y="1046"/>
                    </a:cubicBezTo>
                    <a:cubicBezTo>
                      <a:pt x="172" y="1050"/>
                      <a:pt x="172" y="1050"/>
                      <a:pt x="172" y="1050"/>
                    </a:cubicBezTo>
                    <a:cubicBezTo>
                      <a:pt x="172" y="1059"/>
                      <a:pt x="172" y="1059"/>
                      <a:pt x="172" y="1059"/>
                    </a:cubicBezTo>
                    <a:cubicBezTo>
                      <a:pt x="182" y="1064"/>
                      <a:pt x="182" y="1064"/>
                      <a:pt x="182" y="1064"/>
                    </a:cubicBezTo>
                    <a:cubicBezTo>
                      <a:pt x="192" y="1064"/>
                      <a:pt x="192" y="1064"/>
                      <a:pt x="192" y="1064"/>
                    </a:cubicBezTo>
                    <a:cubicBezTo>
                      <a:pt x="199" y="1072"/>
                      <a:pt x="199" y="1072"/>
                      <a:pt x="199" y="1072"/>
                    </a:cubicBezTo>
                    <a:cubicBezTo>
                      <a:pt x="198" y="1084"/>
                      <a:pt x="198" y="1084"/>
                      <a:pt x="198" y="1084"/>
                    </a:cubicBezTo>
                    <a:cubicBezTo>
                      <a:pt x="192" y="1089"/>
                      <a:pt x="192" y="1089"/>
                      <a:pt x="192" y="1089"/>
                    </a:cubicBezTo>
                    <a:cubicBezTo>
                      <a:pt x="192" y="1098"/>
                      <a:pt x="192" y="1098"/>
                      <a:pt x="192" y="1098"/>
                    </a:cubicBezTo>
                    <a:cubicBezTo>
                      <a:pt x="200" y="1106"/>
                      <a:pt x="200" y="1106"/>
                      <a:pt x="200" y="1106"/>
                    </a:cubicBezTo>
                    <a:cubicBezTo>
                      <a:pt x="204" y="1115"/>
                      <a:pt x="204" y="1115"/>
                      <a:pt x="204" y="1115"/>
                    </a:cubicBezTo>
                    <a:cubicBezTo>
                      <a:pt x="205" y="1123"/>
                      <a:pt x="205" y="1123"/>
                      <a:pt x="205" y="1123"/>
                    </a:cubicBezTo>
                    <a:cubicBezTo>
                      <a:pt x="214" y="1126"/>
                      <a:pt x="214" y="1126"/>
                      <a:pt x="214" y="1126"/>
                    </a:cubicBezTo>
                    <a:cubicBezTo>
                      <a:pt x="225" y="1131"/>
                      <a:pt x="225" y="1131"/>
                      <a:pt x="225" y="1131"/>
                    </a:cubicBezTo>
                    <a:cubicBezTo>
                      <a:pt x="225" y="1147"/>
                      <a:pt x="225" y="1147"/>
                      <a:pt x="225" y="1147"/>
                    </a:cubicBezTo>
                    <a:cubicBezTo>
                      <a:pt x="223" y="1163"/>
                      <a:pt x="223" y="1163"/>
                      <a:pt x="223" y="1163"/>
                    </a:cubicBezTo>
                    <a:cubicBezTo>
                      <a:pt x="223" y="1182"/>
                      <a:pt x="223" y="1182"/>
                      <a:pt x="223" y="1182"/>
                    </a:cubicBezTo>
                    <a:cubicBezTo>
                      <a:pt x="221" y="1202"/>
                      <a:pt x="221" y="1202"/>
                      <a:pt x="221" y="1202"/>
                    </a:cubicBezTo>
                    <a:cubicBezTo>
                      <a:pt x="222" y="1236"/>
                      <a:pt x="222" y="1236"/>
                      <a:pt x="222" y="1236"/>
                    </a:cubicBezTo>
                    <a:cubicBezTo>
                      <a:pt x="238" y="1252"/>
                      <a:pt x="238" y="1252"/>
                      <a:pt x="238" y="1252"/>
                    </a:cubicBezTo>
                    <a:cubicBezTo>
                      <a:pt x="253" y="1250"/>
                      <a:pt x="253" y="1250"/>
                      <a:pt x="253" y="1250"/>
                    </a:cubicBezTo>
                    <a:cubicBezTo>
                      <a:pt x="259" y="1240"/>
                      <a:pt x="259" y="1240"/>
                      <a:pt x="259" y="1240"/>
                    </a:cubicBezTo>
                    <a:cubicBezTo>
                      <a:pt x="263" y="1228"/>
                      <a:pt x="263" y="1228"/>
                      <a:pt x="263" y="1228"/>
                    </a:cubicBezTo>
                    <a:cubicBezTo>
                      <a:pt x="274" y="1228"/>
                      <a:pt x="274" y="1228"/>
                      <a:pt x="274" y="1228"/>
                    </a:cubicBezTo>
                    <a:cubicBezTo>
                      <a:pt x="296" y="1220"/>
                      <a:pt x="296" y="1220"/>
                      <a:pt x="296" y="1220"/>
                    </a:cubicBezTo>
                    <a:cubicBezTo>
                      <a:pt x="298" y="1209"/>
                      <a:pt x="298" y="1209"/>
                      <a:pt x="298" y="1209"/>
                    </a:cubicBezTo>
                    <a:cubicBezTo>
                      <a:pt x="306" y="1205"/>
                      <a:pt x="306" y="1205"/>
                      <a:pt x="306" y="1205"/>
                    </a:cubicBezTo>
                    <a:cubicBezTo>
                      <a:pt x="315" y="1214"/>
                      <a:pt x="315" y="1214"/>
                      <a:pt x="315" y="1214"/>
                    </a:cubicBezTo>
                    <a:cubicBezTo>
                      <a:pt x="315" y="1226"/>
                      <a:pt x="315" y="1226"/>
                      <a:pt x="315" y="1226"/>
                    </a:cubicBezTo>
                    <a:cubicBezTo>
                      <a:pt x="323" y="1236"/>
                      <a:pt x="323" y="1236"/>
                      <a:pt x="323" y="1236"/>
                    </a:cubicBezTo>
                    <a:cubicBezTo>
                      <a:pt x="323" y="1222"/>
                      <a:pt x="323" y="1222"/>
                      <a:pt x="323" y="1222"/>
                    </a:cubicBezTo>
                    <a:cubicBezTo>
                      <a:pt x="340" y="1210"/>
                      <a:pt x="340" y="1210"/>
                      <a:pt x="340" y="1210"/>
                    </a:cubicBezTo>
                    <a:cubicBezTo>
                      <a:pt x="340" y="1187"/>
                      <a:pt x="340" y="1187"/>
                      <a:pt x="340" y="1187"/>
                    </a:cubicBezTo>
                    <a:cubicBezTo>
                      <a:pt x="353" y="1174"/>
                      <a:pt x="353" y="1174"/>
                      <a:pt x="353" y="1174"/>
                    </a:cubicBezTo>
                    <a:cubicBezTo>
                      <a:pt x="358" y="1159"/>
                      <a:pt x="358" y="1159"/>
                      <a:pt x="358" y="1159"/>
                    </a:cubicBezTo>
                    <a:cubicBezTo>
                      <a:pt x="354" y="1146"/>
                      <a:pt x="354" y="1146"/>
                      <a:pt x="354" y="1146"/>
                    </a:cubicBezTo>
                    <a:cubicBezTo>
                      <a:pt x="363" y="1137"/>
                      <a:pt x="363" y="1137"/>
                      <a:pt x="363" y="1137"/>
                    </a:cubicBezTo>
                    <a:cubicBezTo>
                      <a:pt x="367" y="1124"/>
                      <a:pt x="367" y="1124"/>
                      <a:pt x="367" y="1124"/>
                    </a:cubicBezTo>
                    <a:cubicBezTo>
                      <a:pt x="375" y="1114"/>
                      <a:pt x="375" y="1114"/>
                      <a:pt x="375" y="1114"/>
                    </a:cubicBezTo>
                    <a:cubicBezTo>
                      <a:pt x="389" y="1116"/>
                      <a:pt x="389" y="1116"/>
                      <a:pt x="389" y="1116"/>
                    </a:cubicBezTo>
                    <a:cubicBezTo>
                      <a:pt x="403" y="1115"/>
                      <a:pt x="403" y="1115"/>
                      <a:pt x="403" y="1115"/>
                    </a:cubicBezTo>
                    <a:cubicBezTo>
                      <a:pt x="418" y="1122"/>
                      <a:pt x="418" y="1122"/>
                      <a:pt x="418" y="1122"/>
                    </a:cubicBezTo>
                    <a:cubicBezTo>
                      <a:pt x="431" y="1123"/>
                      <a:pt x="431" y="1123"/>
                      <a:pt x="431" y="1123"/>
                    </a:cubicBezTo>
                    <a:cubicBezTo>
                      <a:pt x="431" y="1136"/>
                      <a:pt x="431" y="1136"/>
                      <a:pt x="431" y="1136"/>
                    </a:cubicBezTo>
                    <a:cubicBezTo>
                      <a:pt x="438" y="1141"/>
                      <a:pt x="438" y="1141"/>
                      <a:pt x="438" y="1141"/>
                    </a:cubicBezTo>
                    <a:cubicBezTo>
                      <a:pt x="438" y="1151"/>
                      <a:pt x="438" y="1151"/>
                      <a:pt x="438" y="1151"/>
                    </a:cubicBezTo>
                    <a:cubicBezTo>
                      <a:pt x="452" y="1153"/>
                      <a:pt x="452" y="1153"/>
                      <a:pt x="452" y="1153"/>
                    </a:cubicBezTo>
                    <a:cubicBezTo>
                      <a:pt x="461" y="1143"/>
                      <a:pt x="461" y="1143"/>
                      <a:pt x="461" y="1143"/>
                    </a:cubicBezTo>
                    <a:cubicBezTo>
                      <a:pt x="461" y="1133"/>
                      <a:pt x="461" y="1133"/>
                      <a:pt x="461" y="1133"/>
                    </a:cubicBezTo>
                    <a:cubicBezTo>
                      <a:pt x="472" y="1133"/>
                      <a:pt x="472" y="1133"/>
                      <a:pt x="472" y="1133"/>
                    </a:cubicBezTo>
                    <a:cubicBezTo>
                      <a:pt x="479" y="1140"/>
                      <a:pt x="479" y="1140"/>
                      <a:pt x="479" y="1140"/>
                    </a:cubicBezTo>
                    <a:cubicBezTo>
                      <a:pt x="488" y="1150"/>
                      <a:pt x="488" y="1150"/>
                      <a:pt x="488" y="1150"/>
                    </a:cubicBezTo>
                    <a:cubicBezTo>
                      <a:pt x="488" y="1160"/>
                      <a:pt x="488" y="1160"/>
                      <a:pt x="488" y="1160"/>
                    </a:cubicBezTo>
                    <a:cubicBezTo>
                      <a:pt x="497" y="1161"/>
                      <a:pt x="497" y="1161"/>
                      <a:pt x="497" y="1161"/>
                    </a:cubicBezTo>
                    <a:cubicBezTo>
                      <a:pt x="502" y="1176"/>
                      <a:pt x="502" y="1176"/>
                      <a:pt x="502" y="1176"/>
                    </a:cubicBezTo>
                    <a:cubicBezTo>
                      <a:pt x="511" y="1184"/>
                      <a:pt x="511" y="1184"/>
                      <a:pt x="511" y="1184"/>
                    </a:cubicBezTo>
                    <a:cubicBezTo>
                      <a:pt x="521" y="1194"/>
                      <a:pt x="521" y="1194"/>
                      <a:pt x="521" y="1194"/>
                    </a:cubicBezTo>
                    <a:cubicBezTo>
                      <a:pt x="519" y="1202"/>
                      <a:pt x="519" y="1202"/>
                      <a:pt x="519" y="1202"/>
                    </a:cubicBezTo>
                    <a:cubicBezTo>
                      <a:pt x="526" y="1209"/>
                      <a:pt x="526" y="1209"/>
                      <a:pt x="526" y="1209"/>
                    </a:cubicBezTo>
                    <a:cubicBezTo>
                      <a:pt x="529" y="1224"/>
                      <a:pt x="529" y="1224"/>
                      <a:pt x="529" y="1224"/>
                    </a:cubicBezTo>
                    <a:cubicBezTo>
                      <a:pt x="543" y="1229"/>
                      <a:pt x="543" y="1229"/>
                      <a:pt x="543" y="1229"/>
                    </a:cubicBezTo>
                    <a:cubicBezTo>
                      <a:pt x="554" y="1243"/>
                      <a:pt x="554" y="1243"/>
                      <a:pt x="554" y="1243"/>
                    </a:cubicBezTo>
                    <a:cubicBezTo>
                      <a:pt x="564" y="1246"/>
                      <a:pt x="564" y="1246"/>
                      <a:pt x="564" y="1246"/>
                    </a:cubicBezTo>
                    <a:cubicBezTo>
                      <a:pt x="564" y="1258"/>
                      <a:pt x="564" y="1258"/>
                      <a:pt x="564" y="1258"/>
                    </a:cubicBezTo>
                    <a:cubicBezTo>
                      <a:pt x="575" y="1261"/>
                      <a:pt x="575" y="1261"/>
                      <a:pt x="575" y="1261"/>
                    </a:cubicBezTo>
                    <a:cubicBezTo>
                      <a:pt x="586" y="1249"/>
                      <a:pt x="586" y="1249"/>
                      <a:pt x="586" y="1249"/>
                    </a:cubicBezTo>
                    <a:cubicBezTo>
                      <a:pt x="599" y="1238"/>
                      <a:pt x="599" y="1238"/>
                      <a:pt x="599" y="1238"/>
                    </a:cubicBezTo>
                    <a:cubicBezTo>
                      <a:pt x="612" y="1238"/>
                      <a:pt x="612" y="1238"/>
                      <a:pt x="612" y="1238"/>
                    </a:cubicBezTo>
                    <a:cubicBezTo>
                      <a:pt x="618" y="1232"/>
                      <a:pt x="618" y="1232"/>
                      <a:pt x="618" y="1232"/>
                    </a:cubicBezTo>
                    <a:cubicBezTo>
                      <a:pt x="625" y="1240"/>
                      <a:pt x="625" y="1240"/>
                      <a:pt x="625" y="1240"/>
                    </a:cubicBezTo>
                    <a:cubicBezTo>
                      <a:pt x="635" y="1242"/>
                      <a:pt x="635" y="1242"/>
                      <a:pt x="635" y="1242"/>
                    </a:cubicBezTo>
                    <a:cubicBezTo>
                      <a:pt x="640" y="1237"/>
                      <a:pt x="640" y="1237"/>
                      <a:pt x="640" y="1237"/>
                    </a:cubicBezTo>
                    <a:cubicBezTo>
                      <a:pt x="653" y="1237"/>
                      <a:pt x="653" y="1237"/>
                      <a:pt x="653" y="1237"/>
                    </a:cubicBezTo>
                    <a:cubicBezTo>
                      <a:pt x="659" y="1244"/>
                      <a:pt x="659" y="1244"/>
                      <a:pt x="659" y="1244"/>
                    </a:cubicBezTo>
                    <a:cubicBezTo>
                      <a:pt x="667" y="1244"/>
                      <a:pt x="667" y="1244"/>
                      <a:pt x="667" y="1244"/>
                    </a:cubicBezTo>
                    <a:cubicBezTo>
                      <a:pt x="669" y="1234"/>
                      <a:pt x="669" y="1234"/>
                      <a:pt x="669" y="1234"/>
                    </a:cubicBezTo>
                    <a:cubicBezTo>
                      <a:pt x="686" y="1238"/>
                      <a:pt x="686" y="1238"/>
                      <a:pt x="686" y="1238"/>
                    </a:cubicBezTo>
                    <a:cubicBezTo>
                      <a:pt x="692" y="1232"/>
                      <a:pt x="692" y="1232"/>
                      <a:pt x="692" y="1232"/>
                    </a:cubicBezTo>
                    <a:cubicBezTo>
                      <a:pt x="704" y="1229"/>
                      <a:pt x="704" y="1229"/>
                      <a:pt x="704" y="1229"/>
                    </a:cubicBezTo>
                    <a:cubicBezTo>
                      <a:pt x="715" y="1234"/>
                      <a:pt x="715" y="1234"/>
                      <a:pt x="715" y="1234"/>
                    </a:cubicBezTo>
                    <a:cubicBezTo>
                      <a:pt x="729" y="1248"/>
                      <a:pt x="729" y="1248"/>
                      <a:pt x="729" y="1248"/>
                    </a:cubicBezTo>
                    <a:cubicBezTo>
                      <a:pt x="740" y="1243"/>
                      <a:pt x="740" y="1243"/>
                      <a:pt x="740" y="1243"/>
                    </a:cubicBezTo>
                    <a:cubicBezTo>
                      <a:pt x="752" y="1241"/>
                      <a:pt x="752" y="1241"/>
                      <a:pt x="752" y="1241"/>
                    </a:cubicBezTo>
                    <a:cubicBezTo>
                      <a:pt x="758" y="1233"/>
                      <a:pt x="758" y="1233"/>
                      <a:pt x="758" y="1233"/>
                    </a:cubicBezTo>
                    <a:cubicBezTo>
                      <a:pt x="767" y="1237"/>
                      <a:pt x="767" y="1237"/>
                      <a:pt x="767" y="1237"/>
                    </a:cubicBezTo>
                    <a:cubicBezTo>
                      <a:pt x="774" y="1231"/>
                      <a:pt x="774" y="1231"/>
                      <a:pt x="774" y="1231"/>
                    </a:cubicBezTo>
                    <a:cubicBezTo>
                      <a:pt x="781" y="1231"/>
                      <a:pt x="781" y="1231"/>
                      <a:pt x="781" y="1231"/>
                    </a:cubicBezTo>
                    <a:cubicBezTo>
                      <a:pt x="788" y="1238"/>
                      <a:pt x="788" y="1238"/>
                      <a:pt x="788" y="1238"/>
                    </a:cubicBezTo>
                    <a:cubicBezTo>
                      <a:pt x="795" y="1231"/>
                      <a:pt x="795" y="1231"/>
                      <a:pt x="795" y="1231"/>
                    </a:cubicBezTo>
                    <a:cubicBezTo>
                      <a:pt x="815" y="1211"/>
                      <a:pt x="815" y="1211"/>
                      <a:pt x="815" y="1211"/>
                    </a:cubicBezTo>
                    <a:cubicBezTo>
                      <a:pt x="829" y="1213"/>
                      <a:pt x="829" y="1213"/>
                      <a:pt x="829" y="1213"/>
                    </a:cubicBezTo>
                    <a:cubicBezTo>
                      <a:pt x="829" y="1204"/>
                      <a:pt x="829" y="1204"/>
                      <a:pt x="829" y="1204"/>
                    </a:cubicBezTo>
                    <a:cubicBezTo>
                      <a:pt x="847" y="1198"/>
                      <a:pt x="847" y="1198"/>
                      <a:pt x="847" y="1198"/>
                    </a:cubicBezTo>
                    <a:cubicBezTo>
                      <a:pt x="860" y="1200"/>
                      <a:pt x="860" y="1200"/>
                      <a:pt x="860" y="1200"/>
                    </a:cubicBezTo>
                    <a:cubicBezTo>
                      <a:pt x="873" y="1192"/>
                      <a:pt x="873" y="1192"/>
                      <a:pt x="873" y="1192"/>
                    </a:cubicBezTo>
                    <a:cubicBezTo>
                      <a:pt x="872" y="1178"/>
                      <a:pt x="872" y="1178"/>
                      <a:pt x="872" y="1178"/>
                    </a:cubicBezTo>
                    <a:cubicBezTo>
                      <a:pt x="894" y="1165"/>
                      <a:pt x="894" y="1165"/>
                      <a:pt x="894" y="1165"/>
                    </a:cubicBezTo>
                    <a:cubicBezTo>
                      <a:pt x="914" y="1148"/>
                      <a:pt x="914" y="1148"/>
                      <a:pt x="914" y="1148"/>
                    </a:cubicBezTo>
                    <a:cubicBezTo>
                      <a:pt x="907" y="1131"/>
                      <a:pt x="907" y="1131"/>
                      <a:pt x="907" y="1131"/>
                    </a:cubicBezTo>
                    <a:cubicBezTo>
                      <a:pt x="907" y="1118"/>
                      <a:pt x="907" y="1118"/>
                      <a:pt x="907" y="1118"/>
                    </a:cubicBezTo>
                    <a:cubicBezTo>
                      <a:pt x="898" y="1109"/>
                      <a:pt x="898" y="1109"/>
                      <a:pt x="898" y="1109"/>
                    </a:cubicBezTo>
                    <a:cubicBezTo>
                      <a:pt x="906" y="1101"/>
                      <a:pt x="906" y="1101"/>
                      <a:pt x="906" y="1101"/>
                    </a:cubicBezTo>
                    <a:cubicBezTo>
                      <a:pt x="908" y="1084"/>
                      <a:pt x="908" y="1084"/>
                      <a:pt x="908" y="1084"/>
                    </a:cubicBezTo>
                    <a:cubicBezTo>
                      <a:pt x="890" y="1076"/>
                      <a:pt x="890" y="1076"/>
                      <a:pt x="890" y="1076"/>
                    </a:cubicBezTo>
                    <a:cubicBezTo>
                      <a:pt x="875" y="1076"/>
                      <a:pt x="875" y="1076"/>
                      <a:pt x="875" y="1076"/>
                    </a:cubicBezTo>
                    <a:cubicBezTo>
                      <a:pt x="873" y="1067"/>
                      <a:pt x="873" y="1067"/>
                      <a:pt x="873" y="1067"/>
                    </a:cubicBezTo>
                    <a:cubicBezTo>
                      <a:pt x="884" y="1065"/>
                      <a:pt x="884" y="1065"/>
                      <a:pt x="884" y="1065"/>
                    </a:cubicBezTo>
                    <a:cubicBezTo>
                      <a:pt x="878" y="1054"/>
                      <a:pt x="878" y="1054"/>
                      <a:pt x="878" y="1054"/>
                    </a:cubicBezTo>
                    <a:cubicBezTo>
                      <a:pt x="881" y="1034"/>
                      <a:pt x="881" y="1034"/>
                      <a:pt x="881" y="1034"/>
                    </a:cubicBezTo>
                    <a:cubicBezTo>
                      <a:pt x="869" y="1032"/>
                      <a:pt x="869" y="1032"/>
                      <a:pt x="869" y="1032"/>
                    </a:cubicBezTo>
                    <a:cubicBezTo>
                      <a:pt x="856" y="1019"/>
                      <a:pt x="856" y="1019"/>
                      <a:pt x="856" y="1019"/>
                    </a:cubicBezTo>
                    <a:cubicBezTo>
                      <a:pt x="867" y="1016"/>
                      <a:pt x="867" y="1016"/>
                      <a:pt x="867" y="1016"/>
                    </a:cubicBezTo>
                    <a:cubicBezTo>
                      <a:pt x="868" y="1001"/>
                      <a:pt x="868" y="1001"/>
                      <a:pt x="868" y="1001"/>
                    </a:cubicBezTo>
                    <a:cubicBezTo>
                      <a:pt x="863" y="996"/>
                      <a:pt x="863" y="996"/>
                      <a:pt x="863" y="996"/>
                    </a:cubicBezTo>
                    <a:cubicBezTo>
                      <a:pt x="860" y="987"/>
                      <a:pt x="860" y="987"/>
                      <a:pt x="860" y="987"/>
                    </a:cubicBezTo>
                    <a:cubicBezTo>
                      <a:pt x="864" y="977"/>
                      <a:pt x="864" y="977"/>
                      <a:pt x="864" y="977"/>
                    </a:cubicBezTo>
                    <a:cubicBezTo>
                      <a:pt x="856" y="969"/>
                      <a:pt x="856" y="969"/>
                      <a:pt x="856" y="969"/>
                    </a:cubicBezTo>
                    <a:cubicBezTo>
                      <a:pt x="863" y="959"/>
                      <a:pt x="863" y="959"/>
                      <a:pt x="863" y="959"/>
                    </a:cubicBezTo>
                    <a:cubicBezTo>
                      <a:pt x="857" y="953"/>
                      <a:pt x="857" y="953"/>
                      <a:pt x="857" y="953"/>
                    </a:cubicBezTo>
                    <a:cubicBezTo>
                      <a:pt x="857" y="939"/>
                      <a:pt x="857" y="939"/>
                      <a:pt x="857" y="939"/>
                    </a:cubicBezTo>
                    <a:cubicBezTo>
                      <a:pt x="871" y="932"/>
                      <a:pt x="871" y="932"/>
                      <a:pt x="871" y="932"/>
                    </a:cubicBezTo>
                    <a:cubicBezTo>
                      <a:pt x="880" y="927"/>
                      <a:pt x="880" y="927"/>
                      <a:pt x="880" y="927"/>
                    </a:cubicBezTo>
                    <a:cubicBezTo>
                      <a:pt x="891" y="928"/>
                      <a:pt x="891" y="928"/>
                      <a:pt x="891" y="928"/>
                    </a:cubicBezTo>
                    <a:cubicBezTo>
                      <a:pt x="900" y="919"/>
                      <a:pt x="900" y="919"/>
                      <a:pt x="900" y="919"/>
                    </a:cubicBezTo>
                    <a:cubicBezTo>
                      <a:pt x="911" y="914"/>
                      <a:pt x="911" y="914"/>
                      <a:pt x="911" y="914"/>
                    </a:cubicBezTo>
                    <a:cubicBezTo>
                      <a:pt x="913" y="902"/>
                      <a:pt x="913" y="902"/>
                      <a:pt x="913" y="902"/>
                    </a:cubicBezTo>
                    <a:cubicBezTo>
                      <a:pt x="905" y="895"/>
                      <a:pt x="905" y="895"/>
                      <a:pt x="905" y="895"/>
                    </a:cubicBezTo>
                    <a:cubicBezTo>
                      <a:pt x="910" y="884"/>
                      <a:pt x="910" y="884"/>
                      <a:pt x="910" y="884"/>
                    </a:cubicBezTo>
                    <a:cubicBezTo>
                      <a:pt x="925" y="881"/>
                      <a:pt x="925" y="881"/>
                      <a:pt x="925" y="881"/>
                    </a:cubicBezTo>
                    <a:cubicBezTo>
                      <a:pt x="946" y="860"/>
                      <a:pt x="946" y="860"/>
                      <a:pt x="946" y="860"/>
                    </a:cubicBezTo>
                    <a:cubicBezTo>
                      <a:pt x="945" y="837"/>
                      <a:pt x="945" y="837"/>
                      <a:pt x="945" y="837"/>
                    </a:cubicBezTo>
                    <a:cubicBezTo>
                      <a:pt x="959" y="832"/>
                      <a:pt x="959" y="832"/>
                      <a:pt x="959" y="832"/>
                    </a:cubicBezTo>
                    <a:cubicBezTo>
                      <a:pt x="959" y="825"/>
                      <a:pt x="959" y="825"/>
                      <a:pt x="959" y="825"/>
                    </a:cubicBezTo>
                    <a:cubicBezTo>
                      <a:pt x="945" y="811"/>
                      <a:pt x="945" y="811"/>
                      <a:pt x="945" y="811"/>
                    </a:cubicBezTo>
                    <a:cubicBezTo>
                      <a:pt x="942" y="800"/>
                      <a:pt x="942" y="800"/>
                      <a:pt x="942" y="800"/>
                    </a:cubicBezTo>
                    <a:cubicBezTo>
                      <a:pt x="926" y="784"/>
                      <a:pt x="926" y="784"/>
                      <a:pt x="926" y="784"/>
                    </a:cubicBezTo>
                    <a:cubicBezTo>
                      <a:pt x="916" y="782"/>
                      <a:pt x="916" y="782"/>
                      <a:pt x="916" y="782"/>
                    </a:cubicBezTo>
                    <a:cubicBezTo>
                      <a:pt x="914" y="769"/>
                      <a:pt x="914" y="769"/>
                      <a:pt x="914" y="769"/>
                    </a:cubicBezTo>
                    <a:cubicBezTo>
                      <a:pt x="916" y="754"/>
                      <a:pt x="916" y="754"/>
                      <a:pt x="916" y="754"/>
                    </a:cubicBezTo>
                    <a:cubicBezTo>
                      <a:pt x="908" y="746"/>
                      <a:pt x="908" y="746"/>
                      <a:pt x="908" y="746"/>
                    </a:cubicBezTo>
                    <a:cubicBezTo>
                      <a:pt x="920" y="730"/>
                      <a:pt x="920" y="730"/>
                      <a:pt x="920" y="730"/>
                    </a:cubicBezTo>
                    <a:cubicBezTo>
                      <a:pt x="920" y="715"/>
                      <a:pt x="920" y="715"/>
                      <a:pt x="920" y="715"/>
                    </a:cubicBezTo>
                    <a:cubicBezTo>
                      <a:pt x="921" y="698"/>
                      <a:pt x="921" y="698"/>
                      <a:pt x="921" y="698"/>
                    </a:cubicBezTo>
                    <a:cubicBezTo>
                      <a:pt x="915" y="692"/>
                      <a:pt x="915" y="692"/>
                      <a:pt x="915" y="692"/>
                    </a:cubicBezTo>
                    <a:cubicBezTo>
                      <a:pt x="911" y="679"/>
                      <a:pt x="911" y="679"/>
                      <a:pt x="911" y="679"/>
                    </a:cubicBezTo>
                    <a:cubicBezTo>
                      <a:pt x="906" y="673"/>
                      <a:pt x="906" y="673"/>
                      <a:pt x="906" y="673"/>
                    </a:cubicBezTo>
                    <a:cubicBezTo>
                      <a:pt x="905" y="658"/>
                      <a:pt x="905" y="658"/>
                      <a:pt x="905" y="658"/>
                    </a:cubicBezTo>
                    <a:cubicBezTo>
                      <a:pt x="917" y="655"/>
                      <a:pt x="917" y="655"/>
                      <a:pt x="917" y="655"/>
                    </a:cubicBezTo>
                    <a:cubicBezTo>
                      <a:pt x="927" y="658"/>
                      <a:pt x="927" y="658"/>
                      <a:pt x="927" y="658"/>
                    </a:cubicBezTo>
                    <a:cubicBezTo>
                      <a:pt x="940" y="665"/>
                      <a:pt x="940" y="665"/>
                      <a:pt x="940" y="665"/>
                    </a:cubicBezTo>
                    <a:cubicBezTo>
                      <a:pt x="953" y="658"/>
                      <a:pt x="953" y="658"/>
                      <a:pt x="953" y="658"/>
                    </a:cubicBezTo>
                    <a:cubicBezTo>
                      <a:pt x="963" y="655"/>
                      <a:pt x="963" y="655"/>
                      <a:pt x="963" y="655"/>
                    </a:cubicBezTo>
                    <a:cubicBezTo>
                      <a:pt x="973" y="645"/>
                      <a:pt x="973" y="645"/>
                      <a:pt x="973" y="645"/>
                    </a:cubicBezTo>
                    <a:cubicBezTo>
                      <a:pt x="981" y="631"/>
                      <a:pt x="981" y="631"/>
                      <a:pt x="981" y="631"/>
                    </a:cubicBezTo>
                    <a:cubicBezTo>
                      <a:pt x="991" y="632"/>
                      <a:pt x="991" y="632"/>
                      <a:pt x="991" y="632"/>
                    </a:cubicBezTo>
                    <a:cubicBezTo>
                      <a:pt x="997" y="628"/>
                      <a:pt x="997" y="628"/>
                      <a:pt x="997" y="628"/>
                    </a:cubicBezTo>
                    <a:cubicBezTo>
                      <a:pt x="1001" y="632"/>
                      <a:pt x="1001" y="632"/>
                      <a:pt x="1001" y="632"/>
                    </a:cubicBezTo>
                    <a:cubicBezTo>
                      <a:pt x="1007" y="630"/>
                      <a:pt x="1007" y="630"/>
                      <a:pt x="1007" y="630"/>
                    </a:cubicBezTo>
                    <a:cubicBezTo>
                      <a:pt x="1007" y="619"/>
                      <a:pt x="1007" y="619"/>
                      <a:pt x="1007" y="619"/>
                    </a:cubicBezTo>
                    <a:cubicBezTo>
                      <a:pt x="1006" y="601"/>
                      <a:pt x="1006" y="601"/>
                      <a:pt x="1006" y="601"/>
                    </a:cubicBezTo>
                    <a:cubicBezTo>
                      <a:pt x="1008" y="588"/>
                      <a:pt x="1008" y="588"/>
                      <a:pt x="1008" y="588"/>
                    </a:cubicBezTo>
                    <a:cubicBezTo>
                      <a:pt x="998" y="578"/>
                      <a:pt x="998" y="578"/>
                      <a:pt x="998" y="578"/>
                    </a:cubicBezTo>
                    <a:cubicBezTo>
                      <a:pt x="996" y="570"/>
                      <a:pt x="996" y="570"/>
                      <a:pt x="996" y="570"/>
                    </a:cubicBezTo>
                    <a:cubicBezTo>
                      <a:pt x="987" y="562"/>
                      <a:pt x="987" y="562"/>
                      <a:pt x="987" y="562"/>
                    </a:cubicBezTo>
                    <a:cubicBezTo>
                      <a:pt x="971" y="553"/>
                      <a:pt x="971" y="553"/>
                      <a:pt x="971" y="553"/>
                    </a:cubicBezTo>
                    <a:cubicBezTo>
                      <a:pt x="967" y="544"/>
                      <a:pt x="967" y="544"/>
                      <a:pt x="967" y="544"/>
                    </a:cubicBezTo>
                    <a:cubicBezTo>
                      <a:pt x="956" y="529"/>
                      <a:pt x="956" y="529"/>
                      <a:pt x="956" y="529"/>
                    </a:cubicBezTo>
                    <a:cubicBezTo>
                      <a:pt x="956" y="521"/>
                      <a:pt x="956" y="521"/>
                      <a:pt x="956" y="521"/>
                    </a:cubicBezTo>
                    <a:cubicBezTo>
                      <a:pt x="951" y="519"/>
                      <a:pt x="951" y="519"/>
                      <a:pt x="951" y="519"/>
                    </a:cubicBezTo>
                    <a:cubicBezTo>
                      <a:pt x="953" y="506"/>
                      <a:pt x="953" y="506"/>
                      <a:pt x="953" y="506"/>
                    </a:cubicBezTo>
                    <a:cubicBezTo>
                      <a:pt x="957" y="501"/>
                      <a:pt x="957" y="501"/>
                      <a:pt x="957" y="501"/>
                    </a:cubicBezTo>
                    <a:cubicBezTo>
                      <a:pt x="950" y="494"/>
                      <a:pt x="950" y="494"/>
                      <a:pt x="950" y="494"/>
                    </a:cubicBezTo>
                    <a:cubicBezTo>
                      <a:pt x="952" y="482"/>
                      <a:pt x="952" y="482"/>
                      <a:pt x="952" y="482"/>
                    </a:cubicBezTo>
                    <a:cubicBezTo>
                      <a:pt x="969" y="475"/>
                      <a:pt x="969" y="475"/>
                      <a:pt x="969" y="475"/>
                    </a:cubicBezTo>
                    <a:cubicBezTo>
                      <a:pt x="969" y="469"/>
                      <a:pt x="969" y="469"/>
                      <a:pt x="969" y="469"/>
                    </a:cubicBezTo>
                    <a:cubicBezTo>
                      <a:pt x="983" y="469"/>
                      <a:pt x="983" y="469"/>
                      <a:pt x="983" y="469"/>
                    </a:cubicBezTo>
                    <a:cubicBezTo>
                      <a:pt x="981" y="454"/>
                      <a:pt x="981" y="454"/>
                      <a:pt x="981" y="454"/>
                    </a:cubicBezTo>
                    <a:cubicBezTo>
                      <a:pt x="971" y="451"/>
                      <a:pt x="971" y="451"/>
                      <a:pt x="971" y="451"/>
                    </a:cubicBezTo>
                    <a:cubicBezTo>
                      <a:pt x="965" y="443"/>
                      <a:pt x="965" y="443"/>
                      <a:pt x="965" y="443"/>
                    </a:cubicBezTo>
                    <a:cubicBezTo>
                      <a:pt x="973" y="435"/>
                      <a:pt x="973" y="435"/>
                      <a:pt x="973" y="435"/>
                    </a:cubicBezTo>
                    <a:cubicBezTo>
                      <a:pt x="981" y="435"/>
                      <a:pt x="981" y="435"/>
                      <a:pt x="981" y="435"/>
                    </a:cubicBezTo>
                    <a:cubicBezTo>
                      <a:pt x="981" y="424"/>
                      <a:pt x="981" y="424"/>
                      <a:pt x="981" y="424"/>
                    </a:cubicBezTo>
                    <a:cubicBezTo>
                      <a:pt x="990" y="418"/>
                      <a:pt x="990" y="418"/>
                      <a:pt x="990" y="418"/>
                    </a:cubicBezTo>
                    <a:cubicBezTo>
                      <a:pt x="990" y="411"/>
                      <a:pt x="990" y="411"/>
                      <a:pt x="990" y="411"/>
                    </a:cubicBezTo>
                    <a:cubicBezTo>
                      <a:pt x="1000" y="408"/>
                      <a:pt x="1000" y="408"/>
                      <a:pt x="1000" y="408"/>
                    </a:cubicBezTo>
                    <a:cubicBezTo>
                      <a:pt x="1006" y="416"/>
                      <a:pt x="1006" y="416"/>
                      <a:pt x="1006" y="416"/>
                    </a:cubicBezTo>
                    <a:cubicBezTo>
                      <a:pt x="1015" y="415"/>
                      <a:pt x="1015" y="415"/>
                      <a:pt x="1015" y="415"/>
                    </a:cubicBezTo>
                    <a:cubicBezTo>
                      <a:pt x="1020" y="405"/>
                      <a:pt x="1020" y="405"/>
                      <a:pt x="1020" y="405"/>
                    </a:cubicBezTo>
                    <a:cubicBezTo>
                      <a:pt x="1017" y="397"/>
                      <a:pt x="1017" y="397"/>
                      <a:pt x="1017" y="397"/>
                    </a:cubicBezTo>
                    <a:cubicBezTo>
                      <a:pt x="1026" y="382"/>
                      <a:pt x="1026" y="382"/>
                      <a:pt x="1026" y="382"/>
                    </a:cubicBezTo>
                    <a:cubicBezTo>
                      <a:pt x="1029" y="373"/>
                      <a:pt x="1029" y="373"/>
                      <a:pt x="1029" y="373"/>
                    </a:cubicBezTo>
                    <a:cubicBezTo>
                      <a:pt x="1038" y="371"/>
                      <a:pt x="1038" y="371"/>
                      <a:pt x="1038" y="371"/>
                    </a:cubicBezTo>
                    <a:cubicBezTo>
                      <a:pt x="1038" y="363"/>
                      <a:pt x="1038" y="363"/>
                      <a:pt x="1038" y="363"/>
                    </a:cubicBezTo>
                    <a:cubicBezTo>
                      <a:pt x="1033" y="351"/>
                      <a:pt x="1033" y="351"/>
                      <a:pt x="1033" y="351"/>
                    </a:cubicBezTo>
                    <a:cubicBezTo>
                      <a:pt x="1023" y="344"/>
                      <a:pt x="1023" y="344"/>
                      <a:pt x="1023" y="344"/>
                    </a:cubicBezTo>
                    <a:cubicBezTo>
                      <a:pt x="1012" y="334"/>
                      <a:pt x="1012" y="334"/>
                      <a:pt x="1012" y="334"/>
                    </a:cubicBezTo>
                    <a:cubicBezTo>
                      <a:pt x="1012" y="322"/>
                      <a:pt x="1012" y="322"/>
                      <a:pt x="1012" y="322"/>
                    </a:cubicBezTo>
                    <a:cubicBezTo>
                      <a:pt x="1011" y="309"/>
                      <a:pt x="1011" y="309"/>
                      <a:pt x="1011" y="309"/>
                    </a:cubicBezTo>
                    <a:cubicBezTo>
                      <a:pt x="1001" y="304"/>
                      <a:pt x="1001" y="304"/>
                      <a:pt x="1001" y="304"/>
                    </a:cubicBezTo>
                    <a:cubicBezTo>
                      <a:pt x="994" y="294"/>
                      <a:pt x="994" y="294"/>
                      <a:pt x="994" y="294"/>
                    </a:cubicBezTo>
                    <a:cubicBezTo>
                      <a:pt x="994" y="283"/>
                      <a:pt x="994" y="283"/>
                      <a:pt x="994" y="283"/>
                    </a:cubicBezTo>
                    <a:cubicBezTo>
                      <a:pt x="1002" y="281"/>
                      <a:pt x="1002" y="281"/>
                      <a:pt x="1002" y="281"/>
                    </a:cubicBezTo>
                    <a:cubicBezTo>
                      <a:pt x="998" y="270"/>
                      <a:pt x="998" y="270"/>
                      <a:pt x="998" y="270"/>
                    </a:cubicBezTo>
                    <a:cubicBezTo>
                      <a:pt x="987" y="267"/>
                      <a:pt x="987" y="267"/>
                      <a:pt x="987" y="267"/>
                    </a:cubicBezTo>
                    <a:cubicBezTo>
                      <a:pt x="989" y="257"/>
                      <a:pt x="989" y="257"/>
                      <a:pt x="989" y="257"/>
                    </a:cubicBezTo>
                    <a:cubicBezTo>
                      <a:pt x="1001" y="252"/>
                      <a:pt x="1001" y="252"/>
                      <a:pt x="1001" y="252"/>
                    </a:cubicBezTo>
                    <a:cubicBezTo>
                      <a:pt x="1001" y="241"/>
                      <a:pt x="1001" y="241"/>
                      <a:pt x="1001" y="241"/>
                    </a:cubicBezTo>
                    <a:cubicBezTo>
                      <a:pt x="1006" y="235"/>
                      <a:pt x="1006" y="235"/>
                      <a:pt x="1006" y="235"/>
                    </a:cubicBezTo>
                    <a:cubicBezTo>
                      <a:pt x="1019" y="235"/>
                      <a:pt x="1019" y="235"/>
                      <a:pt x="1019" y="235"/>
                    </a:cubicBezTo>
                    <a:cubicBezTo>
                      <a:pt x="1021" y="221"/>
                      <a:pt x="1021" y="221"/>
                      <a:pt x="1021" y="221"/>
                    </a:cubicBezTo>
                    <a:cubicBezTo>
                      <a:pt x="1037" y="221"/>
                      <a:pt x="1037" y="221"/>
                      <a:pt x="1037" y="221"/>
                    </a:cubicBezTo>
                    <a:cubicBezTo>
                      <a:pt x="1044" y="215"/>
                      <a:pt x="1044" y="215"/>
                      <a:pt x="1044" y="215"/>
                    </a:cubicBezTo>
                    <a:cubicBezTo>
                      <a:pt x="1040" y="201"/>
                      <a:pt x="1040" y="201"/>
                      <a:pt x="1040" y="201"/>
                    </a:cubicBezTo>
                    <a:cubicBezTo>
                      <a:pt x="1046" y="190"/>
                      <a:pt x="1046" y="190"/>
                      <a:pt x="1046" y="190"/>
                    </a:cubicBezTo>
                    <a:cubicBezTo>
                      <a:pt x="1038" y="177"/>
                      <a:pt x="1038" y="177"/>
                      <a:pt x="1038" y="177"/>
                    </a:cubicBezTo>
                    <a:cubicBezTo>
                      <a:pt x="1030" y="177"/>
                      <a:pt x="1030" y="177"/>
                      <a:pt x="1030" y="177"/>
                    </a:cubicBezTo>
                    <a:cubicBezTo>
                      <a:pt x="1023" y="163"/>
                      <a:pt x="1023" y="163"/>
                      <a:pt x="1023" y="163"/>
                    </a:cubicBezTo>
                    <a:cubicBezTo>
                      <a:pt x="1015" y="155"/>
                      <a:pt x="1015" y="155"/>
                      <a:pt x="1015" y="155"/>
                    </a:cubicBezTo>
                    <a:cubicBezTo>
                      <a:pt x="1004" y="155"/>
                      <a:pt x="1004" y="155"/>
                      <a:pt x="1004" y="155"/>
                    </a:cubicBezTo>
                    <a:cubicBezTo>
                      <a:pt x="991" y="159"/>
                      <a:pt x="991" y="159"/>
                      <a:pt x="991" y="159"/>
                    </a:cubicBezTo>
                    <a:cubicBezTo>
                      <a:pt x="978" y="154"/>
                      <a:pt x="978" y="154"/>
                      <a:pt x="978" y="154"/>
                    </a:cubicBezTo>
                    <a:cubicBezTo>
                      <a:pt x="965" y="152"/>
                      <a:pt x="965" y="152"/>
                      <a:pt x="965" y="152"/>
                    </a:cubicBezTo>
                    <a:cubicBezTo>
                      <a:pt x="965" y="137"/>
                      <a:pt x="965" y="137"/>
                      <a:pt x="965" y="137"/>
                    </a:cubicBezTo>
                    <a:cubicBezTo>
                      <a:pt x="954" y="131"/>
                      <a:pt x="954" y="131"/>
                      <a:pt x="954" y="131"/>
                    </a:cubicBezTo>
                    <a:cubicBezTo>
                      <a:pt x="949" y="117"/>
                      <a:pt x="949" y="117"/>
                      <a:pt x="949" y="117"/>
                    </a:cubicBezTo>
                    <a:cubicBezTo>
                      <a:pt x="957" y="105"/>
                      <a:pt x="957" y="105"/>
                      <a:pt x="957" y="105"/>
                    </a:cubicBezTo>
                    <a:cubicBezTo>
                      <a:pt x="957" y="91"/>
                      <a:pt x="957" y="91"/>
                      <a:pt x="957" y="91"/>
                    </a:cubicBezTo>
                    <a:cubicBezTo>
                      <a:pt x="966" y="85"/>
                      <a:pt x="966" y="85"/>
                      <a:pt x="966" y="85"/>
                    </a:cubicBezTo>
                    <a:cubicBezTo>
                      <a:pt x="966" y="72"/>
                      <a:pt x="966" y="72"/>
                      <a:pt x="966" y="72"/>
                    </a:cubicBezTo>
                    <a:cubicBezTo>
                      <a:pt x="972" y="56"/>
                      <a:pt x="972" y="56"/>
                      <a:pt x="972" y="56"/>
                    </a:cubicBezTo>
                    <a:cubicBezTo>
                      <a:pt x="986" y="45"/>
                      <a:pt x="986" y="45"/>
                      <a:pt x="986" y="45"/>
                    </a:cubicBezTo>
                    <a:cubicBezTo>
                      <a:pt x="976" y="28"/>
                      <a:pt x="976" y="28"/>
                      <a:pt x="976" y="28"/>
                    </a:cubicBezTo>
                    <a:cubicBezTo>
                      <a:pt x="963" y="23"/>
                      <a:pt x="963" y="23"/>
                      <a:pt x="963" y="23"/>
                    </a:cubicBezTo>
                    <a:cubicBezTo>
                      <a:pt x="960" y="15"/>
                      <a:pt x="960" y="15"/>
                      <a:pt x="960" y="15"/>
                    </a:cubicBezTo>
                    <a:cubicBezTo>
                      <a:pt x="947" y="13"/>
                      <a:pt x="947" y="13"/>
                      <a:pt x="947" y="13"/>
                    </a:cubicBezTo>
                    <a:cubicBezTo>
                      <a:pt x="931" y="8"/>
                      <a:pt x="931" y="8"/>
                      <a:pt x="931" y="8"/>
                    </a:cubicBezTo>
                    <a:lnTo>
                      <a:pt x="926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5" name="Freeform 311"/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 rot="698053">
                <a:off x="3846734" y="1942008"/>
                <a:ext cx="302449" cy="318845"/>
              </a:xfrm>
              <a:custGeom>
                <a:avLst/>
                <a:gdLst>
                  <a:gd name="T0" fmla="*/ 265 w 395"/>
                  <a:gd name="T1" fmla="*/ 0 h 431"/>
                  <a:gd name="T2" fmla="*/ 279 w 395"/>
                  <a:gd name="T3" fmla="*/ 91 h 431"/>
                  <a:gd name="T4" fmla="*/ 361 w 395"/>
                  <a:gd name="T5" fmla="*/ 251 h 431"/>
                  <a:gd name="T6" fmla="*/ 395 w 395"/>
                  <a:gd name="T7" fmla="*/ 341 h 431"/>
                  <a:gd name="T8" fmla="*/ 359 w 395"/>
                  <a:gd name="T9" fmla="*/ 405 h 431"/>
                  <a:gd name="T10" fmla="*/ 333 w 395"/>
                  <a:gd name="T11" fmla="*/ 421 h 431"/>
                  <a:gd name="T12" fmla="*/ 293 w 395"/>
                  <a:gd name="T13" fmla="*/ 431 h 431"/>
                  <a:gd name="T14" fmla="*/ 273 w 395"/>
                  <a:gd name="T15" fmla="*/ 381 h 431"/>
                  <a:gd name="T16" fmla="*/ 265 w 395"/>
                  <a:gd name="T17" fmla="*/ 359 h 431"/>
                  <a:gd name="T18" fmla="*/ 249 w 395"/>
                  <a:gd name="T19" fmla="*/ 335 h 431"/>
                  <a:gd name="T20" fmla="*/ 227 w 395"/>
                  <a:gd name="T21" fmla="*/ 319 h 431"/>
                  <a:gd name="T22" fmla="*/ 201 w 395"/>
                  <a:gd name="T23" fmla="*/ 311 h 431"/>
                  <a:gd name="T24" fmla="*/ 193 w 395"/>
                  <a:gd name="T25" fmla="*/ 275 h 431"/>
                  <a:gd name="T26" fmla="*/ 167 w 395"/>
                  <a:gd name="T27" fmla="*/ 271 h 431"/>
                  <a:gd name="T28" fmla="*/ 132 w 395"/>
                  <a:gd name="T29" fmla="*/ 267 h 431"/>
                  <a:gd name="T30" fmla="*/ 80 w 395"/>
                  <a:gd name="T31" fmla="*/ 265 h 431"/>
                  <a:gd name="T32" fmla="*/ 60 w 395"/>
                  <a:gd name="T33" fmla="*/ 251 h 431"/>
                  <a:gd name="T34" fmla="*/ 32 w 395"/>
                  <a:gd name="T35" fmla="*/ 259 h 431"/>
                  <a:gd name="T36" fmla="*/ 34 w 395"/>
                  <a:gd name="T37" fmla="*/ 209 h 431"/>
                  <a:gd name="T38" fmla="*/ 24 w 395"/>
                  <a:gd name="T39" fmla="*/ 171 h 431"/>
                  <a:gd name="T40" fmla="*/ 16 w 395"/>
                  <a:gd name="T41" fmla="*/ 135 h 431"/>
                  <a:gd name="T42" fmla="*/ 26 w 395"/>
                  <a:gd name="T43" fmla="*/ 101 h 431"/>
                  <a:gd name="T44" fmla="*/ 68 w 395"/>
                  <a:gd name="T45" fmla="*/ 89 h 431"/>
                  <a:gd name="T46" fmla="*/ 102 w 395"/>
                  <a:gd name="T47" fmla="*/ 87 h 431"/>
                  <a:gd name="T48" fmla="*/ 150 w 395"/>
                  <a:gd name="T49" fmla="*/ 117 h 431"/>
                  <a:gd name="T50" fmla="*/ 156 w 395"/>
                  <a:gd name="T51" fmla="*/ 145 h 431"/>
                  <a:gd name="T52" fmla="*/ 150 w 395"/>
                  <a:gd name="T53" fmla="*/ 177 h 431"/>
                  <a:gd name="T54" fmla="*/ 173 w 395"/>
                  <a:gd name="T55" fmla="*/ 183 h 431"/>
                  <a:gd name="T56" fmla="*/ 183 w 395"/>
                  <a:gd name="T57" fmla="*/ 179 h 431"/>
                  <a:gd name="T58" fmla="*/ 195 w 395"/>
                  <a:gd name="T59" fmla="*/ 163 h 431"/>
                  <a:gd name="T60" fmla="*/ 201 w 395"/>
                  <a:gd name="T61" fmla="*/ 145 h 431"/>
                  <a:gd name="T62" fmla="*/ 189 w 395"/>
                  <a:gd name="T63" fmla="*/ 151 h 431"/>
                  <a:gd name="T64" fmla="*/ 160 w 395"/>
                  <a:gd name="T65" fmla="*/ 91 h 431"/>
                  <a:gd name="T66" fmla="*/ 183 w 395"/>
                  <a:gd name="T67" fmla="*/ 40 h 431"/>
                  <a:gd name="T68" fmla="*/ 160 w 395"/>
                  <a:gd name="T69" fmla="*/ 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95" h="431">
                    <a:moveTo>
                      <a:pt x="142" y="0"/>
                    </a:moveTo>
                    <a:lnTo>
                      <a:pt x="265" y="0"/>
                    </a:lnTo>
                    <a:lnTo>
                      <a:pt x="265" y="40"/>
                    </a:lnTo>
                    <a:lnTo>
                      <a:pt x="279" y="91"/>
                    </a:lnTo>
                    <a:lnTo>
                      <a:pt x="329" y="237"/>
                    </a:lnTo>
                    <a:lnTo>
                      <a:pt x="361" y="251"/>
                    </a:lnTo>
                    <a:lnTo>
                      <a:pt x="381" y="285"/>
                    </a:lnTo>
                    <a:lnTo>
                      <a:pt x="395" y="341"/>
                    </a:lnTo>
                    <a:lnTo>
                      <a:pt x="375" y="383"/>
                    </a:lnTo>
                    <a:lnTo>
                      <a:pt x="359" y="405"/>
                    </a:lnTo>
                    <a:lnTo>
                      <a:pt x="341" y="407"/>
                    </a:lnTo>
                    <a:lnTo>
                      <a:pt x="333" y="421"/>
                    </a:lnTo>
                    <a:lnTo>
                      <a:pt x="307" y="417"/>
                    </a:lnTo>
                    <a:lnTo>
                      <a:pt x="293" y="431"/>
                    </a:lnTo>
                    <a:lnTo>
                      <a:pt x="283" y="391"/>
                    </a:lnTo>
                    <a:lnTo>
                      <a:pt x="273" y="381"/>
                    </a:lnTo>
                    <a:lnTo>
                      <a:pt x="257" y="375"/>
                    </a:lnTo>
                    <a:lnTo>
                      <a:pt x="265" y="359"/>
                    </a:lnTo>
                    <a:lnTo>
                      <a:pt x="265" y="343"/>
                    </a:lnTo>
                    <a:lnTo>
                      <a:pt x="249" y="335"/>
                    </a:lnTo>
                    <a:lnTo>
                      <a:pt x="247" y="319"/>
                    </a:lnTo>
                    <a:lnTo>
                      <a:pt x="227" y="319"/>
                    </a:lnTo>
                    <a:lnTo>
                      <a:pt x="215" y="329"/>
                    </a:lnTo>
                    <a:lnTo>
                      <a:pt x="201" y="311"/>
                    </a:lnTo>
                    <a:lnTo>
                      <a:pt x="205" y="277"/>
                    </a:lnTo>
                    <a:lnTo>
                      <a:pt x="193" y="275"/>
                    </a:lnTo>
                    <a:lnTo>
                      <a:pt x="181" y="261"/>
                    </a:lnTo>
                    <a:lnTo>
                      <a:pt x="167" y="271"/>
                    </a:lnTo>
                    <a:lnTo>
                      <a:pt x="152" y="275"/>
                    </a:lnTo>
                    <a:lnTo>
                      <a:pt x="132" y="267"/>
                    </a:lnTo>
                    <a:lnTo>
                      <a:pt x="110" y="265"/>
                    </a:lnTo>
                    <a:lnTo>
                      <a:pt x="80" y="265"/>
                    </a:lnTo>
                    <a:lnTo>
                      <a:pt x="70" y="245"/>
                    </a:lnTo>
                    <a:lnTo>
                      <a:pt x="60" y="251"/>
                    </a:lnTo>
                    <a:lnTo>
                      <a:pt x="50" y="261"/>
                    </a:lnTo>
                    <a:lnTo>
                      <a:pt x="32" y="259"/>
                    </a:lnTo>
                    <a:lnTo>
                      <a:pt x="26" y="233"/>
                    </a:lnTo>
                    <a:lnTo>
                      <a:pt x="34" y="209"/>
                    </a:lnTo>
                    <a:lnTo>
                      <a:pt x="26" y="189"/>
                    </a:lnTo>
                    <a:lnTo>
                      <a:pt x="24" y="171"/>
                    </a:lnTo>
                    <a:lnTo>
                      <a:pt x="8" y="153"/>
                    </a:lnTo>
                    <a:lnTo>
                      <a:pt x="16" y="135"/>
                    </a:lnTo>
                    <a:lnTo>
                      <a:pt x="0" y="117"/>
                    </a:lnTo>
                    <a:lnTo>
                      <a:pt x="26" y="101"/>
                    </a:lnTo>
                    <a:lnTo>
                      <a:pt x="62" y="109"/>
                    </a:lnTo>
                    <a:lnTo>
                      <a:pt x="68" y="89"/>
                    </a:lnTo>
                    <a:lnTo>
                      <a:pt x="80" y="77"/>
                    </a:lnTo>
                    <a:lnTo>
                      <a:pt x="102" y="87"/>
                    </a:lnTo>
                    <a:lnTo>
                      <a:pt x="120" y="107"/>
                    </a:lnTo>
                    <a:lnTo>
                      <a:pt x="150" y="117"/>
                    </a:lnTo>
                    <a:lnTo>
                      <a:pt x="160" y="141"/>
                    </a:lnTo>
                    <a:lnTo>
                      <a:pt x="156" y="145"/>
                    </a:lnTo>
                    <a:lnTo>
                      <a:pt x="156" y="153"/>
                    </a:lnTo>
                    <a:lnTo>
                      <a:pt x="150" y="177"/>
                    </a:lnTo>
                    <a:lnTo>
                      <a:pt x="160" y="175"/>
                    </a:lnTo>
                    <a:lnTo>
                      <a:pt x="173" y="183"/>
                    </a:lnTo>
                    <a:lnTo>
                      <a:pt x="177" y="179"/>
                    </a:lnTo>
                    <a:lnTo>
                      <a:pt x="183" y="179"/>
                    </a:lnTo>
                    <a:lnTo>
                      <a:pt x="195" y="173"/>
                    </a:lnTo>
                    <a:lnTo>
                      <a:pt x="195" y="163"/>
                    </a:lnTo>
                    <a:lnTo>
                      <a:pt x="201" y="155"/>
                    </a:lnTo>
                    <a:lnTo>
                      <a:pt x="201" y="145"/>
                    </a:lnTo>
                    <a:lnTo>
                      <a:pt x="197" y="141"/>
                    </a:lnTo>
                    <a:lnTo>
                      <a:pt x="189" y="151"/>
                    </a:lnTo>
                    <a:lnTo>
                      <a:pt x="185" y="113"/>
                    </a:lnTo>
                    <a:lnTo>
                      <a:pt x="160" y="91"/>
                    </a:lnTo>
                    <a:lnTo>
                      <a:pt x="160" y="44"/>
                    </a:lnTo>
                    <a:lnTo>
                      <a:pt x="183" y="40"/>
                    </a:lnTo>
                    <a:lnTo>
                      <a:pt x="189" y="32"/>
                    </a:lnTo>
                    <a:lnTo>
                      <a:pt x="160" y="20"/>
                    </a:lnTo>
                    <a:lnTo>
                      <a:pt x="142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6" name="Freeform 312"/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 rot="698053">
                <a:off x="4076246" y="1727730"/>
                <a:ext cx="460197" cy="531027"/>
              </a:xfrm>
              <a:custGeom>
                <a:avLst/>
                <a:gdLst>
                  <a:gd name="T0" fmla="*/ 0 w 602"/>
                  <a:gd name="T1" fmla="*/ 418 h 719"/>
                  <a:gd name="T2" fmla="*/ 64 w 602"/>
                  <a:gd name="T3" fmla="*/ 615 h 719"/>
                  <a:gd name="T4" fmla="*/ 116 w 602"/>
                  <a:gd name="T5" fmla="*/ 663 h 719"/>
                  <a:gd name="T6" fmla="*/ 160 w 602"/>
                  <a:gd name="T7" fmla="*/ 703 h 719"/>
                  <a:gd name="T8" fmla="*/ 194 w 602"/>
                  <a:gd name="T9" fmla="*/ 683 h 719"/>
                  <a:gd name="T10" fmla="*/ 242 w 602"/>
                  <a:gd name="T11" fmla="*/ 661 h 719"/>
                  <a:gd name="T12" fmla="*/ 282 w 602"/>
                  <a:gd name="T13" fmla="*/ 675 h 719"/>
                  <a:gd name="T14" fmla="*/ 322 w 602"/>
                  <a:gd name="T15" fmla="*/ 681 h 719"/>
                  <a:gd name="T16" fmla="*/ 342 w 602"/>
                  <a:gd name="T17" fmla="*/ 713 h 719"/>
                  <a:gd name="T18" fmla="*/ 362 w 602"/>
                  <a:gd name="T19" fmla="*/ 699 h 719"/>
                  <a:gd name="T20" fmla="*/ 392 w 602"/>
                  <a:gd name="T21" fmla="*/ 651 h 719"/>
                  <a:gd name="T22" fmla="*/ 412 w 602"/>
                  <a:gd name="T23" fmla="*/ 627 h 719"/>
                  <a:gd name="T24" fmla="*/ 396 w 602"/>
                  <a:gd name="T25" fmla="*/ 575 h 719"/>
                  <a:gd name="T26" fmla="*/ 406 w 602"/>
                  <a:gd name="T27" fmla="*/ 527 h 719"/>
                  <a:gd name="T28" fmla="*/ 432 w 602"/>
                  <a:gd name="T29" fmla="*/ 499 h 719"/>
                  <a:gd name="T30" fmla="*/ 438 w 602"/>
                  <a:gd name="T31" fmla="*/ 469 h 719"/>
                  <a:gd name="T32" fmla="*/ 454 w 602"/>
                  <a:gd name="T33" fmla="*/ 477 h 719"/>
                  <a:gd name="T34" fmla="*/ 486 w 602"/>
                  <a:gd name="T35" fmla="*/ 461 h 719"/>
                  <a:gd name="T36" fmla="*/ 484 w 602"/>
                  <a:gd name="T37" fmla="*/ 364 h 719"/>
                  <a:gd name="T38" fmla="*/ 520 w 602"/>
                  <a:gd name="T39" fmla="*/ 292 h 719"/>
                  <a:gd name="T40" fmla="*/ 578 w 602"/>
                  <a:gd name="T41" fmla="*/ 256 h 719"/>
                  <a:gd name="T42" fmla="*/ 602 w 602"/>
                  <a:gd name="T43" fmla="*/ 186 h 719"/>
                  <a:gd name="T44" fmla="*/ 598 w 602"/>
                  <a:gd name="T45" fmla="*/ 152 h 719"/>
                  <a:gd name="T46" fmla="*/ 580 w 602"/>
                  <a:gd name="T47" fmla="*/ 118 h 719"/>
                  <a:gd name="T48" fmla="*/ 544 w 602"/>
                  <a:gd name="T49" fmla="*/ 116 h 719"/>
                  <a:gd name="T50" fmla="*/ 536 w 602"/>
                  <a:gd name="T51" fmla="*/ 82 h 719"/>
                  <a:gd name="T52" fmla="*/ 476 w 602"/>
                  <a:gd name="T53" fmla="*/ 0 h 719"/>
                  <a:gd name="T54" fmla="*/ 404 w 602"/>
                  <a:gd name="T55" fmla="*/ 82 h 719"/>
                  <a:gd name="T56" fmla="*/ 336 w 602"/>
                  <a:gd name="T57" fmla="*/ 120 h 719"/>
                  <a:gd name="T58" fmla="*/ 312 w 602"/>
                  <a:gd name="T59" fmla="*/ 174 h 719"/>
                  <a:gd name="T60" fmla="*/ 280 w 602"/>
                  <a:gd name="T61" fmla="*/ 234 h 719"/>
                  <a:gd name="T62" fmla="*/ 232 w 602"/>
                  <a:gd name="T63" fmla="*/ 322 h 719"/>
                  <a:gd name="T64" fmla="*/ 176 w 602"/>
                  <a:gd name="T65" fmla="*/ 378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02" h="719">
                    <a:moveTo>
                      <a:pt x="0" y="378"/>
                    </a:moveTo>
                    <a:lnTo>
                      <a:pt x="0" y="418"/>
                    </a:lnTo>
                    <a:lnTo>
                      <a:pt x="14" y="469"/>
                    </a:lnTo>
                    <a:lnTo>
                      <a:pt x="64" y="615"/>
                    </a:lnTo>
                    <a:lnTo>
                      <a:pt x="96" y="629"/>
                    </a:lnTo>
                    <a:lnTo>
                      <a:pt x="116" y="663"/>
                    </a:lnTo>
                    <a:lnTo>
                      <a:pt x="130" y="719"/>
                    </a:lnTo>
                    <a:lnTo>
                      <a:pt x="160" y="703"/>
                    </a:lnTo>
                    <a:lnTo>
                      <a:pt x="180" y="675"/>
                    </a:lnTo>
                    <a:lnTo>
                      <a:pt x="194" y="683"/>
                    </a:lnTo>
                    <a:lnTo>
                      <a:pt x="220" y="669"/>
                    </a:lnTo>
                    <a:lnTo>
                      <a:pt x="242" y="661"/>
                    </a:lnTo>
                    <a:lnTo>
                      <a:pt x="264" y="665"/>
                    </a:lnTo>
                    <a:lnTo>
                      <a:pt x="282" y="675"/>
                    </a:lnTo>
                    <a:lnTo>
                      <a:pt x="304" y="669"/>
                    </a:lnTo>
                    <a:lnTo>
                      <a:pt x="322" y="681"/>
                    </a:lnTo>
                    <a:lnTo>
                      <a:pt x="324" y="693"/>
                    </a:lnTo>
                    <a:lnTo>
                      <a:pt x="342" y="713"/>
                    </a:lnTo>
                    <a:lnTo>
                      <a:pt x="352" y="701"/>
                    </a:lnTo>
                    <a:lnTo>
                      <a:pt x="362" y="699"/>
                    </a:lnTo>
                    <a:lnTo>
                      <a:pt x="388" y="673"/>
                    </a:lnTo>
                    <a:lnTo>
                      <a:pt x="392" y="651"/>
                    </a:lnTo>
                    <a:lnTo>
                      <a:pt x="390" y="633"/>
                    </a:lnTo>
                    <a:lnTo>
                      <a:pt x="412" y="627"/>
                    </a:lnTo>
                    <a:lnTo>
                      <a:pt x="422" y="601"/>
                    </a:lnTo>
                    <a:lnTo>
                      <a:pt x="396" y="575"/>
                    </a:lnTo>
                    <a:lnTo>
                      <a:pt x="400" y="541"/>
                    </a:lnTo>
                    <a:lnTo>
                      <a:pt x="406" y="527"/>
                    </a:lnTo>
                    <a:lnTo>
                      <a:pt x="424" y="517"/>
                    </a:lnTo>
                    <a:lnTo>
                      <a:pt x="432" y="499"/>
                    </a:lnTo>
                    <a:lnTo>
                      <a:pt x="430" y="479"/>
                    </a:lnTo>
                    <a:lnTo>
                      <a:pt x="438" y="469"/>
                    </a:lnTo>
                    <a:lnTo>
                      <a:pt x="448" y="483"/>
                    </a:lnTo>
                    <a:lnTo>
                      <a:pt x="454" y="477"/>
                    </a:lnTo>
                    <a:lnTo>
                      <a:pt x="468" y="485"/>
                    </a:lnTo>
                    <a:lnTo>
                      <a:pt x="486" y="461"/>
                    </a:lnTo>
                    <a:lnTo>
                      <a:pt x="504" y="426"/>
                    </a:lnTo>
                    <a:lnTo>
                      <a:pt x="484" y="364"/>
                    </a:lnTo>
                    <a:lnTo>
                      <a:pt x="510" y="340"/>
                    </a:lnTo>
                    <a:lnTo>
                      <a:pt x="520" y="292"/>
                    </a:lnTo>
                    <a:lnTo>
                      <a:pt x="546" y="266"/>
                    </a:lnTo>
                    <a:lnTo>
                      <a:pt x="578" y="256"/>
                    </a:lnTo>
                    <a:lnTo>
                      <a:pt x="596" y="214"/>
                    </a:lnTo>
                    <a:lnTo>
                      <a:pt x="602" y="186"/>
                    </a:lnTo>
                    <a:lnTo>
                      <a:pt x="582" y="166"/>
                    </a:lnTo>
                    <a:lnTo>
                      <a:pt x="598" y="152"/>
                    </a:lnTo>
                    <a:lnTo>
                      <a:pt x="596" y="118"/>
                    </a:lnTo>
                    <a:lnTo>
                      <a:pt x="580" y="118"/>
                    </a:lnTo>
                    <a:lnTo>
                      <a:pt x="566" y="110"/>
                    </a:lnTo>
                    <a:lnTo>
                      <a:pt x="544" y="116"/>
                    </a:lnTo>
                    <a:lnTo>
                      <a:pt x="530" y="102"/>
                    </a:lnTo>
                    <a:lnTo>
                      <a:pt x="536" y="82"/>
                    </a:lnTo>
                    <a:lnTo>
                      <a:pt x="540" y="58"/>
                    </a:lnTo>
                    <a:lnTo>
                      <a:pt x="476" y="0"/>
                    </a:lnTo>
                    <a:lnTo>
                      <a:pt x="426" y="92"/>
                    </a:lnTo>
                    <a:lnTo>
                      <a:pt x="404" y="82"/>
                    </a:lnTo>
                    <a:lnTo>
                      <a:pt x="356" y="118"/>
                    </a:lnTo>
                    <a:lnTo>
                      <a:pt x="336" y="120"/>
                    </a:lnTo>
                    <a:lnTo>
                      <a:pt x="336" y="166"/>
                    </a:lnTo>
                    <a:lnTo>
                      <a:pt x="312" y="174"/>
                    </a:lnTo>
                    <a:lnTo>
                      <a:pt x="312" y="210"/>
                    </a:lnTo>
                    <a:lnTo>
                      <a:pt x="280" y="234"/>
                    </a:lnTo>
                    <a:lnTo>
                      <a:pt x="242" y="234"/>
                    </a:lnTo>
                    <a:lnTo>
                      <a:pt x="232" y="322"/>
                    </a:lnTo>
                    <a:lnTo>
                      <a:pt x="232" y="358"/>
                    </a:lnTo>
                    <a:lnTo>
                      <a:pt x="176" y="378"/>
                    </a:lnTo>
                    <a:lnTo>
                      <a:pt x="0" y="378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394A5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7" name="Freeform 270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 rot="698053">
                <a:off x="5675343" y="1895534"/>
                <a:ext cx="13803" cy="11768"/>
              </a:xfrm>
              <a:custGeom>
                <a:avLst/>
                <a:gdLst>
                  <a:gd name="T0" fmla="*/ 4 w 20"/>
                  <a:gd name="T1" fmla="*/ 0 h 18"/>
                  <a:gd name="T2" fmla="*/ 0 w 20"/>
                  <a:gd name="T3" fmla="*/ 8 h 18"/>
                  <a:gd name="T4" fmla="*/ 8 w 20"/>
                  <a:gd name="T5" fmla="*/ 18 h 18"/>
                  <a:gd name="T6" fmla="*/ 20 w 20"/>
                  <a:gd name="T7" fmla="*/ 8 h 18"/>
                  <a:gd name="T8" fmla="*/ 4 w 20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4" y="0"/>
                    </a:moveTo>
                    <a:lnTo>
                      <a:pt x="0" y="8"/>
                    </a:lnTo>
                    <a:lnTo>
                      <a:pt x="8" y="18"/>
                    </a:lnTo>
                    <a:lnTo>
                      <a:pt x="20" y="8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68" name="TextBox 267"/>
              <p:cNvSpPr txBox="1"/>
              <p:nvPr/>
            </p:nvSpPr>
            <p:spPr>
              <a:xfrm>
                <a:off x="3336489" y="1654371"/>
                <a:ext cx="990591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Калининградская</a:t>
                </a:r>
              </a:p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ППК</a:t>
                </a:r>
              </a:p>
            </p:txBody>
          </p:sp>
          <p:sp>
            <p:nvSpPr>
              <p:cNvPr id="269" name="TextBox 268"/>
              <p:cNvSpPr txBox="1"/>
              <p:nvPr/>
            </p:nvSpPr>
            <p:spPr>
              <a:xfrm>
                <a:off x="4118299" y="1909494"/>
                <a:ext cx="868200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еверо-Западная ППК</a:t>
                </a:r>
              </a:p>
            </p:txBody>
          </p:sp>
          <p:sp>
            <p:nvSpPr>
              <p:cNvPr id="270" name="TextBox 269"/>
              <p:cNvSpPr txBox="1"/>
              <p:nvPr/>
            </p:nvSpPr>
            <p:spPr>
              <a:xfrm>
                <a:off x="3864323" y="2184583"/>
                <a:ext cx="868200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Московско-Тверская ППК</a:t>
                </a:r>
              </a:p>
            </p:txBody>
          </p:sp>
          <p:sp>
            <p:nvSpPr>
              <p:cNvPr id="272" name="TextBox 271"/>
              <p:cNvSpPr txBox="1"/>
              <p:nvPr/>
            </p:nvSpPr>
            <p:spPr>
              <a:xfrm>
                <a:off x="3492340" y="2685206"/>
                <a:ext cx="1049597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ППК Черноземье</a:t>
                </a:r>
              </a:p>
            </p:txBody>
          </p:sp>
          <p:sp>
            <p:nvSpPr>
              <p:cNvPr id="273" name="TextBox 272"/>
              <p:cNvSpPr txBox="1"/>
              <p:nvPr/>
            </p:nvSpPr>
            <p:spPr>
              <a:xfrm>
                <a:off x="8761935" y="4168472"/>
                <a:ext cx="703007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ПК Сахалин</a:t>
                </a:r>
              </a:p>
            </p:txBody>
          </p:sp>
          <p:sp>
            <p:nvSpPr>
              <p:cNvPr id="274" name="TextBox 273"/>
              <p:cNvSpPr txBox="1"/>
              <p:nvPr/>
            </p:nvSpPr>
            <p:spPr>
              <a:xfrm>
                <a:off x="8610457" y="4418379"/>
                <a:ext cx="707440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Экспресс-Приморья</a:t>
                </a:r>
              </a:p>
            </p:txBody>
          </p:sp>
          <p:sp>
            <p:nvSpPr>
              <p:cNvPr id="275" name="TextBox 274"/>
              <p:cNvSpPr txBox="1"/>
              <p:nvPr/>
            </p:nvSpPr>
            <p:spPr>
              <a:xfrm>
                <a:off x="7365345" y="4170637"/>
                <a:ext cx="861389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Забайкальская ППК</a:t>
                </a:r>
              </a:p>
            </p:txBody>
          </p:sp>
          <p:sp>
            <p:nvSpPr>
              <p:cNvPr id="276" name="TextBox 275"/>
              <p:cNvSpPr txBox="1"/>
              <p:nvPr/>
            </p:nvSpPr>
            <p:spPr>
              <a:xfrm>
                <a:off x="6588745" y="3860395"/>
                <a:ext cx="861389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Байкальская ППК</a:t>
                </a:r>
              </a:p>
            </p:txBody>
          </p:sp>
          <p:sp>
            <p:nvSpPr>
              <p:cNvPr id="277" name="TextBox 276"/>
              <p:cNvSpPr txBox="1"/>
              <p:nvPr/>
            </p:nvSpPr>
            <p:spPr>
              <a:xfrm>
                <a:off x="6268916" y="3529985"/>
                <a:ext cx="861389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 err="1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Краспригород</a:t>
                </a:r>
                <a:endParaRPr lang="ru-RU" sz="500" b="1" dirty="0"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278" name="TextBox 277"/>
              <p:cNvSpPr txBox="1"/>
              <p:nvPr/>
            </p:nvSpPr>
            <p:spPr>
              <a:xfrm>
                <a:off x="5544213" y="3962146"/>
                <a:ext cx="861389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Алтай-Пригород</a:t>
                </a:r>
              </a:p>
            </p:txBody>
          </p:sp>
          <p:sp>
            <p:nvSpPr>
              <p:cNvPr id="279" name="TextBox 278"/>
              <p:cNvSpPr txBox="1"/>
              <p:nvPr/>
            </p:nvSpPr>
            <p:spPr>
              <a:xfrm>
                <a:off x="5843413" y="3738487"/>
                <a:ext cx="861389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Кузбасс-Пригород</a:t>
                </a:r>
              </a:p>
            </p:txBody>
          </p:sp>
          <p:sp>
            <p:nvSpPr>
              <p:cNvPr id="280" name="TextBox 279"/>
              <p:cNvSpPr txBox="1"/>
              <p:nvPr/>
            </p:nvSpPr>
            <p:spPr>
              <a:xfrm>
                <a:off x="5461220" y="3579246"/>
                <a:ext cx="861389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Экспресс Пригород</a:t>
                </a:r>
              </a:p>
            </p:txBody>
          </p:sp>
          <p:sp>
            <p:nvSpPr>
              <p:cNvPr id="281" name="TextBox 280"/>
              <p:cNvSpPr txBox="1"/>
              <p:nvPr/>
            </p:nvSpPr>
            <p:spPr>
              <a:xfrm>
                <a:off x="5206698" y="3422611"/>
                <a:ext cx="624755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мск-Пригород</a:t>
                </a:r>
              </a:p>
            </p:txBody>
          </p:sp>
          <p:sp>
            <p:nvSpPr>
              <p:cNvPr id="282" name="TextBox 281"/>
              <p:cNvSpPr txBox="1"/>
              <p:nvPr/>
            </p:nvSpPr>
            <p:spPr>
              <a:xfrm>
                <a:off x="4804411" y="2405979"/>
                <a:ext cx="624755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еверная ППК</a:t>
                </a:r>
              </a:p>
            </p:txBody>
          </p:sp>
          <p:sp>
            <p:nvSpPr>
              <p:cNvPr id="283" name="TextBox 282"/>
              <p:cNvSpPr txBox="1"/>
              <p:nvPr/>
            </p:nvSpPr>
            <p:spPr>
              <a:xfrm>
                <a:off x="3377273" y="2957789"/>
                <a:ext cx="1083507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еверо-</a:t>
                </a:r>
              </a:p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Кавказская </a:t>
                </a:r>
              </a:p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ППК</a:t>
                </a:r>
              </a:p>
            </p:txBody>
          </p:sp>
          <p:sp>
            <p:nvSpPr>
              <p:cNvPr id="284" name="TextBox 283"/>
              <p:cNvSpPr txBox="1"/>
              <p:nvPr/>
            </p:nvSpPr>
            <p:spPr>
              <a:xfrm>
                <a:off x="3132108" y="3138764"/>
                <a:ext cx="964463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Кубань </a:t>
                </a:r>
              </a:p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Экспресс-пригород </a:t>
                </a:r>
              </a:p>
            </p:txBody>
          </p:sp>
          <p:sp>
            <p:nvSpPr>
              <p:cNvPr id="285" name="TextBox 284"/>
              <p:cNvSpPr txBox="1"/>
              <p:nvPr/>
            </p:nvSpPr>
            <p:spPr>
              <a:xfrm>
                <a:off x="3895107" y="2886115"/>
                <a:ext cx="886684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аратовская ППК</a:t>
                </a:r>
              </a:p>
            </p:txBody>
          </p:sp>
          <p:sp>
            <p:nvSpPr>
              <p:cNvPr id="286" name="TextBox 285"/>
              <p:cNvSpPr txBox="1"/>
              <p:nvPr/>
            </p:nvSpPr>
            <p:spPr>
              <a:xfrm>
                <a:off x="3688572" y="3130122"/>
                <a:ext cx="886684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 err="1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Волгоградтранспригород</a:t>
                </a:r>
                <a:endParaRPr lang="ru-RU" sz="500" b="1" dirty="0"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287" name="TextBox 286"/>
              <p:cNvSpPr txBox="1"/>
              <p:nvPr/>
            </p:nvSpPr>
            <p:spPr>
              <a:xfrm>
                <a:off x="4289168" y="2729272"/>
                <a:ext cx="1049597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одружество</a:t>
                </a:r>
              </a:p>
            </p:txBody>
          </p:sp>
          <p:sp>
            <p:nvSpPr>
              <p:cNvPr id="288" name="TextBox 287"/>
              <p:cNvSpPr txBox="1"/>
              <p:nvPr/>
            </p:nvSpPr>
            <p:spPr>
              <a:xfrm>
                <a:off x="4359800" y="2560931"/>
                <a:ext cx="779576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Волго-Вятская ППК</a:t>
                </a:r>
              </a:p>
            </p:txBody>
          </p:sp>
          <p:sp>
            <p:nvSpPr>
              <p:cNvPr id="289" name="TextBox 288"/>
              <p:cNvSpPr txBox="1"/>
              <p:nvPr/>
            </p:nvSpPr>
            <p:spPr>
              <a:xfrm>
                <a:off x="4155801" y="3004383"/>
                <a:ext cx="886684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амарская</a:t>
                </a:r>
              </a:p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ППК</a:t>
                </a:r>
              </a:p>
            </p:txBody>
          </p:sp>
          <p:sp>
            <p:nvSpPr>
              <p:cNvPr id="290" name="TextBox 289"/>
              <p:cNvSpPr txBox="1"/>
              <p:nvPr/>
            </p:nvSpPr>
            <p:spPr>
              <a:xfrm>
                <a:off x="4421908" y="3230658"/>
                <a:ext cx="1023086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 err="1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Башкортостанская</a:t>
                </a:r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 ППК</a:t>
                </a:r>
              </a:p>
            </p:txBody>
          </p:sp>
          <p:sp>
            <p:nvSpPr>
              <p:cNvPr id="291" name="TextBox 290"/>
              <p:cNvSpPr txBox="1"/>
              <p:nvPr/>
            </p:nvSpPr>
            <p:spPr>
              <a:xfrm>
                <a:off x="4848165" y="2998940"/>
                <a:ext cx="1023086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500" b="1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вердловская ППК</a:t>
                </a:r>
              </a:p>
            </p:txBody>
          </p:sp>
          <p:sp>
            <p:nvSpPr>
              <p:cNvPr id="341" name="TextBox 340">
                <a:extLst>
                  <a:ext uri="{FF2B5EF4-FFF2-40B4-BE49-F238E27FC236}">
                    <a16:creationId xmlns="" xmlns:a16="http://schemas.microsoft.com/office/drawing/2014/main" id="{012C3AF3-D60C-4B56-B5A2-15D8BF94E1CF}"/>
                  </a:ext>
                </a:extLst>
              </p:cNvPr>
              <p:cNvSpPr txBox="1"/>
              <p:nvPr/>
            </p:nvSpPr>
            <p:spPr>
              <a:xfrm>
                <a:off x="3550207" y="4322440"/>
                <a:ext cx="2027086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800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Рост пассажиропотока к 2018 г</a:t>
                </a:r>
              </a:p>
            </p:txBody>
          </p:sp>
          <p:sp>
            <p:nvSpPr>
              <p:cNvPr id="344" name="TextBox 343">
                <a:extLst>
                  <a:ext uri="{FF2B5EF4-FFF2-40B4-BE49-F238E27FC236}">
                    <a16:creationId xmlns="" xmlns:a16="http://schemas.microsoft.com/office/drawing/2014/main" id="{DF8A8EBA-DA0A-4AC7-974E-AB379D6A845B}"/>
                  </a:ext>
                </a:extLst>
              </p:cNvPr>
              <p:cNvSpPr txBox="1"/>
              <p:nvPr/>
            </p:nvSpPr>
            <p:spPr>
              <a:xfrm>
                <a:off x="3550207" y="4594926"/>
                <a:ext cx="2551781" cy="307937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ru-RU" sz="800" dirty="0"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нижение пассажиропотока к 2018 г</a:t>
                </a:r>
              </a:p>
            </p:txBody>
          </p:sp>
        </p:grpSp>
      </p:grpSp>
      <p:sp>
        <p:nvSpPr>
          <p:cNvPr id="292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>
            <a:off x="3899914" y="1367816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299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>
            <a:off x="3672523" y="1695919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20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>
            <a:off x="3177279" y="1131907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26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>
            <a:off x="4590382" y="2601502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28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>
            <a:off x="4108356" y="2080261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01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 flipV="1">
            <a:off x="4197731" y="2876558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4522871" y="2485902"/>
            <a:ext cx="827584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мская ПК</a:t>
            </a:r>
          </a:p>
        </p:txBody>
      </p:sp>
      <p:sp>
        <p:nvSpPr>
          <p:cNvPr id="307" name="Freeform 5">
            <a:extLst>
              <a:ext uri="{FF2B5EF4-FFF2-40B4-BE49-F238E27FC236}">
                <a16:creationId xmlns="" xmlns:a16="http://schemas.microsoft.com/office/drawing/2014/main" id="{28F6A74F-CEB9-4EF6-A88E-06DACB5E44C5}"/>
              </a:ext>
            </a:extLst>
          </p:cNvPr>
          <p:cNvSpPr>
            <a:spLocks/>
          </p:cNvSpPr>
          <p:nvPr/>
        </p:nvSpPr>
        <p:spPr bwMode="auto">
          <a:xfrm rot="10800000" flipH="1" flipV="1">
            <a:off x="395536" y="987574"/>
            <a:ext cx="2448693" cy="1080119"/>
          </a:xfrm>
          <a:prstGeom prst="roundRect">
            <a:avLst/>
          </a:prstGeom>
          <a:gradFill>
            <a:gsLst>
              <a:gs pos="0">
                <a:schemeClr val="tx1">
                  <a:alpha val="25000"/>
                </a:schemeClr>
              </a:gs>
              <a:gs pos="95000">
                <a:schemeClr val="tx1">
                  <a:alpha val="5000"/>
                </a:schemeClr>
              </a:gs>
            </a:gsLst>
            <a:lin ang="2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TextBox 125"/>
          <p:cNvSpPr txBox="1"/>
          <p:nvPr/>
        </p:nvSpPr>
        <p:spPr>
          <a:xfrm>
            <a:off x="457441" y="997709"/>
            <a:ext cx="3816424" cy="30677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ru-RU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Отправление пассажиров</a:t>
            </a:r>
          </a:p>
        </p:txBody>
      </p:sp>
      <p:sp>
        <p:nvSpPr>
          <p:cNvPr id="324" name="Freeform 5">
            <a:extLst>
              <a:ext uri="{FF2B5EF4-FFF2-40B4-BE49-F238E27FC236}">
                <a16:creationId xmlns="" xmlns:a16="http://schemas.microsoft.com/office/drawing/2014/main" id="{28F6A74F-CEB9-4EF6-A88E-06DACB5E44C5}"/>
              </a:ext>
            </a:extLst>
          </p:cNvPr>
          <p:cNvSpPr>
            <a:spLocks/>
          </p:cNvSpPr>
          <p:nvPr/>
        </p:nvSpPr>
        <p:spPr bwMode="auto">
          <a:xfrm rot="10800000" flipH="1" flipV="1">
            <a:off x="395536" y="2283718"/>
            <a:ext cx="2448693" cy="1080119"/>
          </a:xfrm>
          <a:prstGeom prst="roundRect">
            <a:avLst/>
          </a:prstGeom>
          <a:gradFill>
            <a:gsLst>
              <a:gs pos="0">
                <a:schemeClr val="tx1">
                  <a:alpha val="25000"/>
                </a:schemeClr>
              </a:gs>
              <a:gs pos="95000">
                <a:schemeClr val="tx1">
                  <a:alpha val="5000"/>
                </a:schemeClr>
              </a:gs>
            </a:gsLst>
            <a:lin ang="2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Freeform 5">
            <a:extLst>
              <a:ext uri="{FF2B5EF4-FFF2-40B4-BE49-F238E27FC236}">
                <a16:creationId xmlns="" xmlns:a16="http://schemas.microsoft.com/office/drawing/2014/main" id="{28F6A74F-CEB9-4EF6-A88E-06DACB5E44C5}"/>
              </a:ext>
            </a:extLst>
          </p:cNvPr>
          <p:cNvSpPr>
            <a:spLocks/>
          </p:cNvSpPr>
          <p:nvPr/>
        </p:nvSpPr>
        <p:spPr bwMode="auto">
          <a:xfrm rot="10800000" flipH="1" flipV="1">
            <a:off x="395536" y="3579862"/>
            <a:ext cx="2432723" cy="1080119"/>
          </a:xfrm>
          <a:prstGeom prst="roundRect">
            <a:avLst/>
          </a:prstGeom>
          <a:gradFill>
            <a:gsLst>
              <a:gs pos="0">
                <a:schemeClr val="tx1">
                  <a:alpha val="25000"/>
                </a:schemeClr>
              </a:gs>
              <a:gs pos="95000">
                <a:schemeClr val="tx1">
                  <a:alpha val="5000"/>
                </a:schemeClr>
              </a:gs>
            </a:gsLst>
            <a:lin ang="24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" name="Группа 108"/>
          <p:cNvGrpSpPr/>
          <p:nvPr/>
        </p:nvGrpSpPr>
        <p:grpSpPr>
          <a:xfrm>
            <a:off x="495152" y="3625264"/>
            <a:ext cx="2664296" cy="1065542"/>
            <a:chOff x="327675" y="1100944"/>
            <a:chExt cx="2664296" cy="1065542"/>
          </a:xfrm>
        </p:grpSpPr>
        <p:sp>
          <p:nvSpPr>
            <p:cNvPr id="156" name="TextBox 155"/>
            <p:cNvSpPr txBox="1"/>
            <p:nvPr/>
          </p:nvSpPr>
          <p:spPr>
            <a:xfrm>
              <a:off x="327675" y="1100944"/>
              <a:ext cx="2664296" cy="30677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ru-RU" sz="1200" dirty="0">
                  <a:latin typeface="Verdana" pitchFamily="34" charset="0"/>
                  <a:ea typeface="Verdana" pitchFamily="34" charset="0"/>
                  <a:cs typeface="Verdana" pitchFamily="34" charset="0"/>
                </a:rPr>
                <a:t>Доходы</a:t>
              </a:r>
            </a:p>
          </p:txBody>
        </p:sp>
        <p:sp>
          <p:nvSpPr>
            <p:cNvPr id="157" name="Прямоугольник 156">
              <a:extLst>
                <a:ext uri="{FF2B5EF4-FFF2-40B4-BE49-F238E27FC236}">
                  <a16:creationId xmlns="" xmlns:a16="http://schemas.microsoft.com/office/drawing/2014/main" id="{3BD81BDF-F102-894F-92E7-8A1A319A3EA0}"/>
                </a:ext>
              </a:extLst>
            </p:cNvPr>
            <p:cNvSpPr/>
            <p:nvPr/>
          </p:nvSpPr>
          <p:spPr>
            <a:xfrm>
              <a:off x="1405350" y="1935654"/>
              <a:ext cx="123156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endParaRPr lang="ru-RU" sz="900" b="1" dirty="0">
                <a:latin typeface="Verdana" pitchFamily="34" charset="0"/>
              </a:endParaRPr>
            </a:p>
          </p:txBody>
        </p:sp>
      </p:grpSp>
      <p:grpSp>
        <p:nvGrpSpPr>
          <p:cNvPr id="5" name="Группа 108"/>
          <p:cNvGrpSpPr/>
          <p:nvPr/>
        </p:nvGrpSpPr>
        <p:grpSpPr>
          <a:xfrm>
            <a:off x="471646" y="2312403"/>
            <a:ext cx="2804210" cy="1087206"/>
            <a:chOff x="302726" y="1079280"/>
            <a:chExt cx="2664296" cy="1087206"/>
          </a:xfrm>
        </p:grpSpPr>
        <p:sp>
          <p:nvSpPr>
            <p:cNvPr id="111" name="TextBox 110"/>
            <p:cNvSpPr txBox="1"/>
            <p:nvPr/>
          </p:nvSpPr>
          <p:spPr>
            <a:xfrm>
              <a:off x="302726" y="1079280"/>
              <a:ext cx="2664296" cy="306773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r>
                <a:rPr lang="ru-RU" sz="1200" dirty="0">
                  <a:latin typeface="Verdana" pitchFamily="34" charset="0"/>
                  <a:ea typeface="Verdana" pitchFamily="34" charset="0"/>
                  <a:cs typeface="Verdana" pitchFamily="34" charset="0"/>
                </a:rPr>
                <a:t>Пассажирооборот</a:t>
              </a:r>
            </a:p>
          </p:txBody>
        </p:sp>
        <p:sp>
          <p:nvSpPr>
            <p:cNvPr id="114" name="Прямоугольник 113">
              <a:extLst>
                <a:ext uri="{FF2B5EF4-FFF2-40B4-BE49-F238E27FC236}">
                  <a16:creationId xmlns="" xmlns:a16="http://schemas.microsoft.com/office/drawing/2014/main" id="{3BD81BDF-F102-894F-92E7-8A1A319A3EA0}"/>
                </a:ext>
              </a:extLst>
            </p:cNvPr>
            <p:cNvSpPr/>
            <p:nvPr/>
          </p:nvSpPr>
          <p:spPr>
            <a:xfrm>
              <a:off x="1405350" y="1935654"/>
              <a:ext cx="123156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endParaRPr lang="ru-RU" sz="900" b="1" dirty="0">
                <a:latin typeface="Verdana" pitchFamily="34" charset="0"/>
              </a:endParaRPr>
            </a:p>
          </p:txBody>
        </p:sp>
      </p:grpSp>
      <p:sp>
        <p:nvSpPr>
          <p:cNvPr id="322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 flipV="1">
            <a:off x="5216906" y="3703002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32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 flipV="1">
            <a:off x="8353299" y="3731062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08" name="Прямоугольник 307">
            <a:extLst>
              <a:ext uri="{FF2B5EF4-FFF2-40B4-BE49-F238E27FC236}">
                <a16:creationId xmlns="" xmlns:a16="http://schemas.microsoft.com/office/drawing/2014/main" id="{7EA8E0E1-F926-1841-8C75-3A735579D9F6}"/>
              </a:ext>
            </a:extLst>
          </p:cNvPr>
          <p:cNvSpPr/>
          <p:nvPr/>
        </p:nvSpPr>
        <p:spPr>
          <a:xfrm>
            <a:off x="92421" y="149418"/>
            <a:ext cx="871296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Результаты работы пригородного комплекса за 2019 год</a:t>
            </a:r>
          </a:p>
        </p:txBody>
      </p:sp>
      <p:sp>
        <p:nvSpPr>
          <p:cNvPr id="321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 flipV="1">
            <a:off x="3004449" y="2764592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29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 flipV="1">
            <a:off x="4514096" y="1949979"/>
            <a:ext cx="156859" cy="151517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33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 flipV="1">
            <a:off x="3204797" y="4362841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2278210" y="1465065"/>
            <a:ext cx="468398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600" b="1" dirty="0">
                <a:latin typeface="Verdana" pitchFamily="34" charset="0"/>
              </a:rPr>
              <a:t>к пр.г.</a:t>
            </a:r>
            <a:endParaRPr lang="ru-RU" sz="600" dirty="0"/>
          </a:p>
        </p:txBody>
      </p:sp>
      <p:sp>
        <p:nvSpPr>
          <p:cNvPr id="51" name="TextBox 50"/>
          <p:cNvSpPr txBox="1"/>
          <p:nvPr/>
        </p:nvSpPr>
        <p:spPr>
          <a:xfrm>
            <a:off x="1103073" y="1242679"/>
            <a:ext cx="10081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40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9" name="TextBox 24"/>
          <p:cNvSpPr txBox="1">
            <a:spLocks noChangeArrowheads="1"/>
          </p:cNvSpPr>
          <p:nvPr/>
        </p:nvSpPr>
        <p:spPr bwMode="auto">
          <a:xfrm>
            <a:off x="611560" y="1275606"/>
            <a:ext cx="165618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 b="1" dirty="0">
                <a:latin typeface="Verdana" pitchFamily="34" charset="0"/>
              </a:rPr>
              <a:t>1,08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Verdana" pitchFamily="34" charset="0"/>
              </a:rPr>
              <a:t>млрд пасс.</a:t>
            </a:r>
            <a:endParaRPr lang="ru-RU" altLang="ru-RU" sz="1000" dirty="0">
              <a:latin typeface="Verdana" pitchFamily="34" charset="0"/>
            </a:endParaRPr>
          </a:p>
        </p:txBody>
      </p:sp>
      <p:sp>
        <p:nvSpPr>
          <p:cNvPr id="109" name="TextBox 24"/>
          <p:cNvSpPr txBox="1">
            <a:spLocks noChangeArrowheads="1"/>
          </p:cNvSpPr>
          <p:nvPr/>
        </p:nvSpPr>
        <p:spPr bwMode="auto">
          <a:xfrm>
            <a:off x="611560" y="2571750"/>
            <a:ext cx="152472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 b="1" dirty="0">
                <a:latin typeface="Verdana" pitchFamily="34" charset="0"/>
              </a:rPr>
              <a:t>34,4 </a:t>
            </a:r>
          </a:p>
        </p:txBody>
      </p:sp>
      <p:sp>
        <p:nvSpPr>
          <p:cNvPr id="297" name="TextBox 24">
            <a:extLst>
              <a:ext uri="{FF2B5EF4-FFF2-40B4-BE49-F238E27FC236}">
                <a16:creationId xmlns="" xmlns:a16="http://schemas.microsoft.com/office/drawing/2014/main" id="{F64830D6-D3EC-8A45-8EC9-9969137647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1657" y="2998869"/>
            <a:ext cx="188211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Verdana" pitchFamily="34" charset="0"/>
              </a:rPr>
              <a:t>млрд пасс-км</a:t>
            </a:r>
            <a:endParaRPr lang="ru-RU" altLang="ru-RU" sz="1000" dirty="0">
              <a:latin typeface="Verdana" pitchFamily="34" charset="0"/>
            </a:endParaRPr>
          </a:p>
        </p:txBody>
      </p:sp>
      <p:sp>
        <p:nvSpPr>
          <p:cNvPr id="150" name="TextBox 24"/>
          <p:cNvSpPr txBox="1">
            <a:spLocks noChangeArrowheads="1"/>
          </p:cNvSpPr>
          <p:nvPr/>
        </p:nvSpPr>
        <p:spPr bwMode="auto">
          <a:xfrm>
            <a:off x="598728" y="3858183"/>
            <a:ext cx="188211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800" b="1" dirty="0">
                <a:latin typeface="Verdana" pitchFamily="34" charset="0"/>
              </a:rPr>
              <a:t>75,5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Verdana" pitchFamily="34" charset="0"/>
              </a:rPr>
              <a:t>  </a:t>
            </a:r>
            <a:endParaRPr lang="ru-RU" altLang="ru-RU" sz="1000" dirty="0">
              <a:latin typeface="Verdana" pitchFamily="34" charset="0"/>
            </a:endParaRPr>
          </a:p>
        </p:txBody>
      </p:sp>
      <p:sp>
        <p:nvSpPr>
          <p:cNvPr id="296" name="TextBox 24">
            <a:extLst>
              <a:ext uri="{FF2B5EF4-FFF2-40B4-BE49-F238E27FC236}">
                <a16:creationId xmlns="" xmlns:a16="http://schemas.microsoft.com/office/drawing/2014/main" id="{4C60CC3F-1F93-1049-A5B6-1B68FB6A37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560" y="4299942"/>
            <a:ext cx="188211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Verdana" pitchFamily="34" charset="0"/>
              </a:rPr>
              <a:t>млрд.руб.</a:t>
            </a:r>
            <a:endParaRPr lang="ru-RU" altLang="ru-RU" sz="1000" dirty="0">
              <a:latin typeface="Verdana" pitchFamily="34" charset="0"/>
            </a:endParaRPr>
          </a:p>
        </p:txBody>
      </p:sp>
      <p:sp>
        <p:nvSpPr>
          <p:cNvPr id="305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>
            <a:off x="3230014" y="2576084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09" name="Полилиния 69">
            <a:extLst>
              <a:ext uri="{FF2B5EF4-FFF2-40B4-BE49-F238E27FC236}">
                <a16:creationId xmlns="" xmlns:a16="http://schemas.microsoft.com/office/drawing/2014/main" id="{71F90C14-2953-4388-83E8-55DFE249F484}"/>
              </a:ext>
            </a:extLst>
          </p:cNvPr>
          <p:cNvSpPr/>
          <p:nvPr/>
        </p:nvSpPr>
        <p:spPr>
          <a:xfrm rot="10800000">
            <a:off x="1979728" y="1354369"/>
            <a:ext cx="144000" cy="1440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8EDA5C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15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>
            <a:off x="8032725" y="4201306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36" name="Прямоугольник 335">
            <a:extLst>
              <a:ext uri="{FF2B5EF4-FFF2-40B4-BE49-F238E27FC236}">
                <a16:creationId xmlns="" xmlns:a16="http://schemas.microsoft.com/office/drawing/2014/main" id="{3BD81BDF-F102-894F-92E7-8A1A319A3EA0}"/>
              </a:ext>
            </a:extLst>
          </p:cNvPr>
          <p:cNvSpPr/>
          <p:nvPr/>
        </p:nvSpPr>
        <p:spPr>
          <a:xfrm>
            <a:off x="2051720" y="2571750"/>
            <a:ext cx="7200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b="1" dirty="0">
                <a:latin typeface="Verdana" pitchFamily="34" charset="0"/>
              </a:rPr>
              <a:t>+3,5%</a:t>
            </a:r>
          </a:p>
        </p:txBody>
      </p:sp>
      <p:sp>
        <p:nvSpPr>
          <p:cNvPr id="337" name="Прямоугольник 336"/>
          <p:cNvSpPr/>
          <p:nvPr/>
        </p:nvSpPr>
        <p:spPr>
          <a:xfrm>
            <a:off x="2288822" y="2729405"/>
            <a:ext cx="468398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600" b="1" dirty="0">
                <a:latin typeface="Verdana" pitchFamily="34" charset="0"/>
              </a:rPr>
              <a:t>к пр.г.</a:t>
            </a:r>
            <a:endParaRPr lang="ru-RU" sz="600" dirty="0"/>
          </a:p>
        </p:txBody>
      </p:sp>
      <p:sp>
        <p:nvSpPr>
          <p:cNvPr id="338" name="Полилиния 69">
            <a:extLst>
              <a:ext uri="{FF2B5EF4-FFF2-40B4-BE49-F238E27FC236}">
                <a16:creationId xmlns="" xmlns:a16="http://schemas.microsoft.com/office/drawing/2014/main" id="{71F90C14-2953-4388-83E8-55DFE249F484}"/>
              </a:ext>
            </a:extLst>
          </p:cNvPr>
          <p:cNvSpPr/>
          <p:nvPr/>
        </p:nvSpPr>
        <p:spPr>
          <a:xfrm rot="10800000">
            <a:off x="1974438" y="2618709"/>
            <a:ext cx="144000" cy="1440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8EDA5C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42" name="Прямоугольник 341"/>
          <p:cNvSpPr/>
          <p:nvPr/>
        </p:nvSpPr>
        <p:spPr>
          <a:xfrm>
            <a:off x="2267744" y="4115276"/>
            <a:ext cx="468398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600" b="1" dirty="0">
                <a:latin typeface="Verdana" pitchFamily="34" charset="0"/>
              </a:rPr>
              <a:t>к пр.г.</a:t>
            </a:r>
            <a:endParaRPr lang="ru-RU" sz="600" dirty="0"/>
          </a:p>
        </p:txBody>
      </p:sp>
      <p:sp>
        <p:nvSpPr>
          <p:cNvPr id="343" name="Полилиния 69">
            <a:extLst>
              <a:ext uri="{FF2B5EF4-FFF2-40B4-BE49-F238E27FC236}">
                <a16:creationId xmlns="" xmlns:a16="http://schemas.microsoft.com/office/drawing/2014/main" id="{71F90C14-2953-4388-83E8-55DFE249F484}"/>
              </a:ext>
            </a:extLst>
          </p:cNvPr>
          <p:cNvSpPr/>
          <p:nvPr/>
        </p:nvSpPr>
        <p:spPr>
          <a:xfrm rot="10800000">
            <a:off x="1969262" y="4011925"/>
            <a:ext cx="144000" cy="1440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8EDA5C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47" name="Прямоугольник 346">
            <a:extLst>
              <a:ext uri="{FF2B5EF4-FFF2-40B4-BE49-F238E27FC236}">
                <a16:creationId xmlns="" xmlns:a16="http://schemas.microsoft.com/office/drawing/2014/main" id="{3BD81BDF-F102-894F-92E7-8A1A319A3EA0}"/>
              </a:ext>
            </a:extLst>
          </p:cNvPr>
          <p:cNvSpPr/>
          <p:nvPr/>
        </p:nvSpPr>
        <p:spPr>
          <a:xfrm>
            <a:off x="2027418" y="3957860"/>
            <a:ext cx="14803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b="1" dirty="0">
                <a:latin typeface="Verdana" pitchFamily="34" charset="0"/>
              </a:rPr>
              <a:t>+7,4%</a:t>
            </a:r>
          </a:p>
        </p:txBody>
      </p:sp>
      <p:sp>
        <p:nvSpPr>
          <p:cNvPr id="330" name="TextBox 329"/>
          <p:cNvSpPr txBox="1"/>
          <p:nvPr/>
        </p:nvSpPr>
        <p:spPr>
          <a:xfrm>
            <a:off x="3673653" y="1839973"/>
            <a:ext cx="864096" cy="34663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ru-RU" sz="5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Центральная ППК</a:t>
            </a:r>
          </a:p>
        </p:txBody>
      </p:sp>
      <p:sp>
        <p:nvSpPr>
          <p:cNvPr id="334" name="Полилиния 69">
            <a:extLst>
              <a:ext uri="{FF2B5EF4-FFF2-40B4-BE49-F238E27FC236}">
                <a16:creationId xmlns="" xmlns:a16="http://schemas.microsoft.com/office/drawing/2014/main" id="{253FADEE-4762-214A-A123-B463DAF698E8}"/>
              </a:ext>
            </a:extLst>
          </p:cNvPr>
          <p:cNvSpPr/>
          <p:nvPr/>
        </p:nvSpPr>
        <p:spPr>
          <a:xfrm rot="10800000">
            <a:off x="3591021" y="1950619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271" name="Полилиния 69">
            <a:extLst>
              <a:ext uri="{FF2B5EF4-FFF2-40B4-BE49-F238E27FC236}">
                <a16:creationId xmlns="" xmlns:a16="http://schemas.microsoft.com/office/drawing/2014/main" id="{41805521-5F66-4879-8FDC-9DEFD2D3012B}"/>
              </a:ext>
            </a:extLst>
          </p:cNvPr>
          <p:cNvSpPr/>
          <p:nvPr/>
        </p:nvSpPr>
        <p:spPr>
          <a:xfrm rot="10800000">
            <a:off x="6898680" y="3929770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293" name="Полилиния 69">
            <a:extLst>
              <a:ext uri="{FF2B5EF4-FFF2-40B4-BE49-F238E27FC236}">
                <a16:creationId xmlns="" xmlns:a16="http://schemas.microsoft.com/office/drawing/2014/main" id="{2FA428E2-77AE-4123-8850-1FB719D12367}"/>
              </a:ext>
            </a:extLst>
          </p:cNvPr>
          <p:cNvSpPr/>
          <p:nvPr/>
        </p:nvSpPr>
        <p:spPr>
          <a:xfrm rot="10800000">
            <a:off x="6185819" y="3559795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294" name="Полилиния 69">
            <a:extLst>
              <a:ext uri="{FF2B5EF4-FFF2-40B4-BE49-F238E27FC236}">
                <a16:creationId xmlns="" xmlns:a16="http://schemas.microsoft.com/office/drawing/2014/main" id="{09D5F310-0376-408C-BE9F-B233B49E499A}"/>
              </a:ext>
            </a:extLst>
          </p:cNvPr>
          <p:cNvSpPr/>
          <p:nvPr/>
        </p:nvSpPr>
        <p:spPr>
          <a:xfrm rot="10800000">
            <a:off x="5884811" y="3208593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00" name="Полилиния 69">
            <a:extLst>
              <a:ext uri="{FF2B5EF4-FFF2-40B4-BE49-F238E27FC236}">
                <a16:creationId xmlns="" xmlns:a16="http://schemas.microsoft.com/office/drawing/2014/main" id="{A7ADF9EE-42E3-4C43-81B5-28FF2DD04C8E}"/>
              </a:ext>
            </a:extLst>
          </p:cNvPr>
          <p:cNvSpPr/>
          <p:nvPr/>
        </p:nvSpPr>
        <p:spPr>
          <a:xfrm rot="10800000">
            <a:off x="5162429" y="3271510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02" name="Полилиния 69">
            <a:extLst>
              <a:ext uri="{FF2B5EF4-FFF2-40B4-BE49-F238E27FC236}">
                <a16:creationId xmlns="" xmlns:a16="http://schemas.microsoft.com/office/drawing/2014/main" id="{550DD991-C835-4BE3-9744-CACEA116A9EE}"/>
              </a:ext>
            </a:extLst>
          </p:cNvPr>
          <p:cNvSpPr/>
          <p:nvPr/>
        </p:nvSpPr>
        <p:spPr>
          <a:xfrm rot="10800000" flipV="1">
            <a:off x="4922432" y="3100013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11" name="Полилиния 69">
            <a:extLst>
              <a:ext uri="{FF2B5EF4-FFF2-40B4-BE49-F238E27FC236}">
                <a16:creationId xmlns="" xmlns:a16="http://schemas.microsoft.com/office/drawing/2014/main" id="{42E8EC3C-A150-4B63-8395-1243882B16C4}"/>
              </a:ext>
            </a:extLst>
          </p:cNvPr>
          <p:cNvSpPr/>
          <p:nvPr/>
        </p:nvSpPr>
        <p:spPr>
          <a:xfrm rot="10800000">
            <a:off x="4425686" y="2472373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16" name="Полилиния 69">
            <a:extLst>
              <a:ext uri="{FF2B5EF4-FFF2-40B4-BE49-F238E27FC236}">
                <a16:creationId xmlns="" xmlns:a16="http://schemas.microsoft.com/office/drawing/2014/main" id="{DA5AA412-6AC1-4726-BE5D-6B75C9E19691}"/>
              </a:ext>
            </a:extLst>
          </p:cNvPr>
          <p:cNvSpPr/>
          <p:nvPr/>
        </p:nvSpPr>
        <p:spPr>
          <a:xfrm rot="10800000">
            <a:off x="3946950" y="2622534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19" name="Полилиния 69">
            <a:extLst>
              <a:ext uri="{FF2B5EF4-FFF2-40B4-BE49-F238E27FC236}">
                <a16:creationId xmlns="" xmlns:a16="http://schemas.microsoft.com/office/drawing/2014/main" id="{F472DE64-73F8-4E6F-AC06-715E1D1036E5}"/>
              </a:ext>
            </a:extLst>
          </p:cNvPr>
          <p:cNvSpPr/>
          <p:nvPr/>
        </p:nvSpPr>
        <p:spPr>
          <a:xfrm rot="10800000">
            <a:off x="3523396" y="2739633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27" name="Полилиния 69">
            <a:extLst>
              <a:ext uri="{FF2B5EF4-FFF2-40B4-BE49-F238E27FC236}">
                <a16:creationId xmlns="" xmlns:a16="http://schemas.microsoft.com/office/drawing/2014/main" id="{8344A4DF-EA48-405F-834E-FE0DECE2B335}"/>
              </a:ext>
            </a:extLst>
          </p:cNvPr>
          <p:cNvSpPr/>
          <p:nvPr/>
        </p:nvSpPr>
        <p:spPr>
          <a:xfrm rot="10800000">
            <a:off x="3701945" y="2463927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35" name="Полилиния 69">
            <a:extLst>
              <a:ext uri="{FF2B5EF4-FFF2-40B4-BE49-F238E27FC236}">
                <a16:creationId xmlns="" xmlns:a16="http://schemas.microsoft.com/office/drawing/2014/main" id="{F9A2F923-CD52-45E9-BD21-2ECD77C10962}"/>
              </a:ext>
            </a:extLst>
          </p:cNvPr>
          <p:cNvSpPr/>
          <p:nvPr/>
        </p:nvSpPr>
        <p:spPr>
          <a:xfrm rot="10800000">
            <a:off x="4071004" y="2337007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39" name="Полилиния 69">
            <a:extLst>
              <a:ext uri="{FF2B5EF4-FFF2-40B4-BE49-F238E27FC236}">
                <a16:creationId xmlns="" xmlns:a16="http://schemas.microsoft.com/office/drawing/2014/main" id="{1A490699-E011-4345-861C-5F5BE692F165}"/>
              </a:ext>
            </a:extLst>
          </p:cNvPr>
          <p:cNvSpPr/>
          <p:nvPr/>
        </p:nvSpPr>
        <p:spPr>
          <a:xfrm rot="10800000">
            <a:off x="3353572" y="2272662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40" name="Полилиния 69">
            <a:extLst>
              <a:ext uri="{FF2B5EF4-FFF2-40B4-BE49-F238E27FC236}">
                <a16:creationId xmlns="" xmlns:a16="http://schemas.microsoft.com/office/drawing/2014/main" id="{11B0FB98-A146-4164-9923-5877BB6932D7}"/>
              </a:ext>
            </a:extLst>
          </p:cNvPr>
          <p:cNvSpPr/>
          <p:nvPr/>
        </p:nvSpPr>
        <p:spPr>
          <a:xfrm rot="10800000">
            <a:off x="3201423" y="4100160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  <p:sp>
        <p:nvSpPr>
          <p:cNvPr id="345" name="Полилиния 69">
            <a:extLst>
              <a:ext uri="{FF2B5EF4-FFF2-40B4-BE49-F238E27FC236}">
                <a16:creationId xmlns="" xmlns:a16="http://schemas.microsoft.com/office/drawing/2014/main" id="{3F3670D2-EA26-4833-9344-0E6210AA712B}"/>
              </a:ext>
            </a:extLst>
          </p:cNvPr>
          <p:cNvSpPr/>
          <p:nvPr/>
        </p:nvSpPr>
        <p:spPr>
          <a:xfrm rot="10800000" flipV="1">
            <a:off x="5506716" y="3464976"/>
            <a:ext cx="158400" cy="151200"/>
          </a:xfrm>
          <a:custGeom>
            <a:avLst/>
            <a:gdLst>
              <a:gd name="connsiteX0" fmla="*/ 0 w 226695"/>
              <a:gd name="connsiteY0" fmla="*/ 0 h 179070"/>
              <a:gd name="connsiteX1" fmla="*/ 116205 w 226695"/>
              <a:gd name="connsiteY1" fmla="*/ 179070 h 179070"/>
              <a:gd name="connsiteX2" fmla="*/ 226695 w 226695"/>
              <a:gd name="connsiteY2" fmla="*/ 3810 h 179070"/>
              <a:gd name="connsiteX3" fmla="*/ 114300 w 226695"/>
              <a:gd name="connsiteY3" fmla="*/ 49530 h 179070"/>
              <a:gd name="connsiteX4" fmla="*/ 0 w 226695"/>
              <a:gd name="connsiteY4" fmla="*/ 0 h 179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6695" h="179070">
                <a:moveTo>
                  <a:pt x="0" y="0"/>
                </a:moveTo>
                <a:lnTo>
                  <a:pt x="116205" y="179070"/>
                </a:lnTo>
                <a:lnTo>
                  <a:pt x="226695" y="3810"/>
                </a:lnTo>
                <a:lnTo>
                  <a:pt x="114300" y="4953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 w="6350">
            <a:solidFill>
              <a:srgbClr val="8691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0" name="Line"/>
          <p:cNvSpPr/>
          <p:nvPr/>
        </p:nvSpPr>
        <p:spPr>
          <a:xfrm flipV="1">
            <a:off x="531316" y="1405453"/>
            <a:ext cx="3570406" cy="0"/>
          </a:xfrm>
          <a:prstGeom prst="line">
            <a:avLst/>
          </a:prstGeom>
          <a:ln w="381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0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Helvetica Neue Medium"/>
            </a:endParaRPr>
          </a:p>
        </p:txBody>
      </p:sp>
      <p:sp>
        <p:nvSpPr>
          <p:cNvPr id="72" name="Заголовок 7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ru-RU" sz="1600" dirty="0" smtClean="0"/>
              <a:t>В 2019-2020 г. услугами новых пригородных поездов смогли воспользоваться пассажиры 21 субъекта РФ</a:t>
            </a:r>
            <a:endParaRPr lang="ru-RU" sz="1600" dirty="0"/>
          </a:p>
        </p:txBody>
      </p:sp>
      <p:sp>
        <p:nvSpPr>
          <p:cNvPr id="69" name="Line 1258"/>
          <p:cNvSpPr>
            <a:spLocks noChangeShapeType="1"/>
          </p:cNvSpPr>
          <p:nvPr/>
        </p:nvSpPr>
        <p:spPr bwMode="auto">
          <a:xfrm>
            <a:off x="4662677" y="5027320"/>
            <a:ext cx="0" cy="0"/>
          </a:xfrm>
          <a:prstGeom prst="line">
            <a:avLst/>
          </a:prstGeom>
          <a:solidFill>
            <a:schemeClr val="bg2">
              <a:lumMod val="85000"/>
            </a:schemeClr>
          </a:solidFill>
          <a:ln w="9525">
            <a:noFill/>
            <a:round/>
            <a:headEnd/>
            <a:tailEnd/>
          </a:ln>
        </p:spPr>
      </p:sp>
      <p:sp>
        <p:nvSpPr>
          <p:cNvPr id="70" name="Line 1259"/>
          <p:cNvSpPr>
            <a:spLocks noChangeShapeType="1"/>
          </p:cNvSpPr>
          <p:nvPr/>
        </p:nvSpPr>
        <p:spPr bwMode="auto">
          <a:xfrm>
            <a:off x="4741498" y="5096895"/>
            <a:ext cx="0" cy="0"/>
          </a:xfrm>
          <a:prstGeom prst="line">
            <a:avLst/>
          </a:prstGeom>
          <a:solidFill>
            <a:schemeClr val="bg2">
              <a:lumMod val="85000"/>
            </a:schemeClr>
          </a:solidFill>
          <a:ln w="0" cap="rnd">
            <a:solidFill>
              <a:srgbClr val="6E6E6E"/>
            </a:solidFill>
            <a:round/>
            <a:headEnd/>
            <a:tailEnd/>
          </a:ln>
        </p:spPr>
      </p:sp>
      <p:sp>
        <p:nvSpPr>
          <p:cNvPr id="71" name="Line 1260"/>
          <p:cNvSpPr>
            <a:spLocks noChangeShapeType="1"/>
          </p:cNvSpPr>
          <p:nvPr/>
        </p:nvSpPr>
        <p:spPr bwMode="auto">
          <a:xfrm>
            <a:off x="4815760" y="5166471"/>
            <a:ext cx="0" cy="0"/>
          </a:xfrm>
          <a:prstGeom prst="line">
            <a:avLst/>
          </a:prstGeom>
          <a:solidFill>
            <a:schemeClr val="bg2">
              <a:lumMod val="85000"/>
            </a:schemeClr>
          </a:solidFill>
          <a:ln w="9525">
            <a:noFill/>
            <a:round/>
            <a:headEnd/>
            <a:tailEnd/>
          </a:ln>
        </p:spPr>
      </p:sp>
      <p:sp>
        <p:nvSpPr>
          <p:cNvPr id="74" name="Line 1261"/>
          <p:cNvSpPr>
            <a:spLocks noChangeShapeType="1"/>
          </p:cNvSpPr>
          <p:nvPr/>
        </p:nvSpPr>
        <p:spPr bwMode="auto">
          <a:xfrm>
            <a:off x="4890010" y="5236046"/>
            <a:ext cx="0" cy="0"/>
          </a:xfrm>
          <a:prstGeom prst="line">
            <a:avLst/>
          </a:prstGeom>
          <a:solidFill>
            <a:schemeClr val="bg2">
              <a:lumMod val="85000"/>
            </a:schemeClr>
          </a:solidFill>
          <a:ln w="0" cap="rnd">
            <a:solidFill>
              <a:srgbClr val="6E6E6E"/>
            </a:solidFill>
            <a:round/>
            <a:headEnd/>
            <a:tailEnd/>
          </a:ln>
        </p:spPr>
      </p:sp>
      <p:sp>
        <p:nvSpPr>
          <p:cNvPr id="77" name="Камчатский край"/>
          <p:cNvSpPr>
            <a:spLocks/>
          </p:cNvSpPr>
          <p:nvPr/>
        </p:nvSpPr>
        <p:spPr bwMode="auto">
          <a:xfrm>
            <a:off x="7552200" y="1435251"/>
            <a:ext cx="1052248" cy="1361870"/>
          </a:xfrm>
          <a:custGeom>
            <a:avLst/>
            <a:gdLst/>
            <a:ahLst/>
            <a:cxnLst>
              <a:cxn ang="0">
                <a:pos x="1737" y="3774"/>
              </a:cxn>
              <a:cxn ang="0">
                <a:pos x="1565" y="3491"/>
              </a:cxn>
              <a:cxn ang="0">
                <a:pos x="1421" y="2670"/>
              </a:cxn>
              <a:cxn ang="0">
                <a:pos x="1248" y="2009"/>
              </a:cxn>
              <a:cxn ang="0">
                <a:pos x="933" y="1542"/>
              </a:cxn>
              <a:cxn ang="0">
                <a:pos x="936" y="1433"/>
              </a:cxn>
              <a:cxn ang="0">
                <a:pos x="802" y="1294"/>
              </a:cxn>
              <a:cxn ang="0">
                <a:pos x="663" y="1603"/>
              </a:cxn>
              <a:cxn ang="0">
                <a:pos x="880" y="1838"/>
              </a:cxn>
              <a:cxn ang="0">
                <a:pos x="744" y="1760"/>
              </a:cxn>
              <a:cxn ang="0">
                <a:pos x="400" y="1529"/>
              </a:cxn>
              <a:cxn ang="0">
                <a:pos x="176" y="1321"/>
              </a:cxn>
              <a:cxn ang="0">
                <a:pos x="0" y="1166"/>
              </a:cxn>
              <a:cxn ang="0">
                <a:pos x="328" y="744"/>
              </a:cxn>
              <a:cxn ang="0">
                <a:pos x="509" y="606"/>
              </a:cxn>
              <a:cxn ang="0">
                <a:pos x="871" y="624"/>
              </a:cxn>
              <a:cxn ang="0">
                <a:pos x="1053" y="689"/>
              </a:cxn>
              <a:cxn ang="0">
                <a:pos x="1365" y="616"/>
              </a:cxn>
              <a:cxn ang="0">
                <a:pos x="1424" y="358"/>
              </a:cxn>
              <a:cxn ang="0">
                <a:pos x="1504" y="53"/>
              </a:cxn>
              <a:cxn ang="0">
                <a:pos x="1597" y="0"/>
              </a:cxn>
              <a:cxn ang="0">
                <a:pos x="1831" y="400"/>
              </a:cxn>
              <a:cxn ang="0">
                <a:pos x="2032" y="942"/>
              </a:cxn>
              <a:cxn ang="0">
                <a:pos x="1733" y="1057"/>
              </a:cxn>
              <a:cxn ang="0">
                <a:pos x="1704" y="1493"/>
              </a:cxn>
              <a:cxn ang="0">
                <a:pos x="1576" y="1677"/>
              </a:cxn>
              <a:cxn ang="0">
                <a:pos x="1568" y="1920"/>
              </a:cxn>
              <a:cxn ang="0">
                <a:pos x="1932" y="2667"/>
              </a:cxn>
              <a:cxn ang="0">
                <a:pos x="2067" y="2622"/>
              </a:cxn>
              <a:cxn ang="0">
                <a:pos x="2162" y="2517"/>
              </a:cxn>
              <a:cxn ang="0">
                <a:pos x="2327" y="2679"/>
              </a:cxn>
              <a:cxn ang="0">
                <a:pos x="2620" y="3005"/>
              </a:cxn>
              <a:cxn ang="0">
                <a:pos x="2975" y="3270"/>
              </a:cxn>
              <a:cxn ang="0">
                <a:pos x="2904" y="3761"/>
              </a:cxn>
              <a:cxn ang="0">
                <a:pos x="3213" y="4355"/>
              </a:cxn>
              <a:cxn ang="0">
                <a:pos x="3500" y="4966"/>
              </a:cxn>
              <a:cxn ang="0">
                <a:pos x="1931" y="4099"/>
              </a:cxn>
            </a:cxnLst>
            <a:rect l="0" t="0" r="r" b="b"/>
            <a:pathLst>
              <a:path w="3500" h="4966">
                <a:moveTo>
                  <a:pt x="1766" y="3915"/>
                </a:moveTo>
                <a:cubicBezTo>
                  <a:pt x="1709" y="3693"/>
                  <a:pt x="1769" y="3917"/>
                  <a:pt x="1737" y="3774"/>
                </a:cubicBezTo>
                <a:cubicBezTo>
                  <a:pt x="1703" y="3630"/>
                  <a:pt x="1709" y="3619"/>
                  <a:pt x="1639" y="3557"/>
                </a:cubicBezTo>
                <a:lnTo>
                  <a:pt x="1565" y="3491"/>
                </a:lnTo>
                <a:lnTo>
                  <a:pt x="1592" y="3376"/>
                </a:lnTo>
                <a:cubicBezTo>
                  <a:pt x="1626" y="3238"/>
                  <a:pt x="1639" y="3288"/>
                  <a:pt x="1421" y="2670"/>
                </a:cubicBezTo>
                <a:lnTo>
                  <a:pt x="1260" y="2214"/>
                </a:lnTo>
                <a:lnTo>
                  <a:pt x="1248" y="2009"/>
                </a:lnTo>
                <a:cubicBezTo>
                  <a:pt x="1234" y="1771"/>
                  <a:pt x="1228" y="1755"/>
                  <a:pt x="1077" y="1648"/>
                </a:cubicBezTo>
                <a:cubicBezTo>
                  <a:pt x="1020" y="1608"/>
                  <a:pt x="956" y="1560"/>
                  <a:pt x="933" y="1542"/>
                </a:cubicBezTo>
                <a:lnTo>
                  <a:pt x="896" y="1510"/>
                </a:lnTo>
                <a:lnTo>
                  <a:pt x="936" y="1433"/>
                </a:lnTo>
                <a:cubicBezTo>
                  <a:pt x="994" y="1326"/>
                  <a:pt x="981" y="1294"/>
                  <a:pt x="880" y="1294"/>
                </a:cubicBezTo>
                <a:lnTo>
                  <a:pt x="802" y="1294"/>
                </a:lnTo>
                <a:lnTo>
                  <a:pt x="728" y="1430"/>
                </a:lnTo>
                <a:cubicBezTo>
                  <a:pt x="676" y="1528"/>
                  <a:pt x="656" y="1577"/>
                  <a:pt x="663" y="1603"/>
                </a:cubicBezTo>
                <a:cubicBezTo>
                  <a:pt x="669" y="1622"/>
                  <a:pt x="720" y="1677"/>
                  <a:pt x="776" y="1723"/>
                </a:cubicBezTo>
                <a:cubicBezTo>
                  <a:pt x="840" y="1774"/>
                  <a:pt x="880" y="1821"/>
                  <a:pt x="880" y="1838"/>
                </a:cubicBezTo>
                <a:cubicBezTo>
                  <a:pt x="880" y="1856"/>
                  <a:pt x="876" y="1870"/>
                  <a:pt x="869" y="1870"/>
                </a:cubicBezTo>
                <a:cubicBezTo>
                  <a:pt x="863" y="1870"/>
                  <a:pt x="807" y="1821"/>
                  <a:pt x="744" y="1760"/>
                </a:cubicBezTo>
                <a:cubicBezTo>
                  <a:pt x="623" y="1641"/>
                  <a:pt x="559" y="1608"/>
                  <a:pt x="500" y="1635"/>
                </a:cubicBezTo>
                <a:cubicBezTo>
                  <a:pt x="455" y="1654"/>
                  <a:pt x="447" y="1646"/>
                  <a:pt x="400" y="1529"/>
                </a:cubicBezTo>
                <a:cubicBezTo>
                  <a:pt x="368" y="1445"/>
                  <a:pt x="360" y="1438"/>
                  <a:pt x="314" y="1438"/>
                </a:cubicBezTo>
                <a:cubicBezTo>
                  <a:pt x="247" y="1437"/>
                  <a:pt x="237" y="1429"/>
                  <a:pt x="176" y="1321"/>
                </a:cubicBezTo>
                <a:cubicBezTo>
                  <a:pt x="132" y="1240"/>
                  <a:pt x="119" y="1229"/>
                  <a:pt x="63" y="1219"/>
                </a:cubicBezTo>
                <a:cubicBezTo>
                  <a:pt x="8" y="1211"/>
                  <a:pt x="0" y="1205"/>
                  <a:pt x="0" y="1166"/>
                </a:cubicBezTo>
                <a:cubicBezTo>
                  <a:pt x="0" y="1113"/>
                  <a:pt x="52" y="1043"/>
                  <a:pt x="181" y="920"/>
                </a:cubicBezTo>
                <a:cubicBezTo>
                  <a:pt x="236" y="867"/>
                  <a:pt x="303" y="787"/>
                  <a:pt x="328" y="744"/>
                </a:cubicBezTo>
                <a:cubicBezTo>
                  <a:pt x="368" y="677"/>
                  <a:pt x="384" y="662"/>
                  <a:pt x="429" y="657"/>
                </a:cubicBezTo>
                <a:cubicBezTo>
                  <a:pt x="469" y="654"/>
                  <a:pt x="490" y="641"/>
                  <a:pt x="509" y="606"/>
                </a:cubicBezTo>
                <a:cubicBezTo>
                  <a:pt x="532" y="568"/>
                  <a:pt x="556" y="557"/>
                  <a:pt x="644" y="536"/>
                </a:cubicBezTo>
                <a:cubicBezTo>
                  <a:pt x="804" y="499"/>
                  <a:pt x="802" y="499"/>
                  <a:pt x="871" y="624"/>
                </a:cubicBezTo>
                <a:cubicBezTo>
                  <a:pt x="904" y="686"/>
                  <a:pt x="941" y="741"/>
                  <a:pt x="954" y="745"/>
                </a:cubicBezTo>
                <a:cubicBezTo>
                  <a:pt x="967" y="750"/>
                  <a:pt x="1012" y="725"/>
                  <a:pt x="1053" y="689"/>
                </a:cubicBezTo>
                <a:cubicBezTo>
                  <a:pt x="1127" y="629"/>
                  <a:pt x="1138" y="624"/>
                  <a:pt x="1248" y="621"/>
                </a:cubicBezTo>
                <a:lnTo>
                  <a:pt x="1365" y="616"/>
                </a:lnTo>
                <a:lnTo>
                  <a:pt x="1394" y="512"/>
                </a:lnTo>
                <a:cubicBezTo>
                  <a:pt x="1410" y="454"/>
                  <a:pt x="1424" y="385"/>
                  <a:pt x="1424" y="358"/>
                </a:cubicBezTo>
                <a:cubicBezTo>
                  <a:pt x="1424" y="331"/>
                  <a:pt x="1442" y="264"/>
                  <a:pt x="1464" y="208"/>
                </a:cubicBezTo>
                <a:cubicBezTo>
                  <a:pt x="1487" y="152"/>
                  <a:pt x="1504" y="81"/>
                  <a:pt x="1504" y="53"/>
                </a:cubicBezTo>
                <a:lnTo>
                  <a:pt x="1504" y="0"/>
                </a:lnTo>
                <a:lnTo>
                  <a:pt x="1597" y="0"/>
                </a:lnTo>
                <a:cubicBezTo>
                  <a:pt x="1647" y="0"/>
                  <a:pt x="1696" y="5"/>
                  <a:pt x="1706" y="11"/>
                </a:cubicBezTo>
                <a:cubicBezTo>
                  <a:pt x="1716" y="17"/>
                  <a:pt x="1772" y="192"/>
                  <a:pt x="1831" y="400"/>
                </a:cubicBezTo>
                <a:cubicBezTo>
                  <a:pt x="1901" y="649"/>
                  <a:pt x="1952" y="801"/>
                  <a:pt x="1984" y="853"/>
                </a:cubicBezTo>
                <a:cubicBezTo>
                  <a:pt x="2012" y="894"/>
                  <a:pt x="2032" y="936"/>
                  <a:pt x="2032" y="942"/>
                </a:cubicBezTo>
                <a:cubicBezTo>
                  <a:pt x="2032" y="949"/>
                  <a:pt x="1968" y="974"/>
                  <a:pt x="1890" y="997"/>
                </a:cubicBezTo>
                <a:cubicBezTo>
                  <a:pt x="1812" y="1019"/>
                  <a:pt x="1741" y="1048"/>
                  <a:pt x="1733" y="1057"/>
                </a:cubicBezTo>
                <a:cubicBezTo>
                  <a:pt x="1724" y="1069"/>
                  <a:pt x="1709" y="1158"/>
                  <a:pt x="1700" y="1257"/>
                </a:cubicBezTo>
                <a:cubicBezTo>
                  <a:pt x="1685" y="1408"/>
                  <a:pt x="1685" y="1445"/>
                  <a:pt x="1704" y="1493"/>
                </a:cubicBezTo>
                <a:cubicBezTo>
                  <a:pt x="1741" y="1581"/>
                  <a:pt x="1735" y="1587"/>
                  <a:pt x="1655" y="1544"/>
                </a:cubicBezTo>
                <a:cubicBezTo>
                  <a:pt x="1514" y="1465"/>
                  <a:pt x="1498" y="1493"/>
                  <a:pt x="1576" y="1677"/>
                </a:cubicBezTo>
                <a:cubicBezTo>
                  <a:pt x="1607" y="1749"/>
                  <a:pt x="1632" y="1816"/>
                  <a:pt x="1632" y="1824"/>
                </a:cubicBezTo>
                <a:cubicBezTo>
                  <a:pt x="1632" y="1832"/>
                  <a:pt x="1604" y="1875"/>
                  <a:pt x="1568" y="1920"/>
                </a:cubicBezTo>
                <a:cubicBezTo>
                  <a:pt x="1533" y="1965"/>
                  <a:pt x="1504" y="2006"/>
                  <a:pt x="1504" y="2013"/>
                </a:cubicBezTo>
                <a:cubicBezTo>
                  <a:pt x="1504" y="2049"/>
                  <a:pt x="1895" y="2648"/>
                  <a:pt x="1932" y="2667"/>
                </a:cubicBezTo>
                <a:cubicBezTo>
                  <a:pt x="1948" y="2675"/>
                  <a:pt x="1997" y="2677"/>
                  <a:pt x="2040" y="2672"/>
                </a:cubicBezTo>
                <a:lnTo>
                  <a:pt x="2067" y="2622"/>
                </a:lnTo>
                <a:lnTo>
                  <a:pt x="2078" y="2552"/>
                </a:lnTo>
                <a:cubicBezTo>
                  <a:pt x="2114" y="2512"/>
                  <a:pt x="2136" y="2525"/>
                  <a:pt x="2162" y="2517"/>
                </a:cubicBezTo>
                <a:cubicBezTo>
                  <a:pt x="2195" y="2507"/>
                  <a:pt x="2216" y="2545"/>
                  <a:pt x="2242" y="2592"/>
                </a:cubicBezTo>
                <a:cubicBezTo>
                  <a:pt x="2252" y="2611"/>
                  <a:pt x="2299" y="2635"/>
                  <a:pt x="2327" y="2679"/>
                </a:cubicBezTo>
                <a:cubicBezTo>
                  <a:pt x="2430" y="2749"/>
                  <a:pt x="2561" y="2722"/>
                  <a:pt x="2658" y="2769"/>
                </a:cubicBezTo>
                <a:cubicBezTo>
                  <a:pt x="2621" y="2914"/>
                  <a:pt x="2632" y="3076"/>
                  <a:pt x="2620" y="3005"/>
                </a:cubicBezTo>
                <a:cubicBezTo>
                  <a:pt x="2597" y="2865"/>
                  <a:pt x="2662" y="3083"/>
                  <a:pt x="2719" y="3187"/>
                </a:cubicBezTo>
                <a:lnTo>
                  <a:pt x="2975" y="3270"/>
                </a:lnTo>
                <a:lnTo>
                  <a:pt x="2991" y="3375"/>
                </a:lnTo>
                <a:cubicBezTo>
                  <a:pt x="2868" y="3480"/>
                  <a:pt x="2915" y="3779"/>
                  <a:pt x="2904" y="3761"/>
                </a:cubicBezTo>
                <a:cubicBezTo>
                  <a:pt x="2844" y="3661"/>
                  <a:pt x="2900" y="3763"/>
                  <a:pt x="3152" y="3925"/>
                </a:cubicBezTo>
                <a:cubicBezTo>
                  <a:pt x="3216" y="3968"/>
                  <a:pt x="3133" y="4250"/>
                  <a:pt x="3213" y="4355"/>
                </a:cubicBezTo>
                <a:cubicBezTo>
                  <a:pt x="3346" y="4484"/>
                  <a:pt x="3358" y="4499"/>
                  <a:pt x="3420" y="4622"/>
                </a:cubicBezTo>
                <a:lnTo>
                  <a:pt x="3500" y="4966"/>
                </a:lnTo>
                <a:lnTo>
                  <a:pt x="2096" y="4278"/>
                </a:lnTo>
                <a:cubicBezTo>
                  <a:pt x="2016" y="4203"/>
                  <a:pt x="1936" y="4098"/>
                  <a:pt x="1931" y="4099"/>
                </a:cubicBezTo>
                <a:cubicBezTo>
                  <a:pt x="1927" y="4101"/>
                  <a:pt x="1815" y="3969"/>
                  <a:pt x="1766" y="3915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78" name="Алтайский край"/>
          <p:cNvSpPr>
            <a:spLocks/>
          </p:cNvSpPr>
          <p:nvPr/>
        </p:nvSpPr>
        <p:spPr bwMode="auto">
          <a:xfrm>
            <a:off x="3843093" y="4280819"/>
            <a:ext cx="582478" cy="378539"/>
          </a:xfrm>
          <a:custGeom>
            <a:avLst/>
            <a:gdLst/>
            <a:ahLst/>
            <a:cxnLst>
              <a:cxn ang="0">
                <a:pos x="710" y="0"/>
              </a:cxn>
              <a:cxn ang="0">
                <a:pos x="546" y="69"/>
              </a:cxn>
              <a:cxn ang="0">
                <a:pos x="202" y="165"/>
              </a:cxn>
              <a:cxn ang="0">
                <a:pos x="0" y="211"/>
              </a:cxn>
              <a:cxn ang="0">
                <a:pos x="232" y="811"/>
              </a:cxn>
              <a:cxn ang="0">
                <a:pos x="357" y="1134"/>
              </a:cxn>
              <a:cxn ang="0">
                <a:pos x="429" y="1053"/>
              </a:cxn>
              <a:cxn ang="0">
                <a:pos x="606" y="1155"/>
              </a:cxn>
              <a:cxn ang="0">
                <a:pos x="632" y="1246"/>
              </a:cxn>
              <a:cxn ang="0">
                <a:pos x="714" y="1248"/>
              </a:cxn>
              <a:cxn ang="0">
                <a:pos x="976" y="1246"/>
              </a:cxn>
              <a:cxn ang="0">
                <a:pos x="1154" y="1243"/>
              </a:cxn>
              <a:cxn ang="0">
                <a:pos x="1205" y="1315"/>
              </a:cxn>
              <a:cxn ang="0">
                <a:pos x="1296" y="1379"/>
              </a:cxn>
              <a:cxn ang="0">
                <a:pos x="1354" y="1339"/>
              </a:cxn>
              <a:cxn ang="0">
                <a:pos x="1270" y="1243"/>
              </a:cxn>
              <a:cxn ang="0">
                <a:pos x="1238" y="1190"/>
              </a:cxn>
              <a:cxn ang="0">
                <a:pos x="1274" y="1166"/>
              </a:cxn>
              <a:cxn ang="0">
                <a:pos x="1426" y="1125"/>
              </a:cxn>
              <a:cxn ang="0">
                <a:pos x="1632" y="981"/>
              </a:cxn>
              <a:cxn ang="0">
                <a:pos x="1706" y="877"/>
              </a:cxn>
              <a:cxn ang="0">
                <a:pos x="1792" y="885"/>
              </a:cxn>
              <a:cxn ang="0">
                <a:pos x="1886" y="853"/>
              </a:cxn>
              <a:cxn ang="0">
                <a:pos x="1920" y="741"/>
              </a:cxn>
              <a:cxn ang="0">
                <a:pos x="1933" y="541"/>
              </a:cxn>
              <a:cxn ang="0">
                <a:pos x="1922" y="406"/>
              </a:cxn>
              <a:cxn ang="0">
                <a:pos x="1768" y="227"/>
              </a:cxn>
              <a:cxn ang="0">
                <a:pos x="1597" y="46"/>
              </a:cxn>
              <a:cxn ang="0">
                <a:pos x="1558" y="70"/>
              </a:cxn>
              <a:cxn ang="0">
                <a:pos x="1334" y="142"/>
              </a:cxn>
              <a:cxn ang="0">
                <a:pos x="1186" y="158"/>
              </a:cxn>
              <a:cxn ang="0">
                <a:pos x="1106" y="246"/>
              </a:cxn>
              <a:cxn ang="0">
                <a:pos x="1006" y="333"/>
              </a:cxn>
              <a:cxn ang="0">
                <a:pos x="850" y="165"/>
              </a:cxn>
              <a:cxn ang="0">
                <a:pos x="710" y="0"/>
              </a:cxn>
            </a:cxnLst>
            <a:rect l="0" t="0" r="r" b="b"/>
            <a:pathLst>
              <a:path w="1941" h="1385">
                <a:moveTo>
                  <a:pt x="710" y="0"/>
                </a:moveTo>
                <a:lnTo>
                  <a:pt x="546" y="69"/>
                </a:lnTo>
                <a:cubicBezTo>
                  <a:pt x="427" y="117"/>
                  <a:pt x="330" y="145"/>
                  <a:pt x="202" y="165"/>
                </a:cubicBezTo>
                <a:lnTo>
                  <a:pt x="0" y="211"/>
                </a:lnTo>
                <a:cubicBezTo>
                  <a:pt x="48" y="288"/>
                  <a:pt x="83" y="393"/>
                  <a:pt x="232" y="811"/>
                </a:cubicBezTo>
                <a:cubicBezTo>
                  <a:pt x="296" y="990"/>
                  <a:pt x="352" y="1134"/>
                  <a:pt x="357" y="1134"/>
                </a:cubicBezTo>
                <a:cubicBezTo>
                  <a:pt x="363" y="1134"/>
                  <a:pt x="395" y="1097"/>
                  <a:pt x="429" y="1053"/>
                </a:cubicBezTo>
                <a:cubicBezTo>
                  <a:pt x="517" y="934"/>
                  <a:pt x="549" y="953"/>
                  <a:pt x="606" y="1155"/>
                </a:cubicBezTo>
                <a:lnTo>
                  <a:pt x="632" y="1246"/>
                </a:lnTo>
                <a:lnTo>
                  <a:pt x="714" y="1248"/>
                </a:lnTo>
                <a:cubicBezTo>
                  <a:pt x="760" y="1249"/>
                  <a:pt x="878" y="1249"/>
                  <a:pt x="976" y="1246"/>
                </a:cubicBezTo>
                <a:lnTo>
                  <a:pt x="1154" y="1243"/>
                </a:lnTo>
                <a:lnTo>
                  <a:pt x="1205" y="1315"/>
                </a:lnTo>
                <a:cubicBezTo>
                  <a:pt x="1248" y="1374"/>
                  <a:pt x="1264" y="1385"/>
                  <a:pt x="1296" y="1379"/>
                </a:cubicBezTo>
                <a:cubicBezTo>
                  <a:pt x="1318" y="1374"/>
                  <a:pt x="1342" y="1357"/>
                  <a:pt x="1354" y="1339"/>
                </a:cubicBezTo>
                <a:cubicBezTo>
                  <a:pt x="1373" y="1302"/>
                  <a:pt x="1366" y="1297"/>
                  <a:pt x="1270" y="1243"/>
                </a:cubicBezTo>
                <a:cubicBezTo>
                  <a:pt x="1227" y="1219"/>
                  <a:pt x="1222" y="1209"/>
                  <a:pt x="1238" y="1190"/>
                </a:cubicBezTo>
                <a:cubicBezTo>
                  <a:pt x="1250" y="1176"/>
                  <a:pt x="1264" y="1166"/>
                  <a:pt x="1274" y="1166"/>
                </a:cubicBezTo>
                <a:cubicBezTo>
                  <a:pt x="1283" y="1166"/>
                  <a:pt x="1350" y="1147"/>
                  <a:pt x="1426" y="1125"/>
                </a:cubicBezTo>
                <a:cubicBezTo>
                  <a:pt x="1555" y="1085"/>
                  <a:pt x="1558" y="1083"/>
                  <a:pt x="1632" y="981"/>
                </a:cubicBezTo>
                <a:lnTo>
                  <a:pt x="1706" y="877"/>
                </a:lnTo>
                <a:lnTo>
                  <a:pt x="1792" y="885"/>
                </a:lnTo>
                <a:cubicBezTo>
                  <a:pt x="1875" y="896"/>
                  <a:pt x="1877" y="897"/>
                  <a:pt x="1886" y="853"/>
                </a:cubicBezTo>
                <a:cubicBezTo>
                  <a:pt x="1893" y="827"/>
                  <a:pt x="1907" y="777"/>
                  <a:pt x="1920" y="741"/>
                </a:cubicBezTo>
                <a:cubicBezTo>
                  <a:pt x="1938" y="693"/>
                  <a:pt x="1941" y="641"/>
                  <a:pt x="1933" y="541"/>
                </a:cubicBezTo>
                <a:lnTo>
                  <a:pt x="1922" y="406"/>
                </a:lnTo>
                <a:lnTo>
                  <a:pt x="1768" y="227"/>
                </a:lnTo>
                <a:cubicBezTo>
                  <a:pt x="1683" y="128"/>
                  <a:pt x="1606" y="46"/>
                  <a:pt x="1597" y="46"/>
                </a:cubicBezTo>
                <a:cubicBezTo>
                  <a:pt x="1587" y="46"/>
                  <a:pt x="1570" y="57"/>
                  <a:pt x="1558" y="70"/>
                </a:cubicBezTo>
                <a:cubicBezTo>
                  <a:pt x="1523" y="113"/>
                  <a:pt x="1486" y="125"/>
                  <a:pt x="1334" y="142"/>
                </a:cubicBezTo>
                <a:lnTo>
                  <a:pt x="1186" y="158"/>
                </a:lnTo>
                <a:lnTo>
                  <a:pt x="1106" y="246"/>
                </a:lnTo>
                <a:cubicBezTo>
                  <a:pt x="1061" y="296"/>
                  <a:pt x="1016" y="334"/>
                  <a:pt x="1006" y="333"/>
                </a:cubicBezTo>
                <a:cubicBezTo>
                  <a:pt x="997" y="329"/>
                  <a:pt x="923" y="254"/>
                  <a:pt x="850" y="165"/>
                </a:cubicBezTo>
                <a:lnTo>
                  <a:pt x="710" y="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88" name="Амурская область"/>
          <p:cNvSpPr>
            <a:spLocks/>
          </p:cNvSpPr>
          <p:nvPr/>
        </p:nvSpPr>
        <p:spPr bwMode="auto">
          <a:xfrm>
            <a:off x="6401526" y="3488933"/>
            <a:ext cx="1042727" cy="639600"/>
          </a:xfrm>
          <a:custGeom>
            <a:avLst/>
            <a:gdLst/>
            <a:ahLst/>
            <a:cxnLst>
              <a:cxn ang="0">
                <a:pos x="2120" y="1889"/>
              </a:cxn>
              <a:cxn ang="0">
                <a:pos x="1525" y="1569"/>
              </a:cxn>
              <a:cxn ang="0">
                <a:pos x="980" y="1692"/>
              </a:cxn>
              <a:cxn ang="0">
                <a:pos x="696" y="1595"/>
              </a:cxn>
              <a:cxn ang="0">
                <a:pos x="708" y="1420"/>
              </a:cxn>
              <a:cxn ang="0">
                <a:pos x="546" y="1081"/>
              </a:cxn>
              <a:cxn ang="0">
                <a:pos x="432" y="1161"/>
              </a:cxn>
              <a:cxn ang="0">
                <a:pos x="301" y="1017"/>
              </a:cxn>
              <a:cxn ang="0">
                <a:pos x="156" y="1011"/>
              </a:cxn>
              <a:cxn ang="0">
                <a:pos x="0" y="852"/>
              </a:cxn>
              <a:cxn ang="0">
                <a:pos x="229" y="739"/>
              </a:cxn>
              <a:cxn ang="0">
                <a:pos x="765" y="675"/>
              </a:cxn>
              <a:cxn ang="0">
                <a:pos x="1082" y="736"/>
              </a:cxn>
              <a:cxn ang="0">
                <a:pos x="1458" y="622"/>
              </a:cxn>
              <a:cxn ang="0">
                <a:pos x="1831" y="433"/>
              </a:cxn>
              <a:cxn ang="0">
                <a:pos x="2170" y="153"/>
              </a:cxn>
              <a:cxn ang="0">
                <a:pos x="2436" y="267"/>
              </a:cxn>
              <a:cxn ang="0">
                <a:pos x="2477" y="745"/>
              </a:cxn>
              <a:cxn ang="0">
                <a:pos x="2655" y="777"/>
              </a:cxn>
              <a:cxn ang="0">
                <a:pos x="2876" y="729"/>
              </a:cxn>
              <a:cxn ang="0">
                <a:pos x="3063" y="505"/>
              </a:cxn>
              <a:cxn ang="0">
                <a:pos x="3247" y="340"/>
              </a:cxn>
              <a:cxn ang="0">
                <a:pos x="3370" y="611"/>
              </a:cxn>
              <a:cxn ang="0">
                <a:pos x="3264" y="713"/>
              </a:cxn>
              <a:cxn ang="0">
                <a:pos x="3186" y="851"/>
              </a:cxn>
              <a:cxn ang="0">
                <a:pos x="3196" y="937"/>
              </a:cxn>
              <a:cxn ang="0">
                <a:pos x="3085" y="1203"/>
              </a:cxn>
              <a:cxn ang="0">
                <a:pos x="3093" y="1716"/>
              </a:cxn>
              <a:cxn ang="0">
                <a:pos x="3389" y="1870"/>
              </a:cxn>
              <a:cxn ang="0">
                <a:pos x="3439" y="2123"/>
              </a:cxn>
              <a:cxn ang="0">
                <a:pos x="3194" y="2248"/>
              </a:cxn>
              <a:cxn ang="0">
                <a:pos x="2652" y="2361"/>
              </a:cxn>
            </a:cxnLst>
            <a:rect l="0" t="0" r="r" b="b"/>
            <a:pathLst>
              <a:path w="3472" h="2361">
                <a:moveTo>
                  <a:pt x="2476" y="2214"/>
                </a:moveTo>
                <a:cubicBezTo>
                  <a:pt x="2386" y="2132"/>
                  <a:pt x="2226" y="1987"/>
                  <a:pt x="2120" y="1889"/>
                </a:cubicBezTo>
                <a:cubicBezTo>
                  <a:pt x="1759" y="1556"/>
                  <a:pt x="1772" y="1564"/>
                  <a:pt x="1664" y="1553"/>
                </a:cubicBezTo>
                <a:cubicBezTo>
                  <a:pt x="1586" y="1544"/>
                  <a:pt x="1560" y="1547"/>
                  <a:pt x="1525" y="1569"/>
                </a:cubicBezTo>
                <a:cubicBezTo>
                  <a:pt x="1490" y="1593"/>
                  <a:pt x="1461" y="1595"/>
                  <a:pt x="1335" y="1585"/>
                </a:cubicBezTo>
                <a:cubicBezTo>
                  <a:pt x="1173" y="1574"/>
                  <a:pt x="1136" y="1585"/>
                  <a:pt x="980" y="1692"/>
                </a:cubicBezTo>
                <a:cubicBezTo>
                  <a:pt x="896" y="1750"/>
                  <a:pt x="868" y="1745"/>
                  <a:pt x="768" y="1657"/>
                </a:cubicBezTo>
                <a:lnTo>
                  <a:pt x="696" y="1595"/>
                </a:lnTo>
                <a:lnTo>
                  <a:pt x="725" y="1547"/>
                </a:lnTo>
                <a:cubicBezTo>
                  <a:pt x="764" y="1483"/>
                  <a:pt x="760" y="1460"/>
                  <a:pt x="708" y="1420"/>
                </a:cubicBezTo>
                <a:cubicBezTo>
                  <a:pt x="674" y="1396"/>
                  <a:pt x="655" y="1360"/>
                  <a:pt x="634" y="1286"/>
                </a:cubicBezTo>
                <a:cubicBezTo>
                  <a:pt x="583" y="1100"/>
                  <a:pt x="575" y="1081"/>
                  <a:pt x="546" y="1081"/>
                </a:cubicBezTo>
                <a:cubicBezTo>
                  <a:pt x="530" y="1081"/>
                  <a:pt x="501" y="1099"/>
                  <a:pt x="480" y="1121"/>
                </a:cubicBezTo>
                <a:cubicBezTo>
                  <a:pt x="460" y="1142"/>
                  <a:pt x="439" y="1161"/>
                  <a:pt x="432" y="1161"/>
                </a:cubicBezTo>
                <a:cubicBezTo>
                  <a:pt x="428" y="1161"/>
                  <a:pt x="400" y="1128"/>
                  <a:pt x="372" y="1089"/>
                </a:cubicBezTo>
                <a:cubicBezTo>
                  <a:pt x="344" y="1049"/>
                  <a:pt x="312" y="1017"/>
                  <a:pt x="301" y="1017"/>
                </a:cubicBezTo>
                <a:cubicBezTo>
                  <a:pt x="292" y="1017"/>
                  <a:pt x="263" y="1036"/>
                  <a:pt x="237" y="1059"/>
                </a:cubicBezTo>
                <a:cubicBezTo>
                  <a:pt x="181" y="1113"/>
                  <a:pt x="143" y="1091"/>
                  <a:pt x="156" y="1011"/>
                </a:cubicBezTo>
                <a:cubicBezTo>
                  <a:pt x="164" y="963"/>
                  <a:pt x="159" y="956"/>
                  <a:pt x="82" y="915"/>
                </a:cubicBezTo>
                <a:cubicBezTo>
                  <a:pt x="37" y="891"/>
                  <a:pt x="0" y="862"/>
                  <a:pt x="0" y="852"/>
                </a:cubicBezTo>
                <a:cubicBezTo>
                  <a:pt x="0" y="841"/>
                  <a:pt x="37" y="808"/>
                  <a:pt x="82" y="777"/>
                </a:cubicBezTo>
                <a:cubicBezTo>
                  <a:pt x="159" y="726"/>
                  <a:pt x="167" y="724"/>
                  <a:pt x="229" y="739"/>
                </a:cubicBezTo>
                <a:cubicBezTo>
                  <a:pt x="333" y="766"/>
                  <a:pt x="538" y="752"/>
                  <a:pt x="658" y="710"/>
                </a:cubicBezTo>
                <a:lnTo>
                  <a:pt x="765" y="675"/>
                </a:lnTo>
                <a:lnTo>
                  <a:pt x="844" y="726"/>
                </a:lnTo>
                <a:cubicBezTo>
                  <a:pt x="940" y="787"/>
                  <a:pt x="962" y="788"/>
                  <a:pt x="1082" y="736"/>
                </a:cubicBezTo>
                <a:cubicBezTo>
                  <a:pt x="1156" y="702"/>
                  <a:pt x="1192" y="696"/>
                  <a:pt x="1250" y="702"/>
                </a:cubicBezTo>
                <a:cubicBezTo>
                  <a:pt x="1320" y="710"/>
                  <a:pt x="1333" y="705"/>
                  <a:pt x="1458" y="622"/>
                </a:cubicBezTo>
                <a:cubicBezTo>
                  <a:pt x="1540" y="568"/>
                  <a:pt x="1637" y="518"/>
                  <a:pt x="1703" y="499"/>
                </a:cubicBezTo>
                <a:cubicBezTo>
                  <a:pt x="1773" y="476"/>
                  <a:pt x="1820" y="452"/>
                  <a:pt x="1831" y="433"/>
                </a:cubicBezTo>
                <a:cubicBezTo>
                  <a:pt x="1893" y="318"/>
                  <a:pt x="1927" y="281"/>
                  <a:pt x="1980" y="272"/>
                </a:cubicBezTo>
                <a:cubicBezTo>
                  <a:pt x="2013" y="265"/>
                  <a:pt x="2088" y="217"/>
                  <a:pt x="2170" y="153"/>
                </a:cubicBezTo>
                <a:cubicBezTo>
                  <a:pt x="2348" y="12"/>
                  <a:pt x="2375" y="0"/>
                  <a:pt x="2429" y="19"/>
                </a:cubicBezTo>
                <a:cubicBezTo>
                  <a:pt x="2492" y="40"/>
                  <a:pt x="2495" y="118"/>
                  <a:pt x="2436" y="267"/>
                </a:cubicBezTo>
                <a:cubicBezTo>
                  <a:pt x="2392" y="377"/>
                  <a:pt x="2336" y="638"/>
                  <a:pt x="2336" y="734"/>
                </a:cubicBezTo>
                <a:cubicBezTo>
                  <a:pt x="2336" y="785"/>
                  <a:pt x="2346" y="785"/>
                  <a:pt x="2477" y="745"/>
                </a:cubicBezTo>
                <a:cubicBezTo>
                  <a:pt x="2533" y="728"/>
                  <a:pt x="2588" y="713"/>
                  <a:pt x="2599" y="713"/>
                </a:cubicBezTo>
                <a:cubicBezTo>
                  <a:pt x="2610" y="713"/>
                  <a:pt x="2636" y="742"/>
                  <a:pt x="2655" y="777"/>
                </a:cubicBezTo>
                <a:cubicBezTo>
                  <a:pt x="2674" y="812"/>
                  <a:pt x="2698" y="841"/>
                  <a:pt x="2708" y="841"/>
                </a:cubicBezTo>
                <a:cubicBezTo>
                  <a:pt x="2717" y="841"/>
                  <a:pt x="2792" y="790"/>
                  <a:pt x="2876" y="729"/>
                </a:cubicBezTo>
                <a:cubicBezTo>
                  <a:pt x="3013" y="624"/>
                  <a:pt x="3024" y="612"/>
                  <a:pt x="3024" y="561"/>
                </a:cubicBezTo>
                <a:cubicBezTo>
                  <a:pt x="3024" y="512"/>
                  <a:pt x="3029" y="505"/>
                  <a:pt x="3063" y="505"/>
                </a:cubicBezTo>
                <a:cubicBezTo>
                  <a:pt x="3090" y="505"/>
                  <a:pt x="3125" y="480"/>
                  <a:pt x="3175" y="422"/>
                </a:cubicBezTo>
                <a:lnTo>
                  <a:pt x="3247" y="340"/>
                </a:lnTo>
                <a:lnTo>
                  <a:pt x="3296" y="451"/>
                </a:lnTo>
                <a:cubicBezTo>
                  <a:pt x="3325" y="512"/>
                  <a:pt x="3357" y="584"/>
                  <a:pt x="3370" y="611"/>
                </a:cubicBezTo>
                <a:lnTo>
                  <a:pt x="3391" y="662"/>
                </a:lnTo>
                <a:lnTo>
                  <a:pt x="3264" y="713"/>
                </a:lnTo>
                <a:cubicBezTo>
                  <a:pt x="3194" y="740"/>
                  <a:pt x="3136" y="772"/>
                  <a:pt x="3136" y="782"/>
                </a:cubicBezTo>
                <a:cubicBezTo>
                  <a:pt x="3136" y="792"/>
                  <a:pt x="3159" y="822"/>
                  <a:pt x="3186" y="851"/>
                </a:cubicBezTo>
                <a:lnTo>
                  <a:pt x="3236" y="902"/>
                </a:lnTo>
                <a:lnTo>
                  <a:pt x="3196" y="937"/>
                </a:lnTo>
                <a:cubicBezTo>
                  <a:pt x="3170" y="960"/>
                  <a:pt x="3151" y="998"/>
                  <a:pt x="3144" y="1038"/>
                </a:cubicBezTo>
                <a:cubicBezTo>
                  <a:pt x="3138" y="1075"/>
                  <a:pt x="3111" y="1148"/>
                  <a:pt x="3085" y="1203"/>
                </a:cubicBezTo>
                <a:cubicBezTo>
                  <a:pt x="3040" y="1297"/>
                  <a:pt x="3037" y="1312"/>
                  <a:pt x="3044" y="1475"/>
                </a:cubicBezTo>
                <a:cubicBezTo>
                  <a:pt x="3048" y="1633"/>
                  <a:pt x="3053" y="1656"/>
                  <a:pt x="3093" y="1716"/>
                </a:cubicBezTo>
                <a:cubicBezTo>
                  <a:pt x="3135" y="1782"/>
                  <a:pt x="3140" y="1785"/>
                  <a:pt x="3221" y="1785"/>
                </a:cubicBezTo>
                <a:cubicBezTo>
                  <a:pt x="3301" y="1785"/>
                  <a:pt x="3309" y="1788"/>
                  <a:pt x="3389" y="1870"/>
                </a:cubicBezTo>
                <a:cubicBezTo>
                  <a:pt x="3436" y="1916"/>
                  <a:pt x="3472" y="1964"/>
                  <a:pt x="3472" y="1976"/>
                </a:cubicBezTo>
                <a:cubicBezTo>
                  <a:pt x="3472" y="1988"/>
                  <a:pt x="3458" y="2054"/>
                  <a:pt x="3439" y="2123"/>
                </a:cubicBezTo>
                <a:cubicBezTo>
                  <a:pt x="3413" y="2217"/>
                  <a:pt x="3397" y="2251"/>
                  <a:pt x="3373" y="2257"/>
                </a:cubicBezTo>
                <a:cubicBezTo>
                  <a:pt x="3356" y="2264"/>
                  <a:pt x="3274" y="2259"/>
                  <a:pt x="3194" y="2248"/>
                </a:cubicBezTo>
                <a:cubicBezTo>
                  <a:pt x="3056" y="2230"/>
                  <a:pt x="3044" y="2230"/>
                  <a:pt x="2968" y="2262"/>
                </a:cubicBezTo>
                <a:cubicBezTo>
                  <a:pt x="2895" y="2294"/>
                  <a:pt x="2680" y="2361"/>
                  <a:pt x="2652" y="2361"/>
                </a:cubicBezTo>
                <a:cubicBezTo>
                  <a:pt x="2645" y="2361"/>
                  <a:pt x="2567" y="2294"/>
                  <a:pt x="2476" y="2214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90" name="Архангельская область"/>
          <p:cNvSpPr>
            <a:spLocks/>
          </p:cNvSpPr>
          <p:nvPr/>
        </p:nvSpPr>
        <p:spPr bwMode="auto">
          <a:xfrm>
            <a:off x="2105180" y="2405529"/>
            <a:ext cx="758629" cy="652653"/>
          </a:xfrm>
          <a:custGeom>
            <a:avLst/>
            <a:gdLst/>
            <a:ahLst/>
            <a:cxnLst>
              <a:cxn ang="0">
                <a:pos x="1403" y="2355"/>
              </a:cxn>
              <a:cxn ang="0">
                <a:pos x="1230" y="2281"/>
              </a:cxn>
              <a:cxn ang="0">
                <a:pos x="1168" y="2228"/>
              </a:cxn>
              <a:cxn ang="0">
                <a:pos x="1074" y="2083"/>
              </a:cxn>
              <a:cxn ang="0">
                <a:pos x="898" y="2033"/>
              </a:cxn>
              <a:cxn ang="0">
                <a:pos x="808" y="1900"/>
              </a:cxn>
              <a:cxn ang="0">
                <a:pos x="589" y="1868"/>
              </a:cxn>
              <a:cxn ang="0">
                <a:pos x="294" y="1657"/>
              </a:cxn>
              <a:cxn ang="0">
                <a:pos x="0" y="1352"/>
              </a:cxn>
              <a:cxn ang="0">
                <a:pos x="80" y="1113"/>
              </a:cxn>
              <a:cxn ang="0">
                <a:pos x="222" y="944"/>
              </a:cxn>
              <a:cxn ang="0">
                <a:pos x="296" y="692"/>
              </a:cxn>
              <a:cxn ang="0">
                <a:pos x="458" y="353"/>
              </a:cxn>
              <a:cxn ang="0">
                <a:pos x="659" y="481"/>
              </a:cxn>
              <a:cxn ang="0">
                <a:pos x="797" y="252"/>
              </a:cxn>
              <a:cxn ang="0">
                <a:pos x="910" y="174"/>
              </a:cxn>
              <a:cxn ang="0">
                <a:pos x="1027" y="414"/>
              </a:cxn>
              <a:cxn ang="0">
                <a:pos x="1576" y="195"/>
              </a:cxn>
              <a:cxn ang="0">
                <a:pos x="1984" y="460"/>
              </a:cxn>
              <a:cxn ang="0">
                <a:pos x="2258" y="864"/>
              </a:cxn>
              <a:cxn ang="0">
                <a:pos x="2486" y="868"/>
              </a:cxn>
              <a:cxn ang="0">
                <a:pos x="2389" y="1145"/>
              </a:cxn>
              <a:cxn ang="0">
                <a:pos x="2440" y="1404"/>
              </a:cxn>
              <a:cxn ang="0">
                <a:pos x="2206" y="1393"/>
              </a:cxn>
              <a:cxn ang="0">
                <a:pos x="1882" y="1185"/>
              </a:cxn>
              <a:cxn ang="0">
                <a:pos x="1648" y="1192"/>
              </a:cxn>
              <a:cxn ang="0">
                <a:pos x="1728" y="1467"/>
              </a:cxn>
              <a:cxn ang="0">
                <a:pos x="1630" y="1686"/>
              </a:cxn>
              <a:cxn ang="0">
                <a:pos x="1514" y="1939"/>
              </a:cxn>
              <a:cxn ang="0">
                <a:pos x="1710" y="1953"/>
              </a:cxn>
              <a:cxn ang="0">
                <a:pos x="1909" y="1926"/>
              </a:cxn>
              <a:cxn ang="0">
                <a:pos x="1670" y="2275"/>
              </a:cxn>
            </a:cxnLst>
            <a:rect l="0" t="0" r="r" b="b"/>
            <a:pathLst>
              <a:path w="2514" h="2406">
                <a:moveTo>
                  <a:pt x="1488" y="2369"/>
                </a:moveTo>
                <a:cubicBezTo>
                  <a:pt x="1466" y="2361"/>
                  <a:pt x="1427" y="2355"/>
                  <a:pt x="1403" y="2355"/>
                </a:cubicBezTo>
                <a:cubicBezTo>
                  <a:pt x="1374" y="2353"/>
                  <a:pt x="1344" y="2337"/>
                  <a:pt x="1325" y="2312"/>
                </a:cubicBezTo>
                <a:cubicBezTo>
                  <a:pt x="1296" y="2276"/>
                  <a:pt x="1285" y="2272"/>
                  <a:pt x="1230" y="2281"/>
                </a:cubicBezTo>
                <a:lnTo>
                  <a:pt x="1168" y="2291"/>
                </a:lnTo>
                <a:lnTo>
                  <a:pt x="1168" y="2228"/>
                </a:lnTo>
                <a:cubicBezTo>
                  <a:pt x="1168" y="2179"/>
                  <a:pt x="1162" y="2163"/>
                  <a:pt x="1138" y="2156"/>
                </a:cubicBezTo>
                <a:cubicBezTo>
                  <a:pt x="1120" y="2152"/>
                  <a:pt x="1091" y="2118"/>
                  <a:pt x="1074" y="2083"/>
                </a:cubicBezTo>
                <a:cubicBezTo>
                  <a:pt x="1040" y="2017"/>
                  <a:pt x="1008" y="2003"/>
                  <a:pt x="962" y="2032"/>
                </a:cubicBezTo>
                <a:cubicBezTo>
                  <a:pt x="950" y="2038"/>
                  <a:pt x="922" y="2040"/>
                  <a:pt x="898" y="2033"/>
                </a:cubicBezTo>
                <a:cubicBezTo>
                  <a:pt x="864" y="2025"/>
                  <a:pt x="854" y="2011"/>
                  <a:pt x="848" y="1960"/>
                </a:cubicBezTo>
                <a:cubicBezTo>
                  <a:pt x="842" y="1908"/>
                  <a:pt x="834" y="1897"/>
                  <a:pt x="808" y="1900"/>
                </a:cubicBezTo>
                <a:cubicBezTo>
                  <a:pt x="790" y="1904"/>
                  <a:pt x="744" y="1910"/>
                  <a:pt x="704" y="1915"/>
                </a:cubicBezTo>
                <a:cubicBezTo>
                  <a:pt x="635" y="1924"/>
                  <a:pt x="629" y="1921"/>
                  <a:pt x="589" y="1868"/>
                </a:cubicBezTo>
                <a:cubicBezTo>
                  <a:pt x="562" y="1833"/>
                  <a:pt x="502" y="1793"/>
                  <a:pt x="426" y="1756"/>
                </a:cubicBezTo>
                <a:cubicBezTo>
                  <a:pt x="333" y="1712"/>
                  <a:pt x="302" y="1689"/>
                  <a:pt x="294" y="1657"/>
                </a:cubicBezTo>
                <a:cubicBezTo>
                  <a:pt x="288" y="1633"/>
                  <a:pt x="270" y="1612"/>
                  <a:pt x="246" y="1608"/>
                </a:cubicBezTo>
                <a:cubicBezTo>
                  <a:pt x="202" y="1596"/>
                  <a:pt x="0" y="1387"/>
                  <a:pt x="0" y="1352"/>
                </a:cubicBezTo>
                <a:cubicBezTo>
                  <a:pt x="0" y="1339"/>
                  <a:pt x="18" y="1284"/>
                  <a:pt x="40" y="1233"/>
                </a:cubicBezTo>
                <a:cubicBezTo>
                  <a:pt x="62" y="1180"/>
                  <a:pt x="80" y="1128"/>
                  <a:pt x="80" y="1113"/>
                </a:cubicBezTo>
                <a:cubicBezTo>
                  <a:pt x="80" y="1100"/>
                  <a:pt x="109" y="1075"/>
                  <a:pt x="142" y="1057"/>
                </a:cubicBezTo>
                <a:cubicBezTo>
                  <a:pt x="198" y="1030"/>
                  <a:pt x="208" y="1016"/>
                  <a:pt x="222" y="944"/>
                </a:cubicBezTo>
                <a:cubicBezTo>
                  <a:pt x="232" y="897"/>
                  <a:pt x="258" y="840"/>
                  <a:pt x="280" y="814"/>
                </a:cubicBezTo>
                <a:cubicBezTo>
                  <a:pt x="317" y="769"/>
                  <a:pt x="318" y="766"/>
                  <a:pt x="296" y="692"/>
                </a:cubicBezTo>
                <a:cubicBezTo>
                  <a:pt x="256" y="561"/>
                  <a:pt x="264" y="520"/>
                  <a:pt x="350" y="404"/>
                </a:cubicBezTo>
                <a:cubicBezTo>
                  <a:pt x="384" y="361"/>
                  <a:pt x="400" y="353"/>
                  <a:pt x="458" y="353"/>
                </a:cubicBezTo>
                <a:cubicBezTo>
                  <a:pt x="510" y="353"/>
                  <a:pt x="526" y="360"/>
                  <a:pt x="533" y="384"/>
                </a:cubicBezTo>
                <a:cubicBezTo>
                  <a:pt x="539" y="412"/>
                  <a:pt x="630" y="481"/>
                  <a:pt x="659" y="481"/>
                </a:cubicBezTo>
                <a:cubicBezTo>
                  <a:pt x="677" y="481"/>
                  <a:pt x="784" y="384"/>
                  <a:pt x="802" y="352"/>
                </a:cubicBezTo>
                <a:cubicBezTo>
                  <a:pt x="811" y="332"/>
                  <a:pt x="810" y="299"/>
                  <a:pt x="797" y="252"/>
                </a:cubicBezTo>
                <a:cubicBezTo>
                  <a:pt x="774" y="168"/>
                  <a:pt x="794" y="52"/>
                  <a:pt x="835" y="27"/>
                </a:cubicBezTo>
                <a:cubicBezTo>
                  <a:pt x="878" y="0"/>
                  <a:pt x="894" y="28"/>
                  <a:pt x="910" y="174"/>
                </a:cubicBezTo>
                <a:lnTo>
                  <a:pt x="925" y="307"/>
                </a:lnTo>
                <a:lnTo>
                  <a:pt x="1027" y="414"/>
                </a:lnTo>
                <a:cubicBezTo>
                  <a:pt x="1162" y="555"/>
                  <a:pt x="1187" y="558"/>
                  <a:pt x="1230" y="438"/>
                </a:cubicBezTo>
                <a:cubicBezTo>
                  <a:pt x="1310" y="216"/>
                  <a:pt x="1339" y="195"/>
                  <a:pt x="1576" y="195"/>
                </a:cubicBezTo>
                <a:cubicBezTo>
                  <a:pt x="1782" y="196"/>
                  <a:pt x="1787" y="198"/>
                  <a:pt x="1842" y="329"/>
                </a:cubicBezTo>
                <a:cubicBezTo>
                  <a:pt x="1907" y="481"/>
                  <a:pt x="1923" y="496"/>
                  <a:pt x="1984" y="460"/>
                </a:cubicBezTo>
                <a:lnTo>
                  <a:pt x="2030" y="432"/>
                </a:lnTo>
                <a:lnTo>
                  <a:pt x="2258" y="864"/>
                </a:lnTo>
                <a:lnTo>
                  <a:pt x="2357" y="854"/>
                </a:lnTo>
                <a:cubicBezTo>
                  <a:pt x="2429" y="848"/>
                  <a:pt x="2464" y="852"/>
                  <a:pt x="2486" y="868"/>
                </a:cubicBezTo>
                <a:cubicBezTo>
                  <a:pt x="2514" y="889"/>
                  <a:pt x="2512" y="896"/>
                  <a:pt x="2453" y="1017"/>
                </a:cubicBezTo>
                <a:lnTo>
                  <a:pt x="2389" y="1145"/>
                </a:lnTo>
                <a:lnTo>
                  <a:pt x="2424" y="1260"/>
                </a:lnTo>
                <a:cubicBezTo>
                  <a:pt x="2454" y="1356"/>
                  <a:pt x="2456" y="1380"/>
                  <a:pt x="2440" y="1404"/>
                </a:cubicBezTo>
                <a:cubicBezTo>
                  <a:pt x="2421" y="1428"/>
                  <a:pt x="2411" y="1430"/>
                  <a:pt x="2346" y="1412"/>
                </a:cubicBezTo>
                <a:cubicBezTo>
                  <a:pt x="2306" y="1401"/>
                  <a:pt x="2243" y="1393"/>
                  <a:pt x="2206" y="1393"/>
                </a:cubicBezTo>
                <a:cubicBezTo>
                  <a:pt x="2152" y="1393"/>
                  <a:pt x="2131" y="1382"/>
                  <a:pt x="2064" y="1316"/>
                </a:cubicBezTo>
                <a:cubicBezTo>
                  <a:pt x="2021" y="1275"/>
                  <a:pt x="1939" y="1216"/>
                  <a:pt x="1882" y="1185"/>
                </a:cubicBezTo>
                <a:cubicBezTo>
                  <a:pt x="1784" y="1134"/>
                  <a:pt x="1774" y="1132"/>
                  <a:pt x="1714" y="1150"/>
                </a:cubicBezTo>
                <a:cubicBezTo>
                  <a:pt x="1677" y="1161"/>
                  <a:pt x="1648" y="1180"/>
                  <a:pt x="1648" y="1192"/>
                </a:cubicBezTo>
                <a:cubicBezTo>
                  <a:pt x="1648" y="1203"/>
                  <a:pt x="1670" y="1260"/>
                  <a:pt x="1696" y="1316"/>
                </a:cubicBezTo>
                <a:cubicBezTo>
                  <a:pt x="1738" y="1406"/>
                  <a:pt x="1742" y="1427"/>
                  <a:pt x="1728" y="1467"/>
                </a:cubicBezTo>
                <a:cubicBezTo>
                  <a:pt x="1717" y="1492"/>
                  <a:pt x="1714" y="1545"/>
                  <a:pt x="1718" y="1587"/>
                </a:cubicBezTo>
                <a:cubicBezTo>
                  <a:pt x="1730" y="1668"/>
                  <a:pt x="1733" y="1665"/>
                  <a:pt x="1630" y="1686"/>
                </a:cubicBezTo>
                <a:cubicBezTo>
                  <a:pt x="1597" y="1694"/>
                  <a:pt x="1584" y="1713"/>
                  <a:pt x="1552" y="1817"/>
                </a:cubicBezTo>
                <a:lnTo>
                  <a:pt x="1514" y="1939"/>
                </a:lnTo>
                <a:lnTo>
                  <a:pt x="1562" y="1977"/>
                </a:lnTo>
                <a:cubicBezTo>
                  <a:pt x="1626" y="2030"/>
                  <a:pt x="1651" y="2027"/>
                  <a:pt x="1710" y="1953"/>
                </a:cubicBezTo>
                <a:cubicBezTo>
                  <a:pt x="1754" y="1899"/>
                  <a:pt x="1771" y="1889"/>
                  <a:pt x="1822" y="1889"/>
                </a:cubicBezTo>
                <a:cubicBezTo>
                  <a:pt x="1870" y="1889"/>
                  <a:pt x="1890" y="1897"/>
                  <a:pt x="1909" y="1926"/>
                </a:cubicBezTo>
                <a:cubicBezTo>
                  <a:pt x="1933" y="1963"/>
                  <a:pt x="1930" y="1968"/>
                  <a:pt x="1798" y="2099"/>
                </a:cubicBezTo>
                <a:cubicBezTo>
                  <a:pt x="1682" y="2212"/>
                  <a:pt x="1664" y="2240"/>
                  <a:pt x="1670" y="2275"/>
                </a:cubicBezTo>
                <a:cubicBezTo>
                  <a:pt x="1688" y="2364"/>
                  <a:pt x="1606" y="2406"/>
                  <a:pt x="1488" y="2369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24" name="Астраханская область"/>
          <p:cNvSpPr>
            <a:spLocks/>
          </p:cNvSpPr>
          <p:nvPr/>
        </p:nvSpPr>
        <p:spPr bwMode="auto">
          <a:xfrm>
            <a:off x="1494136" y="3980599"/>
            <a:ext cx="203163" cy="317625"/>
          </a:xfrm>
          <a:custGeom>
            <a:avLst/>
            <a:gdLst/>
            <a:ahLst/>
            <a:cxnLst>
              <a:cxn ang="0">
                <a:pos x="291" y="1133"/>
              </a:cxn>
              <a:cxn ang="0">
                <a:pos x="72" y="1120"/>
              </a:cxn>
              <a:cxn ang="0">
                <a:pos x="19" y="1113"/>
              </a:cxn>
              <a:cxn ang="0">
                <a:pos x="65" y="1030"/>
              </a:cxn>
              <a:cxn ang="0">
                <a:pos x="137" y="961"/>
              </a:cxn>
              <a:cxn ang="0">
                <a:pos x="105" y="899"/>
              </a:cxn>
              <a:cxn ang="0">
                <a:pos x="206" y="806"/>
              </a:cxn>
              <a:cxn ang="0">
                <a:pos x="305" y="776"/>
              </a:cxn>
              <a:cxn ang="0">
                <a:pos x="297" y="686"/>
              </a:cxn>
              <a:cxn ang="0">
                <a:pos x="339" y="526"/>
              </a:cxn>
              <a:cxn ang="0">
                <a:pos x="395" y="433"/>
              </a:cxn>
              <a:cxn ang="0">
                <a:pos x="313" y="422"/>
              </a:cxn>
              <a:cxn ang="0">
                <a:pos x="230" y="422"/>
              </a:cxn>
              <a:cxn ang="0">
                <a:pos x="241" y="294"/>
              </a:cxn>
              <a:cxn ang="0">
                <a:pos x="232" y="96"/>
              </a:cxn>
              <a:cxn ang="0">
                <a:pos x="224" y="11"/>
              </a:cxn>
              <a:cxn ang="0">
                <a:pos x="360" y="1"/>
              </a:cxn>
              <a:cxn ang="0">
                <a:pos x="510" y="38"/>
              </a:cxn>
              <a:cxn ang="0">
                <a:pos x="515" y="144"/>
              </a:cxn>
              <a:cxn ang="0">
                <a:pos x="505" y="270"/>
              </a:cxn>
              <a:cxn ang="0">
                <a:pos x="489" y="387"/>
              </a:cxn>
              <a:cxn ang="0">
                <a:pos x="561" y="581"/>
              </a:cxn>
              <a:cxn ang="0">
                <a:pos x="641" y="661"/>
              </a:cxn>
              <a:cxn ang="0">
                <a:pos x="659" y="830"/>
              </a:cxn>
              <a:cxn ang="0">
                <a:pos x="670" y="976"/>
              </a:cxn>
              <a:cxn ang="0">
                <a:pos x="603" y="1003"/>
              </a:cxn>
              <a:cxn ang="0">
                <a:pos x="545" y="1093"/>
              </a:cxn>
              <a:cxn ang="0">
                <a:pos x="291" y="1133"/>
              </a:cxn>
            </a:cxnLst>
            <a:rect l="0" t="0" r="r" b="b"/>
            <a:pathLst>
              <a:path w="670" h="1168">
                <a:moveTo>
                  <a:pt x="291" y="1133"/>
                </a:moveTo>
                <a:cubicBezTo>
                  <a:pt x="185" y="1121"/>
                  <a:pt x="86" y="1115"/>
                  <a:pt x="72" y="1120"/>
                </a:cubicBezTo>
                <a:cubicBezTo>
                  <a:pt x="56" y="1125"/>
                  <a:pt x="33" y="1121"/>
                  <a:pt x="19" y="1113"/>
                </a:cubicBezTo>
                <a:cubicBezTo>
                  <a:pt x="0" y="1102"/>
                  <a:pt x="8" y="1088"/>
                  <a:pt x="65" y="1030"/>
                </a:cubicBezTo>
                <a:lnTo>
                  <a:pt x="137" y="961"/>
                </a:lnTo>
                <a:lnTo>
                  <a:pt x="105" y="899"/>
                </a:lnTo>
                <a:cubicBezTo>
                  <a:pt x="70" y="829"/>
                  <a:pt x="65" y="833"/>
                  <a:pt x="206" y="806"/>
                </a:cubicBezTo>
                <a:cubicBezTo>
                  <a:pt x="257" y="795"/>
                  <a:pt x="302" y="782"/>
                  <a:pt x="305" y="776"/>
                </a:cubicBezTo>
                <a:cubicBezTo>
                  <a:pt x="309" y="771"/>
                  <a:pt x="305" y="729"/>
                  <a:pt x="297" y="686"/>
                </a:cubicBezTo>
                <a:cubicBezTo>
                  <a:pt x="283" y="613"/>
                  <a:pt x="286" y="605"/>
                  <a:pt x="339" y="526"/>
                </a:cubicBezTo>
                <a:cubicBezTo>
                  <a:pt x="369" y="481"/>
                  <a:pt x="395" y="440"/>
                  <a:pt x="395" y="433"/>
                </a:cubicBezTo>
                <a:cubicBezTo>
                  <a:pt x="395" y="427"/>
                  <a:pt x="358" y="422"/>
                  <a:pt x="313" y="422"/>
                </a:cubicBezTo>
                <a:lnTo>
                  <a:pt x="230" y="422"/>
                </a:lnTo>
                <a:lnTo>
                  <a:pt x="241" y="294"/>
                </a:lnTo>
                <a:cubicBezTo>
                  <a:pt x="248" y="213"/>
                  <a:pt x="245" y="142"/>
                  <a:pt x="232" y="96"/>
                </a:cubicBezTo>
                <a:cubicBezTo>
                  <a:pt x="222" y="56"/>
                  <a:pt x="217" y="17"/>
                  <a:pt x="224" y="11"/>
                </a:cubicBezTo>
                <a:cubicBezTo>
                  <a:pt x="232" y="5"/>
                  <a:pt x="293" y="0"/>
                  <a:pt x="360" y="1"/>
                </a:cubicBezTo>
                <a:cubicBezTo>
                  <a:pt x="465" y="3"/>
                  <a:pt x="486" y="9"/>
                  <a:pt x="510" y="38"/>
                </a:cubicBezTo>
                <a:cubicBezTo>
                  <a:pt x="545" y="81"/>
                  <a:pt x="547" y="112"/>
                  <a:pt x="515" y="144"/>
                </a:cubicBezTo>
                <a:cubicBezTo>
                  <a:pt x="489" y="169"/>
                  <a:pt x="486" y="219"/>
                  <a:pt x="505" y="270"/>
                </a:cubicBezTo>
                <a:cubicBezTo>
                  <a:pt x="513" y="289"/>
                  <a:pt x="507" y="334"/>
                  <a:pt x="489" y="387"/>
                </a:cubicBezTo>
                <a:cubicBezTo>
                  <a:pt x="454" y="489"/>
                  <a:pt x="461" y="505"/>
                  <a:pt x="561" y="581"/>
                </a:cubicBezTo>
                <a:cubicBezTo>
                  <a:pt x="601" y="611"/>
                  <a:pt x="638" y="646"/>
                  <a:pt x="641" y="661"/>
                </a:cubicBezTo>
                <a:cubicBezTo>
                  <a:pt x="646" y="675"/>
                  <a:pt x="654" y="750"/>
                  <a:pt x="659" y="830"/>
                </a:cubicBezTo>
                <a:lnTo>
                  <a:pt x="670" y="976"/>
                </a:lnTo>
                <a:lnTo>
                  <a:pt x="603" y="1003"/>
                </a:lnTo>
                <a:cubicBezTo>
                  <a:pt x="536" y="1029"/>
                  <a:pt x="534" y="1029"/>
                  <a:pt x="545" y="1093"/>
                </a:cubicBezTo>
                <a:cubicBezTo>
                  <a:pt x="557" y="1168"/>
                  <a:pt x="581" y="1165"/>
                  <a:pt x="291" y="1133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25" name="Белгородская область"/>
          <p:cNvSpPr>
            <a:spLocks/>
          </p:cNvSpPr>
          <p:nvPr/>
        </p:nvSpPr>
        <p:spPr bwMode="auto">
          <a:xfrm>
            <a:off x="1200517" y="3384509"/>
            <a:ext cx="174599" cy="217551"/>
          </a:xfrm>
          <a:custGeom>
            <a:avLst/>
            <a:gdLst>
              <a:gd name="T0" fmla="*/ 354 w 36"/>
              <a:gd name="T1" fmla="*/ 781 h 50"/>
              <a:gd name="T2" fmla="*/ 316 w 36"/>
              <a:gd name="T3" fmla="*/ 582 h 50"/>
              <a:gd name="T4" fmla="*/ 282 w 36"/>
              <a:gd name="T5" fmla="*/ 392 h 50"/>
              <a:gd name="T6" fmla="*/ 189 w 36"/>
              <a:gd name="T7" fmla="*/ 349 h 50"/>
              <a:gd name="T8" fmla="*/ 55 w 36"/>
              <a:gd name="T9" fmla="*/ 232 h 50"/>
              <a:gd name="T10" fmla="*/ 18 w 36"/>
              <a:gd name="T11" fmla="*/ 81 h 50"/>
              <a:gd name="T12" fmla="*/ 56 w 36"/>
              <a:gd name="T13" fmla="*/ 13 h 50"/>
              <a:gd name="T14" fmla="*/ 285 w 36"/>
              <a:gd name="T15" fmla="*/ 109 h 50"/>
              <a:gd name="T16" fmla="*/ 412 w 36"/>
              <a:gd name="T17" fmla="*/ 166 h 50"/>
              <a:gd name="T18" fmla="*/ 520 w 36"/>
              <a:gd name="T19" fmla="*/ 235 h 50"/>
              <a:gd name="T20" fmla="*/ 578 w 36"/>
              <a:gd name="T21" fmla="*/ 408 h 50"/>
              <a:gd name="T22" fmla="*/ 480 w 36"/>
              <a:gd name="T23" fmla="*/ 709 h 50"/>
              <a:gd name="T24" fmla="*/ 354 w 36"/>
              <a:gd name="T25" fmla="*/ 781 h 5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6"/>
              <a:gd name="T40" fmla="*/ 0 h 50"/>
              <a:gd name="T41" fmla="*/ 578 w 36"/>
              <a:gd name="T42" fmla="*/ 811 h 5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6" h="50">
                <a:moveTo>
                  <a:pt x="22" y="48"/>
                </a:moveTo>
                <a:cubicBezTo>
                  <a:pt x="21" y="47"/>
                  <a:pt x="20" y="42"/>
                  <a:pt x="20" y="36"/>
                </a:cubicBezTo>
                <a:cubicBezTo>
                  <a:pt x="19" y="30"/>
                  <a:pt x="18" y="25"/>
                  <a:pt x="18" y="24"/>
                </a:cubicBezTo>
                <a:cubicBezTo>
                  <a:pt x="17" y="24"/>
                  <a:pt x="14" y="23"/>
                  <a:pt x="12" y="22"/>
                </a:cubicBezTo>
                <a:cubicBezTo>
                  <a:pt x="8" y="20"/>
                  <a:pt x="6" y="19"/>
                  <a:pt x="3" y="14"/>
                </a:cubicBezTo>
                <a:cubicBezTo>
                  <a:pt x="0" y="9"/>
                  <a:pt x="0" y="9"/>
                  <a:pt x="1" y="5"/>
                </a:cubicBezTo>
                <a:cubicBezTo>
                  <a:pt x="2" y="3"/>
                  <a:pt x="3" y="1"/>
                  <a:pt x="3" y="1"/>
                </a:cubicBezTo>
                <a:cubicBezTo>
                  <a:pt x="5" y="0"/>
                  <a:pt x="13" y="3"/>
                  <a:pt x="18" y="7"/>
                </a:cubicBezTo>
                <a:cubicBezTo>
                  <a:pt x="21" y="9"/>
                  <a:pt x="23" y="10"/>
                  <a:pt x="26" y="10"/>
                </a:cubicBezTo>
                <a:cubicBezTo>
                  <a:pt x="28" y="10"/>
                  <a:pt x="30" y="11"/>
                  <a:pt x="32" y="14"/>
                </a:cubicBezTo>
                <a:cubicBezTo>
                  <a:pt x="36" y="18"/>
                  <a:pt x="36" y="19"/>
                  <a:pt x="36" y="25"/>
                </a:cubicBezTo>
                <a:cubicBezTo>
                  <a:pt x="36" y="35"/>
                  <a:pt x="35" y="38"/>
                  <a:pt x="30" y="44"/>
                </a:cubicBezTo>
                <a:cubicBezTo>
                  <a:pt x="25" y="49"/>
                  <a:pt x="24" y="50"/>
                  <a:pt x="22" y="48"/>
                </a:cubicBezTo>
                <a:cubicBezTo>
                  <a:pt x="22" y="48"/>
                  <a:pt x="22" y="48"/>
                  <a:pt x="22" y="48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19050">
            <a:noFill/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sp>
      <p:sp>
        <p:nvSpPr>
          <p:cNvPr id="126" name="Брянская область"/>
          <p:cNvSpPr>
            <a:spLocks/>
          </p:cNvSpPr>
          <p:nvPr/>
        </p:nvSpPr>
        <p:spPr bwMode="auto">
          <a:xfrm>
            <a:off x="1157670" y="3062533"/>
            <a:ext cx="236490" cy="178392"/>
          </a:xfrm>
          <a:custGeom>
            <a:avLst/>
            <a:gdLst/>
            <a:ahLst/>
            <a:cxnLst>
              <a:cxn ang="0">
                <a:pos x="339" y="642"/>
              </a:cxn>
              <a:cxn ang="0">
                <a:pos x="338" y="563"/>
              </a:cxn>
              <a:cxn ang="0">
                <a:pos x="235" y="448"/>
              </a:cxn>
              <a:cxn ang="0">
                <a:pos x="133" y="448"/>
              </a:cxn>
              <a:cxn ang="0">
                <a:pos x="122" y="367"/>
              </a:cxn>
              <a:cxn ang="0">
                <a:pos x="56" y="259"/>
              </a:cxn>
              <a:cxn ang="0">
                <a:pos x="0" y="211"/>
              </a:cxn>
              <a:cxn ang="0">
                <a:pos x="144" y="0"/>
              </a:cxn>
              <a:cxn ang="0">
                <a:pos x="168" y="31"/>
              </a:cxn>
              <a:cxn ang="0">
                <a:pos x="442" y="95"/>
              </a:cxn>
              <a:cxn ang="0">
                <a:pos x="610" y="64"/>
              </a:cxn>
              <a:cxn ang="0">
                <a:pos x="758" y="88"/>
              </a:cxn>
              <a:cxn ang="0">
                <a:pos x="726" y="253"/>
              </a:cxn>
              <a:cxn ang="0">
                <a:pos x="674" y="474"/>
              </a:cxn>
              <a:cxn ang="0">
                <a:pos x="659" y="496"/>
              </a:cxn>
              <a:cxn ang="0">
                <a:pos x="560" y="576"/>
              </a:cxn>
              <a:cxn ang="0">
                <a:pos x="427" y="656"/>
              </a:cxn>
              <a:cxn ang="0">
                <a:pos x="339" y="642"/>
              </a:cxn>
            </a:cxnLst>
            <a:rect l="0" t="0" r="r" b="b"/>
            <a:pathLst>
              <a:path w="776" h="656">
                <a:moveTo>
                  <a:pt x="339" y="642"/>
                </a:moveTo>
                <a:cubicBezTo>
                  <a:pt x="322" y="631"/>
                  <a:pt x="322" y="616"/>
                  <a:pt x="338" y="563"/>
                </a:cubicBezTo>
                <a:cubicBezTo>
                  <a:pt x="366" y="463"/>
                  <a:pt x="354" y="448"/>
                  <a:pt x="235" y="448"/>
                </a:cubicBezTo>
                <a:lnTo>
                  <a:pt x="133" y="448"/>
                </a:lnTo>
                <a:lnTo>
                  <a:pt x="122" y="367"/>
                </a:lnTo>
                <a:cubicBezTo>
                  <a:pt x="112" y="295"/>
                  <a:pt x="106" y="283"/>
                  <a:pt x="56" y="259"/>
                </a:cubicBezTo>
                <a:cubicBezTo>
                  <a:pt x="26" y="245"/>
                  <a:pt x="0" y="224"/>
                  <a:pt x="0" y="211"/>
                </a:cubicBezTo>
                <a:cubicBezTo>
                  <a:pt x="0" y="184"/>
                  <a:pt x="125" y="0"/>
                  <a:pt x="144" y="0"/>
                </a:cubicBezTo>
                <a:cubicBezTo>
                  <a:pt x="152" y="0"/>
                  <a:pt x="163" y="15"/>
                  <a:pt x="168" y="31"/>
                </a:cubicBezTo>
                <a:cubicBezTo>
                  <a:pt x="184" y="80"/>
                  <a:pt x="398" y="130"/>
                  <a:pt x="442" y="95"/>
                </a:cubicBezTo>
                <a:cubicBezTo>
                  <a:pt x="456" y="82"/>
                  <a:pt x="528" y="69"/>
                  <a:pt x="610" y="64"/>
                </a:cubicBezTo>
                <a:cubicBezTo>
                  <a:pt x="741" y="56"/>
                  <a:pt x="750" y="58"/>
                  <a:pt x="758" y="88"/>
                </a:cubicBezTo>
                <a:cubicBezTo>
                  <a:pt x="776" y="152"/>
                  <a:pt x="766" y="199"/>
                  <a:pt x="726" y="253"/>
                </a:cubicBezTo>
                <a:cubicBezTo>
                  <a:pt x="675" y="317"/>
                  <a:pt x="646" y="442"/>
                  <a:pt x="674" y="474"/>
                </a:cubicBezTo>
                <a:cubicBezTo>
                  <a:pt x="688" y="491"/>
                  <a:pt x="685" y="496"/>
                  <a:pt x="659" y="496"/>
                </a:cubicBezTo>
                <a:cubicBezTo>
                  <a:pt x="640" y="496"/>
                  <a:pt x="600" y="528"/>
                  <a:pt x="560" y="576"/>
                </a:cubicBezTo>
                <a:cubicBezTo>
                  <a:pt x="499" y="648"/>
                  <a:pt x="486" y="656"/>
                  <a:pt x="427" y="656"/>
                </a:cubicBezTo>
                <a:cubicBezTo>
                  <a:pt x="390" y="655"/>
                  <a:pt x="350" y="650"/>
                  <a:pt x="339" y="64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34" name="Владимирская область"/>
          <p:cNvSpPr>
            <a:spLocks/>
          </p:cNvSpPr>
          <p:nvPr/>
        </p:nvSpPr>
        <p:spPr bwMode="auto">
          <a:xfrm>
            <a:off x="1754430" y="3085467"/>
            <a:ext cx="207925" cy="217551"/>
          </a:xfrm>
          <a:custGeom>
            <a:avLst/>
            <a:gdLst/>
            <a:ahLst/>
            <a:cxnLst>
              <a:cxn ang="0">
                <a:pos x="174" y="717"/>
              </a:cxn>
              <a:cxn ang="0">
                <a:pos x="108" y="480"/>
              </a:cxn>
              <a:cxn ang="0">
                <a:pos x="150" y="384"/>
              </a:cxn>
              <a:cxn ang="0">
                <a:pos x="92" y="331"/>
              </a:cxn>
              <a:cxn ang="0">
                <a:pos x="32" y="101"/>
              </a:cxn>
              <a:cxn ang="0">
                <a:pos x="68" y="0"/>
              </a:cxn>
              <a:cxn ang="0">
                <a:pos x="124" y="58"/>
              </a:cxn>
              <a:cxn ang="0">
                <a:pos x="238" y="104"/>
              </a:cxn>
              <a:cxn ang="0">
                <a:pos x="300" y="162"/>
              </a:cxn>
              <a:cxn ang="0">
                <a:pos x="296" y="237"/>
              </a:cxn>
              <a:cxn ang="0">
                <a:pos x="372" y="298"/>
              </a:cxn>
              <a:cxn ang="0">
                <a:pos x="657" y="618"/>
              </a:cxn>
              <a:cxn ang="0">
                <a:pos x="256" y="799"/>
              </a:cxn>
              <a:cxn ang="0">
                <a:pos x="174" y="717"/>
              </a:cxn>
            </a:cxnLst>
            <a:rect l="0" t="0" r="r" b="b"/>
            <a:pathLst>
              <a:path w="684" h="800">
                <a:moveTo>
                  <a:pt x="174" y="717"/>
                </a:moveTo>
                <a:cubicBezTo>
                  <a:pt x="56" y="568"/>
                  <a:pt x="60" y="587"/>
                  <a:pt x="108" y="480"/>
                </a:cubicBezTo>
                <a:lnTo>
                  <a:pt x="150" y="384"/>
                </a:lnTo>
                <a:lnTo>
                  <a:pt x="92" y="331"/>
                </a:lnTo>
                <a:cubicBezTo>
                  <a:pt x="9" y="256"/>
                  <a:pt x="0" y="219"/>
                  <a:pt x="32" y="101"/>
                </a:cubicBezTo>
                <a:cubicBezTo>
                  <a:pt x="46" y="45"/>
                  <a:pt x="64" y="0"/>
                  <a:pt x="68" y="0"/>
                </a:cubicBezTo>
                <a:cubicBezTo>
                  <a:pt x="73" y="0"/>
                  <a:pt x="99" y="26"/>
                  <a:pt x="124" y="58"/>
                </a:cubicBezTo>
                <a:cubicBezTo>
                  <a:pt x="168" y="112"/>
                  <a:pt x="174" y="114"/>
                  <a:pt x="238" y="104"/>
                </a:cubicBezTo>
                <a:cubicBezTo>
                  <a:pt x="320" y="93"/>
                  <a:pt x="344" y="114"/>
                  <a:pt x="300" y="162"/>
                </a:cubicBezTo>
                <a:cubicBezTo>
                  <a:pt x="273" y="191"/>
                  <a:pt x="273" y="197"/>
                  <a:pt x="296" y="237"/>
                </a:cubicBezTo>
                <a:cubicBezTo>
                  <a:pt x="308" y="261"/>
                  <a:pt x="344" y="288"/>
                  <a:pt x="372" y="298"/>
                </a:cubicBezTo>
                <a:cubicBezTo>
                  <a:pt x="444" y="320"/>
                  <a:pt x="684" y="591"/>
                  <a:pt x="657" y="618"/>
                </a:cubicBezTo>
                <a:cubicBezTo>
                  <a:pt x="641" y="634"/>
                  <a:pt x="273" y="800"/>
                  <a:pt x="256" y="799"/>
                </a:cubicBezTo>
                <a:cubicBezTo>
                  <a:pt x="246" y="799"/>
                  <a:pt x="209" y="762"/>
                  <a:pt x="174" y="717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0" name="Волгоградская область"/>
          <p:cNvSpPr>
            <a:spLocks/>
          </p:cNvSpPr>
          <p:nvPr/>
        </p:nvSpPr>
        <p:spPr bwMode="auto">
          <a:xfrm>
            <a:off x="1370357" y="3641219"/>
            <a:ext cx="436445" cy="361135"/>
          </a:xfrm>
          <a:custGeom>
            <a:avLst/>
            <a:gdLst/>
            <a:ahLst/>
            <a:cxnLst>
              <a:cxn ang="0">
                <a:pos x="983" y="1274"/>
              </a:cxn>
              <a:cxn ang="0">
                <a:pos x="773" y="1195"/>
              </a:cxn>
              <a:cxn ang="0">
                <a:pos x="546" y="1235"/>
              </a:cxn>
              <a:cxn ang="0">
                <a:pos x="503" y="1163"/>
              </a:cxn>
              <a:cxn ang="0">
                <a:pos x="411" y="1176"/>
              </a:cxn>
              <a:cxn ang="0">
                <a:pos x="253" y="1232"/>
              </a:cxn>
              <a:cxn ang="0">
                <a:pos x="45" y="1143"/>
              </a:cxn>
              <a:cxn ang="0">
                <a:pos x="45" y="1016"/>
              </a:cxn>
              <a:cxn ang="0">
                <a:pos x="37" y="896"/>
              </a:cxn>
              <a:cxn ang="0">
                <a:pos x="170" y="808"/>
              </a:cxn>
              <a:cxn ang="0">
                <a:pos x="282" y="730"/>
              </a:cxn>
              <a:cxn ang="0">
                <a:pos x="323" y="653"/>
              </a:cxn>
              <a:cxn ang="0">
                <a:pos x="290" y="592"/>
              </a:cxn>
              <a:cxn ang="0">
                <a:pos x="255" y="531"/>
              </a:cxn>
              <a:cxn ang="0">
                <a:pos x="320" y="477"/>
              </a:cxn>
              <a:cxn ang="0">
                <a:pos x="387" y="421"/>
              </a:cxn>
              <a:cxn ang="0">
                <a:pos x="367" y="327"/>
              </a:cxn>
              <a:cxn ang="0">
                <a:pos x="339" y="200"/>
              </a:cxn>
              <a:cxn ang="0">
                <a:pos x="391" y="136"/>
              </a:cxn>
              <a:cxn ang="0">
                <a:pos x="483" y="27"/>
              </a:cxn>
              <a:cxn ang="0">
                <a:pos x="587" y="0"/>
              </a:cxn>
              <a:cxn ang="0">
                <a:pos x="695" y="18"/>
              </a:cxn>
              <a:cxn ang="0">
                <a:pos x="754" y="64"/>
              </a:cxn>
              <a:cxn ang="0">
                <a:pos x="843" y="170"/>
              </a:cxn>
              <a:cxn ang="0">
                <a:pos x="1002" y="280"/>
              </a:cxn>
              <a:cxn ang="0">
                <a:pos x="1135" y="336"/>
              </a:cxn>
              <a:cxn ang="0">
                <a:pos x="1135" y="538"/>
              </a:cxn>
              <a:cxn ang="0">
                <a:pos x="1207" y="647"/>
              </a:cxn>
              <a:cxn ang="0">
                <a:pos x="1296" y="714"/>
              </a:cxn>
              <a:cxn ang="0">
                <a:pos x="1378" y="792"/>
              </a:cxn>
              <a:cxn ang="0">
                <a:pos x="1447" y="872"/>
              </a:cxn>
              <a:cxn ang="0">
                <a:pos x="1459" y="946"/>
              </a:cxn>
              <a:cxn ang="0">
                <a:pos x="1319" y="1031"/>
              </a:cxn>
              <a:cxn ang="0">
                <a:pos x="1146" y="1197"/>
              </a:cxn>
              <a:cxn ang="0">
                <a:pos x="1074" y="1288"/>
              </a:cxn>
              <a:cxn ang="0">
                <a:pos x="1007" y="1328"/>
              </a:cxn>
              <a:cxn ang="0">
                <a:pos x="983" y="1274"/>
              </a:cxn>
            </a:cxnLst>
            <a:rect l="0" t="0" r="r" b="b"/>
            <a:pathLst>
              <a:path w="1464" h="1328">
                <a:moveTo>
                  <a:pt x="983" y="1274"/>
                </a:moveTo>
                <a:cubicBezTo>
                  <a:pt x="959" y="1218"/>
                  <a:pt x="930" y="1207"/>
                  <a:pt x="773" y="1195"/>
                </a:cubicBezTo>
                <a:cubicBezTo>
                  <a:pt x="720" y="1191"/>
                  <a:pt x="567" y="1218"/>
                  <a:pt x="546" y="1235"/>
                </a:cubicBezTo>
                <a:cubicBezTo>
                  <a:pt x="525" y="1253"/>
                  <a:pt x="520" y="1245"/>
                  <a:pt x="503" y="1163"/>
                </a:cubicBezTo>
                <a:cubicBezTo>
                  <a:pt x="490" y="1106"/>
                  <a:pt x="471" y="1109"/>
                  <a:pt x="411" y="1176"/>
                </a:cubicBezTo>
                <a:cubicBezTo>
                  <a:pt x="363" y="1229"/>
                  <a:pt x="357" y="1232"/>
                  <a:pt x="253" y="1232"/>
                </a:cubicBezTo>
                <a:cubicBezTo>
                  <a:pt x="107" y="1232"/>
                  <a:pt x="69" y="1215"/>
                  <a:pt x="45" y="1143"/>
                </a:cubicBezTo>
                <a:cubicBezTo>
                  <a:pt x="31" y="1098"/>
                  <a:pt x="31" y="1069"/>
                  <a:pt x="45" y="1016"/>
                </a:cubicBezTo>
                <a:cubicBezTo>
                  <a:pt x="61" y="959"/>
                  <a:pt x="59" y="939"/>
                  <a:pt x="37" y="896"/>
                </a:cubicBezTo>
                <a:cubicBezTo>
                  <a:pt x="0" y="824"/>
                  <a:pt x="19" y="811"/>
                  <a:pt x="170" y="808"/>
                </a:cubicBezTo>
                <a:cubicBezTo>
                  <a:pt x="235" y="808"/>
                  <a:pt x="240" y="803"/>
                  <a:pt x="282" y="730"/>
                </a:cubicBezTo>
                <a:lnTo>
                  <a:pt x="323" y="653"/>
                </a:lnTo>
                <a:lnTo>
                  <a:pt x="290" y="592"/>
                </a:lnTo>
                <a:lnTo>
                  <a:pt x="255" y="531"/>
                </a:lnTo>
                <a:lnTo>
                  <a:pt x="320" y="477"/>
                </a:lnTo>
                <a:lnTo>
                  <a:pt x="387" y="421"/>
                </a:lnTo>
                <a:lnTo>
                  <a:pt x="367" y="327"/>
                </a:lnTo>
                <a:cubicBezTo>
                  <a:pt x="355" y="274"/>
                  <a:pt x="343" y="218"/>
                  <a:pt x="339" y="200"/>
                </a:cubicBezTo>
                <a:cubicBezTo>
                  <a:pt x="333" y="176"/>
                  <a:pt x="346" y="160"/>
                  <a:pt x="391" y="136"/>
                </a:cubicBezTo>
                <a:cubicBezTo>
                  <a:pt x="448" y="104"/>
                  <a:pt x="466" y="85"/>
                  <a:pt x="483" y="27"/>
                </a:cubicBezTo>
                <a:cubicBezTo>
                  <a:pt x="490" y="5"/>
                  <a:pt x="511" y="0"/>
                  <a:pt x="587" y="0"/>
                </a:cubicBezTo>
                <a:cubicBezTo>
                  <a:pt x="640" y="0"/>
                  <a:pt x="688" y="8"/>
                  <a:pt x="695" y="18"/>
                </a:cubicBezTo>
                <a:cubicBezTo>
                  <a:pt x="699" y="26"/>
                  <a:pt x="727" y="48"/>
                  <a:pt x="754" y="64"/>
                </a:cubicBezTo>
                <a:cubicBezTo>
                  <a:pt x="779" y="80"/>
                  <a:pt x="821" y="128"/>
                  <a:pt x="843" y="170"/>
                </a:cubicBezTo>
                <a:cubicBezTo>
                  <a:pt x="883" y="243"/>
                  <a:pt x="890" y="248"/>
                  <a:pt x="1002" y="280"/>
                </a:cubicBezTo>
                <a:cubicBezTo>
                  <a:pt x="1066" y="298"/>
                  <a:pt x="1125" y="323"/>
                  <a:pt x="1135" y="336"/>
                </a:cubicBezTo>
                <a:cubicBezTo>
                  <a:pt x="1152" y="367"/>
                  <a:pt x="1154" y="474"/>
                  <a:pt x="1135" y="538"/>
                </a:cubicBezTo>
                <a:cubicBezTo>
                  <a:pt x="1115" y="603"/>
                  <a:pt x="1136" y="634"/>
                  <a:pt x="1207" y="647"/>
                </a:cubicBezTo>
                <a:cubicBezTo>
                  <a:pt x="1248" y="655"/>
                  <a:pt x="1272" y="672"/>
                  <a:pt x="1296" y="714"/>
                </a:cubicBezTo>
                <a:cubicBezTo>
                  <a:pt x="1315" y="746"/>
                  <a:pt x="1352" y="781"/>
                  <a:pt x="1378" y="792"/>
                </a:cubicBezTo>
                <a:cubicBezTo>
                  <a:pt x="1411" y="805"/>
                  <a:pt x="1432" y="831"/>
                  <a:pt x="1447" y="872"/>
                </a:cubicBezTo>
                <a:cubicBezTo>
                  <a:pt x="1458" y="906"/>
                  <a:pt x="1464" y="939"/>
                  <a:pt x="1459" y="946"/>
                </a:cubicBezTo>
                <a:cubicBezTo>
                  <a:pt x="1456" y="952"/>
                  <a:pt x="1392" y="991"/>
                  <a:pt x="1319" y="1031"/>
                </a:cubicBezTo>
                <a:cubicBezTo>
                  <a:pt x="1165" y="1114"/>
                  <a:pt x="1154" y="1125"/>
                  <a:pt x="1146" y="1197"/>
                </a:cubicBezTo>
                <a:cubicBezTo>
                  <a:pt x="1143" y="1239"/>
                  <a:pt x="1128" y="1256"/>
                  <a:pt x="1074" y="1288"/>
                </a:cubicBezTo>
                <a:lnTo>
                  <a:pt x="1007" y="1328"/>
                </a:lnTo>
                <a:lnTo>
                  <a:pt x="983" y="1274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1" name="Вологодская область"/>
          <p:cNvSpPr>
            <a:spLocks/>
          </p:cNvSpPr>
          <p:nvPr/>
        </p:nvSpPr>
        <p:spPr bwMode="auto">
          <a:xfrm>
            <a:off x="1821082" y="2666590"/>
            <a:ext cx="630087" cy="456858"/>
          </a:xfrm>
          <a:custGeom>
            <a:avLst/>
            <a:gdLst/>
            <a:ahLst/>
            <a:cxnLst>
              <a:cxn ang="0">
                <a:pos x="1562" y="1650"/>
              </a:cxn>
              <a:cxn ang="0">
                <a:pos x="1373" y="1496"/>
              </a:cxn>
              <a:cxn ang="0">
                <a:pos x="1197" y="1330"/>
              </a:cxn>
              <a:cxn ang="0">
                <a:pos x="952" y="1295"/>
              </a:cxn>
              <a:cxn ang="0">
                <a:pos x="747" y="1336"/>
              </a:cxn>
              <a:cxn ang="0">
                <a:pos x="685" y="1362"/>
              </a:cxn>
              <a:cxn ang="0">
                <a:pos x="656" y="1199"/>
              </a:cxn>
              <a:cxn ang="0">
                <a:pos x="598" y="1005"/>
              </a:cxn>
              <a:cxn ang="0">
                <a:pos x="486" y="987"/>
              </a:cxn>
              <a:cxn ang="0">
                <a:pos x="405" y="946"/>
              </a:cxn>
              <a:cxn ang="0">
                <a:pos x="317" y="871"/>
              </a:cxn>
              <a:cxn ang="0">
                <a:pos x="280" y="803"/>
              </a:cxn>
              <a:cxn ang="0">
                <a:pos x="173" y="712"/>
              </a:cxn>
              <a:cxn ang="0">
                <a:pos x="104" y="659"/>
              </a:cxn>
              <a:cxn ang="0">
                <a:pos x="53" y="565"/>
              </a:cxn>
              <a:cxn ang="0">
                <a:pos x="32" y="488"/>
              </a:cxn>
              <a:cxn ang="0">
                <a:pos x="160" y="397"/>
              </a:cxn>
              <a:cxn ang="0">
                <a:pos x="312" y="247"/>
              </a:cxn>
              <a:cxn ang="0">
                <a:pos x="413" y="114"/>
              </a:cxn>
              <a:cxn ang="0">
                <a:pos x="554" y="10"/>
              </a:cxn>
              <a:cxn ang="0">
                <a:pos x="744" y="7"/>
              </a:cxn>
              <a:cxn ang="0">
                <a:pos x="947" y="77"/>
              </a:cxn>
              <a:cxn ang="0">
                <a:pos x="1000" y="135"/>
              </a:cxn>
              <a:cxn ang="0">
                <a:pos x="952" y="264"/>
              </a:cxn>
              <a:cxn ang="0">
                <a:pos x="904" y="413"/>
              </a:cxn>
              <a:cxn ang="0">
                <a:pos x="1173" y="696"/>
              </a:cxn>
              <a:cxn ang="0">
                <a:pos x="1208" y="735"/>
              </a:cxn>
              <a:cxn ang="0">
                <a:pos x="1347" y="837"/>
              </a:cxn>
              <a:cxn ang="0">
                <a:pos x="1523" y="963"/>
              </a:cxn>
              <a:cxn ang="0">
                <a:pos x="1574" y="1027"/>
              </a:cxn>
              <a:cxn ang="0">
                <a:pos x="1656" y="1011"/>
              </a:cxn>
              <a:cxn ang="0">
                <a:pos x="1768" y="1075"/>
              </a:cxn>
              <a:cxn ang="0">
                <a:pos x="1910" y="1122"/>
              </a:cxn>
              <a:cxn ang="0">
                <a:pos x="1992" y="1162"/>
              </a:cxn>
              <a:cxn ang="0">
                <a:pos x="2051" y="1235"/>
              </a:cxn>
              <a:cxn ang="0">
                <a:pos x="2078" y="1359"/>
              </a:cxn>
              <a:cxn ang="0">
                <a:pos x="1974" y="1426"/>
              </a:cxn>
              <a:cxn ang="0">
                <a:pos x="1907" y="1536"/>
              </a:cxn>
              <a:cxn ang="0">
                <a:pos x="1918" y="1602"/>
              </a:cxn>
              <a:cxn ang="0">
                <a:pos x="1835" y="1643"/>
              </a:cxn>
              <a:cxn ang="0">
                <a:pos x="1733" y="1663"/>
              </a:cxn>
              <a:cxn ang="0">
                <a:pos x="1562" y="1650"/>
              </a:cxn>
            </a:cxnLst>
            <a:rect l="0" t="0" r="r" b="b"/>
            <a:pathLst>
              <a:path w="2098" h="1693">
                <a:moveTo>
                  <a:pt x="1562" y="1650"/>
                </a:moveTo>
                <a:cubicBezTo>
                  <a:pt x="1462" y="1618"/>
                  <a:pt x="1453" y="1610"/>
                  <a:pt x="1373" y="1496"/>
                </a:cubicBezTo>
                <a:cubicBezTo>
                  <a:pt x="1304" y="1399"/>
                  <a:pt x="1272" y="1368"/>
                  <a:pt x="1197" y="1330"/>
                </a:cubicBezTo>
                <a:cubicBezTo>
                  <a:pt x="1109" y="1285"/>
                  <a:pt x="1099" y="1283"/>
                  <a:pt x="952" y="1295"/>
                </a:cubicBezTo>
                <a:cubicBezTo>
                  <a:pt x="845" y="1303"/>
                  <a:pt x="786" y="1314"/>
                  <a:pt x="747" y="1336"/>
                </a:cubicBezTo>
                <a:cubicBezTo>
                  <a:pt x="717" y="1354"/>
                  <a:pt x="688" y="1365"/>
                  <a:pt x="685" y="1362"/>
                </a:cubicBezTo>
                <a:cubicBezTo>
                  <a:pt x="680" y="1357"/>
                  <a:pt x="667" y="1285"/>
                  <a:pt x="656" y="1199"/>
                </a:cubicBezTo>
                <a:cubicBezTo>
                  <a:pt x="638" y="1080"/>
                  <a:pt x="626" y="1035"/>
                  <a:pt x="598" y="1005"/>
                </a:cubicBezTo>
                <a:cubicBezTo>
                  <a:pt x="558" y="963"/>
                  <a:pt x="534" y="959"/>
                  <a:pt x="486" y="987"/>
                </a:cubicBezTo>
                <a:cubicBezTo>
                  <a:pt x="458" y="1005"/>
                  <a:pt x="448" y="1002"/>
                  <a:pt x="405" y="946"/>
                </a:cubicBezTo>
                <a:cubicBezTo>
                  <a:pt x="378" y="912"/>
                  <a:pt x="338" y="879"/>
                  <a:pt x="317" y="871"/>
                </a:cubicBezTo>
                <a:cubicBezTo>
                  <a:pt x="288" y="859"/>
                  <a:pt x="280" y="845"/>
                  <a:pt x="280" y="803"/>
                </a:cubicBezTo>
                <a:cubicBezTo>
                  <a:pt x="280" y="733"/>
                  <a:pt x="256" y="712"/>
                  <a:pt x="173" y="712"/>
                </a:cubicBezTo>
                <a:cubicBezTo>
                  <a:pt x="106" y="712"/>
                  <a:pt x="104" y="711"/>
                  <a:pt x="104" y="659"/>
                </a:cubicBezTo>
                <a:cubicBezTo>
                  <a:pt x="104" y="621"/>
                  <a:pt x="91" y="597"/>
                  <a:pt x="53" y="565"/>
                </a:cubicBezTo>
                <a:cubicBezTo>
                  <a:pt x="2" y="523"/>
                  <a:pt x="0" y="522"/>
                  <a:pt x="32" y="488"/>
                </a:cubicBezTo>
                <a:cubicBezTo>
                  <a:pt x="48" y="469"/>
                  <a:pt x="106" y="427"/>
                  <a:pt x="160" y="397"/>
                </a:cubicBezTo>
                <a:cubicBezTo>
                  <a:pt x="293" y="317"/>
                  <a:pt x="312" y="298"/>
                  <a:pt x="312" y="247"/>
                </a:cubicBezTo>
                <a:cubicBezTo>
                  <a:pt x="312" y="213"/>
                  <a:pt x="334" y="183"/>
                  <a:pt x="413" y="114"/>
                </a:cubicBezTo>
                <a:cubicBezTo>
                  <a:pt x="469" y="66"/>
                  <a:pt x="533" y="18"/>
                  <a:pt x="554" y="10"/>
                </a:cubicBezTo>
                <a:cubicBezTo>
                  <a:pt x="579" y="0"/>
                  <a:pt x="654" y="0"/>
                  <a:pt x="744" y="7"/>
                </a:cubicBezTo>
                <a:cubicBezTo>
                  <a:pt x="890" y="19"/>
                  <a:pt x="896" y="21"/>
                  <a:pt x="947" y="77"/>
                </a:cubicBezTo>
                <a:lnTo>
                  <a:pt x="1000" y="135"/>
                </a:lnTo>
                <a:lnTo>
                  <a:pt x="952" y="264"/>
                </a:lnTo>
                <a:cubicBezTo>
                  <a:pt x="926" y="336"/>
                  <a:pt x="904" y="403"/>
                  <a:pt x="904" y="413"/>
                </a:cubicBezTo>
                <a:cubicBezTo>
                  <a:pt x="904" y="440"/>
                  <a:pt x="1147" y="696"/>
                  <a:pt x="1173" y="696"/>
                </a:cubicBezTo>
                <a:cubicBezTo>
                  <a:pt x="1184" y="696"/>
                  <a:pt x="1200" y="714"/>
                  <a:pt x="1208" y="735"/>
                </a:cubicBezTo>
                <a:cubicBezTo>
                  <a:pt x="1218" y="762"/>
                  <a:pt x="1262" y="794"/>
                  <a:pt x="1347" y="837"/>
                </a:cubicBezTo>
                <a:cubicBezTo>
                  <a:pt x="1429" y="879"/>
                  <a:pt x="1490" y="922"/>
                  <a:pt x="1523" y="963"/>
                </a:cubicBezTo>
                <a:lnTo>
                  <a:pt x="1574" y="1027"/>
                </a:lnTo>
                <a:lnTo>
                  <a:pt x="1656" y="1011"/>
                </a:lnTo>
                <a:cubicBezTo>
                  <a:pt x="1747" y="994"/>
                  <a:pt x="1768" y="1005"/>
                  <a:pt x="1768" y="1075"/>
                </a:cubicBezTo>
                <a:cubicBezTo>
                  <a:pt x="1768" y="1119"/>
                  <a:pt x="1822" y="1136"/>
                  <a:pt x="1910" y="1122"/>
                </a:cubicBezTo>
                <a:cubicBezTo>
                  <a:pt x="1968" y="1112"/>
                  <a:pt x="1974" y="1115"/>
                  <a:pt x="1992" y="1162"/>
                </a:cubicBezTo>
                <a:cubicBezTo>
                  <a:pt x="2003" y="1187"/>
                  <a:pt x="2030" y="1221"/>
                  <a:pt x="2051" y="1235"/>
                </a:cubicBezTo>
                <a:cubicBezTo>
                  <a:pt x="2088" y="1259"/>
                  <a:pt x="2098" y="1307"/>
                  <a:pt x="2078" y="1359"/>
                </a:cubicBezTo>
                <a:cubicBezTo>
                  <a:pt x="2074" y="1371"/>
                  <a:pt x="2026" y="1402"/>
                  <a:pt x="1974" y="1426"/>
                </a:cubicBezTo>
                <a:cubicBezTo>
                  <a:pt x="1877" y="1469"/>
                  <a:pt x="1859" y="1501"/>
                  <a:pt x="1907" y="1536"/>
                </a:cubicBezTo>
                <a:cubicBezTo>
                  <a:pt x="1930" y="1552"/>
                  <a:pt x="1933" y="1565"/>
                  <a:pt x="1918" y="1602"/>
                </a:cubicBezTo>
                <a:cubicBezTo>
                  <a:pt x="1904" y="1643"/>
                  <a:pt x="1898" y="1647"/>
                  <a:pt x="1835" y="1643"/>
                </a:cubicBezTo>
                <a:cubicBezTo>
                  <a:pt x="1794" y="1640"/>
                  <a:pt x="1755" y="1647"/>
                  <a:pt x="1733" y="1663"/>
                </a:cubicBezTo>
                <a:cubicBezTo>
                  <a:pt x="1690" y="1693"/>
                  <a:pt x="1690" y="1693"/>
                  <a:pt x="1562" y="165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2" name="Воронежская область"/>
          <p:cNvSpPr>
            <a:spLocks/>
          </p:cNvSpPr>
          <p:nvPr/>
        </p:nvSpPr>
        <p:spPr bwMode="auto">
          <a:xfrm>
            <a:off x="1324299" y="3428019"/>
            <a:ext cx="293620" cy="261061"/>
          </a:xfrm>
          <a:custGeom>
            <a:avLst/>
            <a:gdLst/>
            <a:ahLst/>
            <a:cxnLst>
              <a:cxn ang="0">
                <a:pos x="190" y="891"/>
              </a:cxn>
              <a:cxn ang="0">
                <a:pos x="102" y="843"/>
              </a:cxn>
              <a:cxn ang="0">
                <a:pos x="1" y="698"/>
              </a:cxn>
              <a:cxn ang="0">
                <a:pos x="92" y="582"/>
              </a:cxn>
              <a:cxn ang="0">
                <a:pos x="222" y="221"/>
              </a:cxn>
              <a:cxn ang="0">
                <a:pos x="222" y="128"/>
              </a:cxn>
              <a:cxn ang="0">
                <a:pos x="312" y="67"/>
              </a:cxn>
              <a:cxn ang="0">
                <a:pos x="494" y="67"/>
              </a:cxn>
              <a:cxn ang="0">
                <a:pos x="526" y="107"/>
              </a:cxn>
              <a:cxn ang="0">
                <a:pos x="574" y="178"/>
              </a:cxn>
              <a:cxn ang="0">
                <a:pos x="659" y="272"/>
              </a:cxn>
              <a:cxn ang="0">
                <a:pos x="766" y="394"/>
              </a:cxn>
              <a:cxn ang="0">
                <a:pos x="878" y="539"/>
              </a:cxn>
              <a:cxn ang="0">
                <a:pos x="990" y="726"/>
              </a:cxn>
              <a:cxn ang="0">
                <a:pos x="881" y="752"/>
              </a:cxn>
              <a:cxn ang="0">
                <a:pos x="707" y="720"/>
              </a:cxn>
              <a:cxn ang="0">
                <a:pos x="579" y="736"/>
              </a:cxn>
              <a:cxn ang="0">
                <a:pos x="560" y="798"/>
              </a:cxn>
              <a:cxn ang="0">
                <a:pos x="456" y="888"/>
              </a:cxn>
              <a:cxn ang="0">
                <a:pos x="190" y="891"/>
              </a:cxn>
            </a:cxnLst>
            <a:rect l="0" t="0" r="r" b="b"/>
            <a:pathLst>
              <a:path w="990" h="946">
                <a:moveTo>
                  <a:pt x="190" y="891"/>
                </a:moveTo>
                <a:cubicBezTo>
                  <a:pt x="150" y="866"/>
                  <a:pt x="112" y="845"/>
                  <a:pt x="102" y="843"/>
                </a:cubicBezTo>
                <a:cubicBezTo>
                  <a:pt x="89" y="843"/>
                  <a:pt x="27" y="752"/>
                  <a:pt x="1" y="698"/>
                </a:cubicBezTo>
                <a:cubicBezTo>
                  <a:pt x="0" y="691"/>
                  <a:pt x="40" y="640"/>
                  <a:pt x="92" y="582"/>
                </a:cubicBezTo>
                <a:cubicBezTo>
                  <a:pt x="196" y="467"/>
                  <a:pt x="222" y="395"/>
                  <a:pt x="222" y="221"/>
                </a:cubicBezTo>
                <a:lnTo>
                  <a:pt x="222" y="128"/>
                </a:lnTo>
                <a:lnTo>
                  <a:pt x="312" y="67"/>
                </a:lnTo>
                <a:cubicBezTo>
                  <a:pt x="412" y="0"/>
                  <a:pt x="468" y="0"/>
                  <a:pt x="494" y="67"/>
                </a:cubicBezTo>
                <a:cubicBezTo>
                  <a:pt x="502" y="90"/>
                  <a:pt x="516" y="107"/>
                  <a:pt x="526" y="107"/>
                </a:cubicBezTo>
                <a:cubicBezTo>
                  <a:pt x="536" y="107"/>
                  <a:pt x="556" y="139"/>
                  <a:pt x="574" y="178"/>
                </a:cubicBezTo>
                <a:cubicBezTo>
                  <a:pt x="596" y="230"/>
                  <a:pt x="619" y="256"/>
                  <a:pt x="659" y="272"/>
                </a:cubicBezTo>
                <a:cubicBezTo>
                  <a:pt x="716" y="296"/>
                  <a:pt x="766" y="352"/>
                  <a:pt x="766" y="394"/>
                </a:cubicBezTo>
                <a:cubicBezTo>
                  <a:pt x="766" y="408"/>
                  <a:pt x="817" y="472"/>
                  <a:pt x="878" y="539"/>
                </a:cubicBezTo>
                <a:cubicBezTo>
                  <a:pt x="979" y="648"/>
                  <a:pt x="990" y="666"/>
                  <a:pt x="990" y="726"/>
                </a:cubicBezTo>
                <a:cubicBezTo>
                  <a:pt x="990" y="810"/>
                  <a:pt x="964" y="816"/>
                  <a:pt x="881" y="752"/>
                </a:cubicBezTo>
                <a:cubicBezTo>
                  <a:pt x="830" y="714"/>
                  <a:pt x="819" y="710"/>
                  <a:pt x="707" y="720"/>
                </a:cubicBezTo>
                <a:cubicBezTo>
                  <a:pt x="641" y="725"/>
                  <a:pt x="584" y="733"/>
                  <a:pt x="579" y="736"/>
                </a:cubicBezTo>
                <a:cubicBezTo>
                  <a:pt x="574" y="741"/>
                  <a:pt x="566" y="770"/>
                  <a:pt x="560" y="798"/>
                </a:cubicBezTo>
                <a:cubicBezTo>
                  <a:pt x="550" y="845"/>
                  <a:pt x="537" y="856"/>
                  <a:pt x="456" y="888"/>
                </a:cubicBezTo>
                <a:cubicBezTo>
                  <a:pt x="313" y="944"/>
                  <a:pt x="273" y="946"/>
                  <a:pt x="190" y="891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3" name="Еврейская автономная область"/>
          <p:cNvSpPr>
            <a:spLocks/>
          </p:cNvSpPr>
          <p:nvPr/>
        </p:nvSpPr>
        <p:spPr bwMode="auto">
          <a:xfrm>
            <a:off x="7439491" y="3989301"/>
            <a:ext cx="250772" cy="187094"/>
          </a:xfrm>
          <a:custGeom>
            <a:avLst/>
            <a:gdLst>
              <a:gd name="T0" fmla="*/ 266 w 52"/>
              <a:gd name="T1" fmla="*/ 676 h 43"/>
              <a:gd name="T2" fmla="*/ 154 w 52"/>
              <a:gd name="T3" fmla="*/ 563 h 43"/>
              <a:gd name="T4" fmla="*/ 34 w 52"/>
              <a:gd name="T5" fmla="*/ 299 h 43"/>
              <a:gd name="T6" fmla="*/ 61 w 52"/>
              <a:gd name="T7" fmla="*/ 203 h 43"/>
              <a:gd name="T8" fmla="*/ 410 w 52"/>
              <a:gd name="T9" fmla="*/ 17 h 43"/>
              <a:gd name="T10" fmla="*/ 483 w 52"/>
              <a:gd name="T11" fmla="*/ 44 h 43"/>
              <a:gd name="T12" fmla="*/ 685 w 52"/>
              <a:gd name="T13" fmla="*/ 35 h 43"/>
              <a:gd name="T14" fmla="*/ 837 w 52"/>
              <a:gd name="T15" fmla="*/ 4 h 43"/>
              <a:gd name="T16" fmla="*/ 747 w 52"/>
              <a:gd name="T17" fmla="*/ 160 h 43"/>
              <a:gd name="T18" fmla="*/ 605 w 52"/>
              <a:gd name="T19" fmla="*/ 396 h 43"/>
              <a:gd name="T20" fmla="*/ 331 w 52"/>
              <a:gd name="T21" fmla="*/ 680 h 43"/>
              <a:gd name="T22" fmla="*/ 266 w 52"/>
              <a:gd name="T23" fmla="*/ 676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2"/>
              <a:gd name="T37" fmla="*/ 0 h 43"/>
              <a:gd name="T38" fmla="*/ 840 w 52"/>
              <a:gd name="T39" fmla="*/ 683 h 4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2" h="43">
                <a:moveTo>
                  <a:pt x="16" y="43"/>
                </a:moveTo>
                <a:cubicBezTo>
                  <a:pt x="16" y="42"/>
                  <a:pt x="13" y="39"/>
                  <a:pt x="10" y="35"/>
                </a:cubicBezTo>
                <a:cubicBezTo>
                  <a:pt x="0" y="24"/>
                  <a:pt x="1" y="25"/>
                  <a:pt x="2" y="19"/>
                </a:cubicBezTo>
                <a:cubicBezTo>
                  <a:pt x="3" y="16"/>
                  <a:pt x="4" y="13"/>
                  <a:pt x="4" y="13"/>
                </a:cubicBezTo>
                <a:cubicBezTo>
                  <a:pt x="5" y="11"/>
                  <a:pt x="24" y="1"/>
                  <a:pt x="25" y="1"/>
                </a:cubicBezTo>
                <a:cubicBezTo>
                  <a:pt x="26" y="1"/>
                  <a:pt x="28" y="2"/>
                  <a:pt x="30" y="3"/>
                </a:cubicBezTo>
                <a:cubicBezTo>
                  <a:pt x="33" y="4"/>
                  <a:pt x="34" y="4"/>
                  <a:pt x="42" y="2"/>
                </a:cubicBezTo>
                <a:cubicBezTo>
                  <a:pt x="47" y="1"/>
                  <a:pt x="52" y="0"/>
                  <a:pt x="52" y="0"/>
                </a:cubicBezTo>
                <a:cubicBezTo>
                  <a:pt x="52" y="1"/>
                  <a:pt x="50" y="5"/>
                  <a:pt x="46" y="10"/>
                </a:cubicBezTo>
                <a:cubicBezTo>
                  <a:pt x="43" y="15"/>
                  <a:pt x="39" y="22"/>
                  <a:pt x="37" y="25"/>
                </a:cubicBezTo>
                <a:cubicBezTo>
                  <a:pt x="34" y="32"/>
                  <a:pt x="24" y="42"/>
                  <a:pt x="20" y="43"/>
                </a:cubicBezTo>
                <a:cubicBezTo>
                  <a:pt x="19" y="43"/>
                  <a:pt x="17" y="43"/>
                  <a:pt x="16" y="43"/>
                </a:cubicBezTo>
                <a:cubicBezTo>
                  <a:pt x="16" y="43"/>
                  <a:pt x="16" y="43"/>
                  <a:pt x="16" y="43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sp>
      <p:sp>
        <p:nvSpPr>
          <p:cNvPr id="144" name="Забайкальский край"/>
          <p:cNvSpPr>
            <a:spLocks/>
          </p:cNvSpPr>
          <p:nvPr/>
        </p:nvSpPr>
        <p:spPr bwMode="auto">
          <a:xfrm>
            <a:off x="5885699" y="3628166"/>
            <a:ext cx="771360" cy="1005086"/>
          </a:xfrm>
          <a:custGeom>
            <a:avLst/>
            <a:gdLst/>
            <a:ahLst/>
            <a:cxnLst>
              <a:cxn ang="0">
                <a:pos x="3" y="3520"/>
              </a:cxn>
              <a:cxn ang="0">
                <a:pos x="141" y="3346"/>
              </a:cxn>
              <a:cxn ang="0">
                <a:pos x="48" y="3192"/>
              </a:cxn>
              <a:cxn ang="0">
                <a:pos x="75" y="3011"/>
              </a:cxn>
              <a:cxn ang="0">
                <a:pos x="258" y="2959"/>
              </a:cxn>
              <a:cxn ang="0">
                <a:pos x="510" y="2835"/>
              </a:cxn>
              <a:cxn ang="0">
                <a:pos x="693" y="2584"/>
              </a:cxn>
              <a:cxn ang="0">
                <a:pos x="995" y="2319"/>
              </a:cxn>
              <a:cxn ang="0">
                <a:pos x="1027" y="2032"/>
              </a:cxn>
              <a:cxn ang="0">
                <a:pos x="1066" y="1736"/>
              </a:cxn>
              <a:cxn ang="0">
                <a:pos x="1390" y="1333"/>
              </a:cxn>
              <a:cxn ang="0">
                <a:pos x="1144" y="1120"/>
              </a:cxn>
              <a:cxn ang="0">
                <a:pos x="992" y="647"/>
              </a:cxn>
              <a:cxn ang="0">
                <a:pos x="1142" y="311"/>
              </a:cxn>
              <a:cxn ang="0">
                <a:pos x="1195" y="0"/>
              </a:cxn>
              <a:cxn ang="0">
                <a:pos x="1334" y="82"/>
              </a:cxn>
              <a:cxn ang="0">
                <a:pos x="1714" y="418"/>
              </a:cxn>
              <a:cxn ang="0">
                <a:pos x="1858" y="613"/>
              </a:cxn>
              <a:cxn ang="0">
                <a:pos x="1955" y="611"/>
              </a:cxn>
              <a:cxn ang="0">
                <a:pos x="2064" y="648"/>
              </a:cxn>
              <a:cxn ang="0">
                <a:pos x="2197" y="687"/>
              </a:cxn>
              <a:cxn ang="0">
                <a:pos x="2285" y="778"/>
              </a:cxn>
              <a:cxn ang="0">
                <a:pos x="2398" y="971"/>
              </a:cxn>
              <a:cxn ang="0">
                <a:pos x="2338" y="1077"/>
              </a:cxn>
              <a:cxn ang="0">
                <a:pos x="2546" y="1267"/>
              </a:cxn>
              <a:cxn ang="0">
                <a:pos x="2328" y="1555"/>
              </a:cxn>
              <a:cxn ang="0">
                <a:pos x="2461" y="1808"/>
              </a:cxn>
              <a:cxn ang="0">
                <a:pos x="2488" y="1984"/>
              </a:cxn>
              <a:cxn ang="0">
                <a:pos x="2493" y="2599"/>
              </a:cxn>
              <a:cxn ang="0">
                <a:pos x="2358" y="2810"/>
              </a:cxn>
              <a:cxn ang="0">
                <a:pos x="2022" y="2920"/>
              </a:cxn>
              <a:cxn ang="0">
                <a:pos x="1651" y="2999"/>
              </a:cxn>
              <a:cxn ang="0">
                <a:pos x="1270" y="3179"/>
              </a:cxn>
              <a:cxn ang="0">
                <a:pos x="789" y="3615"/>
              </a:cxn>
              <a:cxn ang="0">
                <a:pos x="64" y="3627"/>
              </a:cxn>
            </a:cxnLst>
            <a:rect l="0" t="0" r="r" b="b"/>
            <a:pathLst>
              <a:path w="2546" h="3691">
                <a:moveTo>
                  <a:pt x="64" y="3627"/>
                </a:moveTo>
                <a:cubicBezTo>
                  <a:pt x="8" y="3583"/>
                  <a:pt x="0" y="3568"/>
                  <a:pt x="3" y="3520"/>
                </a:cubicBezTo>
                <a:cubicBezTo>
                  <a:pt x="6" y="3475"/>
                  <a:pt x="19" y="3456"/>
                  <a:pt x="74" y="3416"/>
                </a:cubicBezTo>
                <a:cubicBezTo>
                  <a:pt x="110" y="3389"/>
                  <a:pt x="141" y="3359"/>
                  <a:pt x="141" y="3346"/>
                </a:cubicBezTo>
                <a:cubicBezTo>
                  <a:pt x="142" y="3335"/>
                  <a:pt x="114" y="3314"/>
                  <a:pt x="78" y="3298"/>
                </a:cubicBezTo>
                <a:cubicBezTo>
                  <a:pt x="5" y="3267"/>
                  <a:pt x="2" y="3253"/>
                  <a:pt x="48" y="3192"/>
                </a:cubicBezTo>
                <a:cubicBezTo>
                  <a:pt x="78" y="3154"/>
                  <a:pt x="82" y="3143"/>
                  <a:pt x="66" y="3090"/>
                </a:cubicBezTo>
                <a:cubicBezTo>
                  <a:pt x="50" y="3040"/>
                  <a:pt x="51" y="3029"/>
                  <a:pt x="75" y="3011"/>
                </a:cubicBezTo>
                <a:cubicBezTo>
                  <a:pt x="91" y="2999"/>
                  <a:pt x="122" y="2994"/>
                  <a:pt x="149" y="2999"/>
                </a:cubicBezTo>
                <a:cubicBezTo>
                  <a:pt x="184" y="3005"/>
                  <a:pt x="208" y="2997"/>
                  <a:pt x="258" y="2959"/>
                </a:cubicBezTo>
                <a:cubicBezTo>
                  <a:pt x="301" y="2923"/>
                  <a:pt x="344" y="2906"/>
                  <a:pt x="403" y="2898"/>
                </a:cubicBezTo>
                <a:cubicBezTo>
                  <a:pt x="477" y="2888"/>
                  <a:pt x="490" y="2882"/>
                  <a:pt x="510" y="2835"/>
                </a:cubicBezTo>
                <a:cubicBezTo>
                  <a:pt x="525" y="2807"/>
                  <a:pt x="568" y="2752"/>
                  <a:pt x="610" y="2712"/>
                </a:cubicBezTo>
                <a:cubicBezTo>
                  <a:pt x="659" y="2664"/>
                  <a:pt x="686" y="2624"/>
                  <a:pt x="693" y="2584"/>
                </a:cubicBezTo>
                <a:cubicBezTo>
                  <a:pt x="702" y="2533"/>
                  <a:pt x="714" y="2522"/>
                  <a:pt x="803" y="2482"/>
                </a:cubicBezTo>
                <a:cubicBezTo>
                  <a:pt x="885" y="2443"/>
                  <a:pt x="918" y="2415"/>
                  <a:pt x="995" y="2319"/>
                </a:cubicBezTo>
                <a:cubicBezTo>
                  <a:pt x="1082" y="2210"/>
                  <a:pt x="1088" y="2195"/>
                  <a:pt x="1083" y="2128"/>
                </a:cubicBezTo>
                <a:cubicBezTo>
                  <a:pt x="1078" y="2064"/>
                  <a:pt x="1072" y="2053"/>
                  <a:pt x="1027" y="2032"/>
                </a:cubicBezTo>
                <a:cubicBezTo>
                  <a:pt x="954" y="2002"/>
                  <a:pt x="926" y="1915"/>
                  <a:pt x="971" y="1866"/>
                </a:cubicBezTo>
                <a:cubicBezTo>
                  <a:pt x="989" y="1847"/>
                  <a:pt x="1030" y="1789"/>
                  <a:pt x="1066" y="1736"/>
                </a:cubicBezTo>
                <a:cubicBezTo>
                  <a:pt x="1165" y="1579"/>
                  <a:pt x="1267" y="1459"/>
                  <a:pt x="1310" y="1448"/>
                </a:cubicBezTo>
                <a:cubicBezTo>
                  <a:pt x="1374" y="1431"/>
                  <a:pt x="1390" y="1408"/>
                  <a:pt x="1390" y="1333"/>
                </a:cubicBezTo>
                <a:cubicBezTo>
                  <a:pt x="1390" y="1279"/>
                  <a:pt x="1381" y="1255"/>
                  <a:pt x="1352" y="1226"/>
                </a:cubicBezTo>
                <a:cubicBezTo>
                  <a:pt x="1306" y="1184"/>
                  <a:pt x="1181" y="1120"/>
                  <a:pt x="1144" y="1120"/>
                </a:cubicBezTo>
                <a:cubicBezTo>
                  <a:pt x="1104" y="1120"/>
                  <a:pt x="902" y="789"/>
                  <a:pt x="891" y="704"/>
                </a:cubicBezTo>
                <a:cubicBezTo>
                  <a:pt x="886" y="669"/>
                  <a:pt x="894" y="664"/>
                  <a:pt x="992" y="647"/>
                </a:cubicBezTo>
                <a:cubicBezTo>
                  <a:pt x="1181" y="611"/>
                  <a:pt x="1240" y="562"/>
                  <a:pt x="1222" y="451"/>
                </a:cubicBezTo>
                <a:cubicBezTo>
                  <a:pt x="1202" y="323"/>
                  <a:pt x="1200" y="322"/>
                  <a:pt x="1142" y="311"/>
                </a:cubicBezTo>
                <a:cubicBezTo>
                  <a:pt x="1069" y="296"/>
                  <a:pt x="1038" y="240"/>
                  <a:pt x="1038" y="114"/>
                </a:cubicBezTo>
                <a:cubicBezTo>
                  <a:pt x="1038" y="2"/>
                  <a:pt x="1042" y="0"/>
                  <a:pt x="1195" y="0"/>
                </a:cubicBezTo>
                <a:lnTo>
                  <a:pt x="1302" y="0"/>
                </a:lnTo>
                <a:lnTo>
                  <a:pt x="1334" y="82"/>
                </a:lnTo>
                <a:cubicBezTo>
                  <a:pt x="1362" y="152"/>
                  <a:pt x="1387" y="183"/>
                  <a:pt x="1494" y="266"/>
                </a:cubicBezTo>
                <a:cubicBezTo>
                  <a:pt x="1565" y="322"/>
                  <a:pt x="1664" y="389"/>
                  <a:pt x="1714" y="418"/>
                </a:cubicBezTo>
                <a:cubicBezTo>
                  <a:pt x="1800" y="464"/>
                  <a:pt x="1805" y="471"/>
                  <a:pt x="1802" y="523"/>
                </a:cubicBezTo>
                <a:cubicBezTo>
                  <a:pt x="1798" y="571"/>
                  <a:pt x="1806" y="583"/>
                  <a:pt x="1858" y="613"/>
                </a:cubicBezTo>
                <a:lnTo>
                  <a:pt x="1917" y="647"/>
                </a:lnTo>
                <a:lnTo>
                  <a:pt x="1955" y="611"/>
                </a:lnTo>
                <a:cubicBezTo>
                  <a:pt x="1976" y="592"/>
                  <a:pt x="1997" y="576"/>
                  <a:pt x="2003" y="576"/>
                </a:cubicBezTo>
                <a:cubicBezTo>
                  <a:pt x="2008" y="576"/>
                  <a:pt x="2035" y="608"/>
                  <a:pt x="2064" y="648"/>
                </a:cubicBezTo>
                <a:cubicBezTo>
                  <a:pt x="2093" y="687"/>
                  <a:pt x="2125" y="720"/>
                  <a:pt x="2134" y="720"/>
                </a:cubicBezTo>
                <a:cubicBezTo>
                  <a:pt x="2146" y="720"/>
                  <a:pt x="2173" y="704"/>
                  <a:pt x="2197" y="687"/>
                </a:cubicBezTo>
                <a:cubicBezTo>
                  <a:pt x="2221" y="667"/>
                  <a:pt x="2243" y="655"/>
                  <a:pt x="2246" y="658"/>
                </a:cubicBezTo>
                <a:cubicBezTo>
                  <a:pt x="2248" y="661"/>
                  <a:pt x="2266" y="715"/>
                  <a:pt x="2285" y="778"/>
                </a:cubicBezTo>
                <a:cubicBezTo>
                  <a:pt x="2304" y="843"/>
                  <a:pt x="2336" y="909"/>
                  <a:pt x="2358" y="931"/>
                </a:cubicBezTo>
                <a:lnTo>
                  <a:pt x="2398" y="971"/>
                </a:lnTo>
                <a:lnTo>
                  <a:pt x="2365" y="1013"/>
                </a:lnTo>
                <a:cubicBezTo>
                  <a:pt x="2347" y="1037"/>
                  <a:pt x="2334" y="1066"/>
                  <a:pt x="2338" y="1077"/>
                </a:cubicBezTo>
                <a:cubicBezTo>
                  <a:pt x="2341" y="1090"/>
                  <a:pt x="2389" y="1136"/>
                  <a:pt x="2445" y="1183"/>
                </a:cubicBezTo>
                <a:lnTo>
                  <a:pt x="2546" y="1267"/>
                </a:lnTo>
                <a:lnTo>
                  <a:pt x="2456" y="1357"/>
                </a:lnTo>
                <a:cubicBezTo>
                  <a:pt x="2390" y="1424"/>
                  <a:pt x="2357" y="1475"/>
                  <a:pt x="2328" y="1555"/>
                </a:cubicBezTo>
                <a:cubicBezTo>
                  <a:pt x="2282" y="1675"/>
                  <a:pt x="2285" y="1704"/>
                  <a:pt x="2347" y="1719"/>
                </a:cubicBezTo>
                <a:cubicBezTo>
                  <a:pt x="2371" y="1725"/>
                  <a:pt x="2422" y="1765"/>
                  <a:pt x="2461" y="1808"/>
                </a:cubicBezTo>
                <a:lnTo>
                  <a:pt x="2531" y="1888"/>
                </a:lnTo>
                <a:lnTo>
                  <a:pt x="2488" y="1984"/>
                </a:lnTo>
                <a:cubicBezTo>
                  <a:pt x="2446" y="2077"/>
                  <a:pt x="2445" y="2088"/>
                  <a:pt x="2450" y="2319"/>
                </a:cubicBezTo>
                <a:cubicBezTo>
                  <a:pt x="2454" y="2544"/>
                  <a:pt x="2456" y="2559"/>
                  <a:pt x="2493" y="2599"/>
                </a:cubicBezTo>
                <a:cubicBezTo>
                  <a:pt x="2538" y="2645"/>
                  <a:pt x="2525" y="2671"/>
                  <a:pt x="2445" y="2704"/>
                </a:cubicBezTo>
                <a:cubicBezTo>
                  <a:pt x="2410" y="2719"/>
                  <a:pt x="2386" y="2747"/>
                  <a:pt x="2358" y="2810"/>
                </a:cubicBezTo>
                <a:cubicBezTo>
                  <a:pt x="2334" y="2864"/>
                  <a:pt x="2307" y="2901"/>
                  <a:pt x="2283" y="2909"/>
                </a:cubicBezTo>
                <a:cubicBezTo>
                  <a:pt x="2202" y="2941"/>
                  <a:pt x="2102" y="2944"/>
                  <a:pt x="2022" y="2920"/>
                </a:cubicBezTo>
                <a:cubicBezTo>
                  <a:pt x="1901" y="2883"/>
                  <a:pt x="1880" y="2888"/>
                  <a:pt x="1830" y="2960"/>
                </a:cubicBezTo>
                <a:cubicBezTo>
                  <a:pt x="1781" y="3032"/>
                  <a:pt x="1773" y="3034"/>
                  <a:pt x="1651" y="2999"/>
                </a:cubicBezTo>
                <a:cubicBezTo>
                  <a:pt x="1546" y="2968"/>
                  <a:pt x="1416" y="2975"/>
                  <a:pt x="1378" y="3015"/>
                </a:cubicBezTo>
                <a:cubicBezTo>
                  <a:pt x="1363" y="3029"/>
                  <a:pt x="1315" y="3103"/>
                  <a:pt x="1270" y="3179"/>
                </a:cubicBezTo>
                <a:cubicBezTo>
                  <a:pt x="1194" y="3312"/>
                  <a:pt x="1181" y="3325"/>
                  <a:pt x="989" y="3466"/>
                </a:cubicBezTo>
                <a:lnTo>
                  <a:pt x="789" y="3615"/>
                </a:lnTo>
                <a:lnTo>
                  <a:pt x="522" y="3647"/>
                </a:lnTo>
                <a:cubicBezTo>
                  <a:pt x="160" y="3691"/>
                  <a:pt x="144" y="3691"/>
                  <a:pt x="64" y="3627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5" name="Костромская область"/>
          <p:cNvSpPr>
            <a:spLocks/>
          </p:cNvSpPr>
          <p:nvPr/>
        </p:nvSpPr>
        <p:spPr bwMode="auto">
          <a:xfrm>
            <a:off x="1935341" y="3032076"/>
            <a:ext cx="439654" cy="200147"/>
          </a:xfrm>
          <a:custGeom>
            <a:avLst/>
            <a:gdLst/>
            <a:ahLst/>
            <a:cxnLst>
              <a:cxn ang="0">
                <a:pos x="922" y="645"/>
              </a:cxn>
              <a:cxn ang="0">
                <a:pos x="811" y="571"/>
              </a:cxn>
              <a:cxn ang="0">
                <a:pos x="752" y="607"/>
              </a:cxn>
              <a:cxn ang="0">
                <a:pos x="482" y="587"/>
              </a:cxn>
              <a:cxn ang="0">
                <a:pos x="406" y="496"/>
              </a:cxn>
              <a:cxn ang="0">
                <a:pos x="328" y="370"/>
              </a:cxn>
              <a:cxn ang="0">
                <a:pos x="203" y="303"/>
              </a:cxn>
              <a:cxn ang="0">
                <a:pos x="34" y="290"/>
              </a:cxn>
              <a:cxn ang="0">
                <a:pos x="240" y="114"/>
              </a:cxn>
              <a:cxn ang="0">
                <a:pos x="408" y="26"/>
              </a:cxn>
              <a:cxn ang="0">
                <a:pos x="589" y="0"/>
              </a:cxn>
              <a:cxn ang="0">
                <a:pos x="901" y="139"/>
              </a:cxn>
              <a:cxn ang="0">
                <a:pos x="1182" y="367"/>
              </a:cxn>
              <a:cxn ang="0">
                <a:pos x="1341" y="378"/>
              </a:cxn>
              <a:cxn ang="0">
                <a:pos x="1456" y="373"/>
              </a:cxn>
              <a:cxn ang="0">
                <a:pos x="1432" y="416"/>
              </a:cxn>
              <a:cxn ang="0">
                <a:pos x="1408" y="520"/>
              </a:cxn>
              <a:cxn ang="0">
                <a:pos x="1408" y="605"/>
              </a:cxn>
              <a:cxn ang="0">
                <a:pos x="1318" y="597"/>
              </a:cxn>
              <a:cxn ang="0">
                <a:pos x="1170" y="627"/>
              </a:cxn>
              <a:cxn ang="0">
                <a:pos x="922" y="645"/>
              </a:cxn>
            </a:cxnLst>
            <a:rect l="0" t="0" r="r" b="b"/>
            <a:pathLst>
              <a:path w="1456" h="730">
                <a:moveTo>
                  <a:pt x="922" y="645"/>
                </a:moveTo>
                <a:lnTo>
                  <a:pt x="811" y="571"/>
                </a:lnTo>
                <a:lnTo>
                  <a:pt x="752" y="607"/>
                </a:lnTo>
                <a:cubicBezTo>
                  <a:pt x="664" y="656"/>
                  <a:pt x="579" y="650"/>
                  <a:pt x="482" y="587"/>
                </a:cubicBezTo>
                <a:cubicBezTo>
                  <a:pt x="414" y="544"/>
                  <a:pt x="402" y="530"/>
                  <a:pt x="406" y="496"/>
                </a:cubicBezTo>
                <a:cubicBezTo>
                  <a:pt x="411" y="467"/>
                  <a:pt x="394" y="437"/>
                  <a:pt x="328" y="370"/>
                </a:cubicBezTo>
                <a:cubicBezTo>
                  <a:pt x="246" y="285"/>
                  <a:pt x="242" y="282"/>
                  <a:pt x="203" y="303"/>
                </a:cubicBezTo>
                <a:cubicBezTo>
                  <a:pt x="162" y="323"/>
                  <a:pt x="78" y="317"/>
                  <a:pt x="34" y="290"/>
                </a:cubicBezTo>
                <a:cubicBezTo>
                  <a:pt x="0" y="267"/>
                  <a:pt x="96" y="187"/>
                  <a:pt x="240" y="114"/>
                </a:cubicBezTo>
                <a:cubicBezTo>
                  <a:pt x="306" y="79"/>
                  <a:pt x="382" y="40"/>
                  <a:pt x="408" y="26"/>
                </a:cubicBezTo>
                <a:cubicBezTo>
                  <a:pt x="442" y="8"/>
                  <a:pt x="498" y="0"/>
                  <a:pt x="589" y="0"/>
                </a:cubicBezTo>
                <a:cubicBezTo>
                  <a:pt x="754" y="0"/>
                  <a:pt x="827" y="32"/>
                  <a:pt x="901" y="139"/>
                </a:cubicBezTo>
                <a:cubicBezTo>
                  <a:pt x="1010" y="296"/>
                  <a:pt x="1045" y="325"/>
                  <a:pt x="1182" y="367"/>
                </a:cubicBezTo>
                <a:cubicBezTo>
                  <a:pt x="1304" y="402"/>
                  <a:pt x="1314" y="403"/>
                  <a:pt x="1341" y="378"/>
                </a:cubicBezTo>
                <a:cubicBezTo>
                  <a:pt x="1378" y="346"/>
                  <a:pt x="1456" y="343"/>
                  <a:pt x="1456" y="373"/>
                </a:cubicBezTo>
                <a:cubicBezTo>
                  <a:pt x="1456" y="386"/>
                  <a:pt x="1445" y="405"/>
                  <a:pt x="1432" y="416"/>
                </a:cubicBezTo>
                <a:cubicBezTo>
                  <a:pt x="1416" y="429"/>
                  <a:pt x="1408" y="464"/>
                  <a:pt x="1408" y="520"/>
                </a:cubicBezTo>
                <a:lnTo>
                  <a:pt x="1408" y="605"/>
                </a:lnTo>
                <a:lnTo>
                  <a:pt x="1318" y="597"/>
                </a:lnTo>
                <a:cubicBezTo>
                  <a:pt x="1243" y="591"/>
                  <a:pt x="1219" y="595"/>
                  <a:pt x="1170" y="627"/>
                </a:cubicBezTo>
                <a:cubicBezTo>
                  <a:pt x="1016" y="730"/>
                  <a:pt x="1043" y="728"/>
                  <a:pt x="922" y="645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6" name="Иркутская область"/>
          <p:cNvSpPr>
            <a:spLocks/>
          </p:cNvSpPr>
          <p:nvPr/>
        </p:nvSpPr>
        <p:spPr bwMode="auto">
          <a:xfrm>
            <a:off x="5004840" y="3232223"/>
            <a:ext cx="1263383" cy="1296604"/>
          </a:xfrm>
          <a:custGeom>
            <a:avLst/>
            <a:gdLst/>
            <a:ahLst/>
            <a:cxnLst>
              <a:cxn ang="0">
                <a:pos x="1845" y="4693"/>
              </a:cxn>
              <a:cxn ang="0">
                <a:pos x="1506" y="4461"/>
              </a:cxn>
              <a:cxn ang="0">
                <a:pos x="1063" y="4231"/>
              </a:cxn>
              <a:cxn ang="0">
                <a:pos x="759" y="4274"/>
              </a:cxn>
              <a:cxn ang="0">
                <a:pos x="476" y="4194"/>
              </a:cxn>
              <a:cxn ang="0">
                <a:pos x="72" y="4021"/>
              </a:cxn>
              <a:cxn ang="0">
                <a:pos x="80" y="3869"/>
              </a:cxn>
              <a:cxn ang="0">
                <a:pos x="191" y="3645"/>
              </a:cxn>
              <a:cxn ang="0">
                <a:pos x="311" y="3189"/>
              </a:cxn>
              <a:cxn ang="0">
                <a:pos x="322" y="2984"/>
              </a:cxn>
              <a:cxn ang="0">
                <a:pos x="320" y="2717"/>
              </a:cxn>
              <a:cxn ang="0">
                <a:pos x="460" y="2613"/>
              </a:cxn>
              <a:cxn ang="0">
                <a:pos x="674" y="2512"/>
              </a:cxn>
              <a:cxn ang="0">
                <a:pos x="869" y="2682"/>
              </a:cxn>
              <a:cxn ang="0">
                <a:pos x="1045" y="2311"/>
              </a:cxn>
              <a:cxn ang="0">
                <a:pos x="1144" y="2066"/>
              </a:cxn>
              <a:cxn ang="0">
                <a:pos x="1332" y="2024"/>
              </a:cxn>
              <a:cxn ang="0">
                <a:pos x="1600" y="2063"/>
              </a:cxn>
              <a:cxn ang="0">
                <a:pos x="1600" y="1796"/>
              </a:cxn>
              <a:cxn ang="0">
                <a:pos x="1584" y="1554"/>
              </a:cxn>
              <a:cxn ang="0">
                <a:pos x="1434" y="1391"/>
              </a:cxn>
              <a:cxn ang="0">
                <a:pos x="1424" y="1167"/>
              </a:cxn>
              <a:cxn ang="0">
                <a:pos x="1594" y="767"/>
              </a:cxn>
              <a:cxn ang="0">
                <a:pos x="1562" y="535"/>
              </a:cxn>
              <a:cxn ang="0">
                <a:pos x="1514" y="314"/>
              </a:cxn>
              <a:cxn ang="0">
                <a:pos x="1634" y="69"/>
              </a:cxn>
              <a:cxn ang="0">
                <a:pos x="1724" y="104"/>
              </a:cxn>
              <a:cxn ang="0">
                <a:pos x="1893" y="213"/>
              </a:cxn>
              <a:cxn ang="0">
                <a:pos x="2020" y="456"/>
              </a:cxn>
              <a:cxn ang="0">
                <a:pos x="2144" y="631"/>
              </a:cxn>
              <a:cxn ang="0">
                <a:pos x="2303" y="957"/>
              </a:cxn>
              <a:cxn ang="0">
                <a:pos x="2316" y="1634"/>
              </a:cxn>
              <a:cxn ang="0">
                <a:pos x="2567" y="1696"/>
              </a:cxn>
              <a:cxn ang="0">
                <a:pos x="2933" y="1541"/>
              </a:cxn>
              <a:cxn ang="0">
                <a:pos x="3064" y="1522"/>
              </a:cxn>
              <a:cxn ang="0">
                <a:pos x="3207" y="1112"/>
              </a:cxn>
              <a:cxn ang="0">
                <a:pos x="3624" y="1005"/>
              </a:cxn>
              <a:cxn ang="0">
                <a:pos x="3816" y="1069"/>
              </a:cxn>
              <a:cxn ang="0">
                <a:pos x="4189" y="1381"/>
              </a:cxn>
              <a:cxn ang="0">
                <a:pos x="3920" y="1572"/>
              </a:cxn>
              <a:cxn ang="0">
                <a:pos x="4109" y="1940"/>
              </a:cxn>
              <a:cxn ang="0">
                <a:pos x="3852" y="2064"/>
              </a:cxn>
              <a:cxn ang="0">
                <a:pos x="3858" y="1941"/>
              </a:cxn>
              <a:cxn ang="0">
                <a:pos x="3639" y="2120"/>
              </a:cxn>
              <a:cxn ang="0">
                <a:pos x="3391" y="2341"/>
              </a:cxn>
              <a:cxn ang="0">
                <a:pos x="3183" y="2287"/>
              </a:cxn>
              <a:cxn ang="0">
                <a:pos x="2951" y="2341"/>
              </a:cxn>
              <a:cxn ang="0">
                <a:pos x="2672" y="2469"/>
              </a:cxn>
              <a:cxn ang="0">
                <a:pos x="2495" y="2668"/>
              </a:cxn>
              <a:cxn ang="0">
                <a:pos x="2588" y="2812"/>
              </a:cxn>
              <a:cxn ang="0">
                <a:pos x="2624" y="3191"/>
              </a:cxn>
              <a:cxn ang="0">
                <a:pos x="2688" y="3660"/>
              </a:cxn>
              <a:cxn ang="0">
                <a:pos x="2488" y="4055"/>
              </a:cxn>
              <a:cxn ang="0">
                <a:pos x="2175" y="4484"/>
              </a:cxn>
              <a:cxn ang="0">
                <a:pos x="2005" y="4725"/>
              </a:cxn>
              <a:cxn ang="0">
                <a:pos x="1917" y="4735"/>
              </a:cxn>
            </a:cxnLst>
            <a:rect l="0" t="0" r="r" b="b"/>
            <a:pathLst>
              <a:path w="4192" h="4764">
                <a:moveTo>
                  <a:pt x="1917" y="4735"/>
                </a:moveTo>
                <a:cubicBezTo>
                  <a:pt x="1911" y="4714"/>
                  <a:pt x="1888" y="4701"/>
                  <a:pt x="1845" y="4693"/>
                </a:cubicBezTo>
                <a:cubicBezTo>
                  <a:pt x="1789" y="4684"/>
                  <a:pt x="1783" y="4677"/>
                  <a:pt x="1788" y="4647"/>
                </a:cubicBezTo>
                <a:cubicBezTo>
                  <a:pt x="1799" y="4594"/>
                  <a:pt x="1596" y="4461"/>
                  <a:pt x="1506" y="4461"/>
                </a:cubicBezTo>
                <a:cubicBezTo>
                  <a:pt x="1460" y="4461"/>
                  <a:pt x="1388" y="4434"/>
                  <a:pt x="1258" y="4370"/>
                </a:cubicBezTo>
                <a:cubicBezTo>
                  <a:pt x="1093" y="4290"/>
                  <a:pt x="1072" y="4274"/>
                  <a:pt x="1063" y="4231"/>
                </a:cubicBezTo>
                <a:cubicBezTo>
                  <a:pt x="1042" y="4130"/>
                  <a:pt x="964" y="4128"/>
                  <a:pt x="868" y="4228"/>
                </a:cubicBezTo>
                <a:cubicBezTo>
                  <a:pt x="799" y="4298"/>
                  <a:pt x="797" y="4300"/>
                  <a:pt x="759" y="4274"/>
                </a:cubicBezTo>
                <a:cubicBezTo>
                  <a:pt x="727" y="4253"/>
                  <a:pt x="711" y="4252"/>
                  <a:pt x="679" y="4266"/>
                </a:cubicBezTo>
                <a:cubicBezTo>
                  <a:pt x="642" y="4284"/>
                  <a:pt x="621" y="4276"/>
                  <a:pt x="476" y="4194"/>
                </a:cubicBezTo>
                <a:cubicBezTo>
                  <a:pt x="336" y="4117"/>
                  <a:pt x="300" y="4103"/>
                  <a:pt x="228" y="4101"/>
                </a:cubicBezTo>
                <a:cubicBezTo>
                  <a:pt x="146" y="4101"/>
                  <a:pt x="140" y="4096"/>
                  <a:pt x="72" y="4021"/>
                </a:cubicBezTo>
                <a:cubicBezTo>
                  <a:pt x="34" y="3976"/>
                  <a:pt x="2" y="3936"/>
                  <a:pt x="0" y="3930"/>
                </a:cubicBezTo>
                <a:cubicBezTo>
                  <a:pt x="0" y="3925"/>
                  <a:pt x="37" y="3896"/>
                  <a:pt x="80" y="3869"/>
                </a:cubicBezTo>
                <a:cubicBezTo>
                  <a:pt x="125" y="3840"/>
                  <a:pt x="160" y="3816"/>
                  <a:pt x="162" y="3815"/>
                </a:cubicBezTo>
                <a:cubicBezTo>
                  <a:pt x="162" y="3813"/>
                  <a:pt x="175" y="3736"/>
                  <a:pt x="191" y="3645"/>
                </a:cubicBezTo>
                <a:cubicBezTo>
                  <a:pt x="216" y="3498"/>
                  <a:pt x="216" y="3469"/>
                  <a:pt x="199" y="3415"/>
                </a:cubicBezTo>
                <a:cubicBezTo>
                  <a:pt x="173" y="3344"/>
                  <a:pt x="165" y="3360"/>
                  <a:pt x="311" y="3189"/>
                </a:cubicBezTo>
                <a:lnTo>
                  <a:pt x="373" y="3116"/>
                </a:lnTo>
                <a:lnTo>
                  <a:pt x="322" y="2984"/>
                </a:lnTo>
                <a:cubicBezTo>
                  <a:pt x="295" y="2911"/>
                  <a:pt x="272" y="2842"/>
                  <a:pt x="272" y="2831"/>
                </a:cubicBezTo>
                <a:cubicBezTo>
                  <a:pt x="272" y="2821"/>
                  <a:pt x="293" y="2770"/>
                  <a:pt x="320" y="2717"/>
                </a:cubicBezTo>
                <a:lnTo>
                  <a:pt x="368" y="2623"/>
                </a:lnTo>
                <a:lnTo>
                  <a:pt x="460" y="2613"/>
                </a:lnTo>
                <a:cubicBezTo>
                  <a:pt x="604" y="2597"/>
                  <a:pt x="616" y="2592"/>
                  <a:pt x="640" y="2549"/>
                </a:cubicBezTo>
                <a:cubicBezTo>
                  <a:pt x="653" y="2527"/>
                  <a:pt x="668" y="2509"/>
                  <a:pt x="674" y="2512"/>
                </a:cubicBezTo>
                <a:cubicBezTo>
                  <a:pt x="680" y="2514"/>
                  <a:pt x="716" y="2556"/>
                  <a:pt x="752" y="2602"/>
                </a:cubicBezTo>
                <a:cubicBezTo>
                  <a:pt x="810" y="2676"/>
                  <a:pt x="824" y="2685"/>
                  <a:pt x="869" y="2682"/>
                </a:cubicBezTo>
                <a:cubicBezTo>
                  <a:pt x="920" y="2677"/>
                  <a:pt x="920" y="2676"/>
                  <a:pt x="922" y="2588"/>
                </a:cubicBezTo>
                <a:cubicBezTo>
                  <a:pt x="922" y="2504"/>
                  <a:pt x="930" y="2487"/>
                  <a:pt x="1045" y="2311"/>
                </a:cubicBezTo>
                <a:lnTo>
                  <a:pt x="1168" y="2125"/>
                </a:lnTo>
                <a:lnTo>
                  <a:pt x="1144" y="2066"/>
                </a:lnTo>
                <a:cubicBezTo>
                  <a:pt x="1111" y="1988"/>
                  <a:pt x="1112" y="1983"/>
                  <a:pt x="1176" y="1972"/>
                </a:cubicBezTo>
                <a:cubicBezTo>
                  <a:pt x="1223" y="1964"/>
                  <a:pt x="1247" y="1972"/>
                  <a:pt x="1332" y="2024"/>
                </a:cubicBezTo>
                <a:cubicBezTo>
                  <a:pt x="1431" y="2087"/>
                  <a:pt x="1541" y="2125"/>
                  <a:pt x="1581" y="2112"/>
                </a:cubicBezTo>
                <a:cubicBezTo>
                  <a:pt x="1591" y="2109"/>
                  <a:pt x="1600" y="2087"/>
                  <a:pt x="1600" y="2063"/>
                </a:cubicBezTo>
                <a:cubicBezTo>
                  <a:pt x="1600" y="2040"/>
                  <a:pt x="1615" y="1989"/>
                  <a:pt x="1632" y="1951"/>
                </a:cubicBezTo>
                <a:cubicBezTo>
                  <a:pt x="1676" y="1855"/>
                  <a:pt x="1674" y="1844"/>
                  <a:pt x="1600" y="1796"/>
                </a:cubicBezTo>
                <a:cubicBezTo>
                  <a:pt x="1530" y="1749"/>
                  <a:pt x="1527" y="1736"/>
                  <a:pt x="1560" y="1677"/>
                </a:cubicBezTo>
                <a:cubicBezTo>
                  <a:pt x="1573" y="1655"/>
                  <a:pt x="1584" y="1599"/>
                  <a:pt x="1584" y="1554"/>
                </a:cubicBezTo>
                <a:cubicBezTo>
                  <a:pt x="1584" y="1474"/>
                  <a:pt x="1583" y="1471"/>
                  <a:pt x="1532" y="1453"/>
                </a:cubicBezTo>
                <a:cubicBezTo>
                  <a:pt x="1501" y="1444"/>
                  <a:pt x="1458" y="1415"/>
                  <a:pt x="1434" y="1391"/>
                </a:cubicBezTo>
                <a:cubicBezTo>
                  <a:pt x="1394" y="1348"/>
                  <a:pt x="1391" y="1340"/>
                  <a:pt x="1407" y="1282"/>
                </a:cubicBezTo>
                <a:cubicBezTo>
                  <a:pt x="1416" y="1248"/>
                  <a:pt x="1424" y="1196"/>
                  <a:pt x="1424" y="1167"/>
                </a:cubicBezTo>
                <a:cubicBezTo>
                  <a:pt x="1424" y="1125"/>
                  <a:pt x="1442" y="1092"/>
                  <a:pt x="1495" y="1031"/>
                </a:cubicBezTo>
                <a:cubicBezTo>
                  <a:pt x="1562" y="951"/>
                  <a:pt x="1565" y="941"/>
                  <a:pt x="1594" y="767"/>
                </a:cubicBezTo>
                <a:lnTo>
                  <a:pt x="1623" y="586"/>
                </a:lnTo>
                <a:lnTo>
                  <a:pt x="1562" y="535"/>
                </a:lnTo>
                <a:lnTo>
                  <a:pt x="1501" y="485"/>
                </a:lnTo>
                <a:lnTo>
                  <a:pt x="1514" y="314"/>
                </a:lnTo>
                <a:lnTo>
                  <a:pt x="1525" y="143"/>
                </a:lnTo>
                <a:lnTo>
                  <a:pt x="1634" y="69"/>
                </a:lnTo>
                <a:cubicBezTo>
                  <a:pt x="1732" y="5"/>
                  <a:pt x="1744" y="0"/>
                  <a:pt x="1759" y="24"/>
                </a:cubicBezTo>
                <a:cubicBezTo>
                  <a:pt x="1772" y="47"/>
                  <a:pt x="1764" y="64"/>
                  <a:pt x="1724" y="104"/>
                </a:cubicBezTo>
                <a:cubicBezTo>
                  <a:pt x="1663" y="168"/>
                  <a:pt x="1674" y="183"/>
                  <a:pt x="1799" y="199"/>
                </a:cubicBezTo>
                <a:lnTo>
                  <a:pt x="1893" y="213"/>
                </a:lnTo>
                <a:lnTo>
                  <a:pt x="1954" y="312"/>
                </a:lnTo>
                <a:cubicBezTo>
                  <a:pt x="1988" y="367"/>
                  <a:pt x="2016" y="432"/>
                  <a:pt x="2020" y="456"/>
                </a:cubicBezTo>
                <a:cubicBezTo>
                  <a:pt x="2023" y="487"/>
                  <a:pt x="2045" y="514"/>
                  <a:pt x="2092" y="544"/>
                </a:cubicBezTo>
                <a:cubicBezTo>
                  <a:pt x="2152" y="586"/>
                  <a:pt x="2157" y="594"/>
                  <a:pt x="2144" y="631"/>
                </a:cubicBezTo>
                <a:cubicBezTo>
                  <a:pt x="2135" y="653"/>
                  <a:pt x="2128" y="685"/>
                  <a:pt x="2128" y="701"/>
                </a:cubicBezTo>
                <a:cubicBezTo>
                  <a:pt x="2128" y="746"/>
                  <a:pt x="2272" y="957"/>
                  <a:pt x="2303" y="957"/>
                </a:cubicBezTo>
                <a:cubicBezTo>
                  <a:pt x="2372" y="957"/>
                  <a:pt x="2373" y="967"/>
                  <a:pt x="2344" y="1309"/>
                </a:cubicBezTo>
                <a:lnTo>
                  <a:pt x="2316" y="1634"/>
                </a:lnTo>
                <a:lnTo>
                  <a:pt x="2378" y="1687"/>
                </a:lnTo>
                <a:cubicBezTo>
                  <a:pt x="2472" y="1768"/>
                  <a:pt x="2490" y="1768"/>
                  <a:pt x="2567" y="1696"/>
                </a:cubicBezTo>
                <a:cubicBezTo>
                  <a:pt x="2629" y="1637"/>
                  <a:pt x="2852" y="1485"/>
                  <a:pt x="2877" y="1485"/>
                </a:cubicBezTo>
                <a:cubicBezTo>
                  <a:pt x="2884" y="1485"/>
                  <a:pt x="2909" y="1509"/>
                  <a:pt x="2933" y="1541"/>
                </a:cubicBezTo>
                <a:cubicBezTo>
                  <a:pt x="2957" y="1572"/>
                  <a:pt x="2984" y="1597"/>
                  <a:pt x="2992" y="1597"/>
                </a:cubicBezTo>
                <a:cubicBezTo>
                  <a:pt x="3000" y="1597"/>
                  <a:pt x="3032" y="1564"/>
                  <a:pt x="3064" y="1522"/>
                </a:cubicBezTo>
                <a:cubicBezTo>
                  <a:pt x="3111" y="1461"/>
                  <a:pt x="3120" y="1434"/>
                  <a:pt x="3120" y="1372"/>
                </a:cubicBezTo>
                <a:cubicBezTo>
                  <a:pt x="3120" y="1312"/>
                  <a:pt x="3140" y="1253"/>
                  <a:pt x="3207" y="1112"/>
                </a:cubicBezTo>
                <a:cubicBezTo>
                  <a:pt x="3292" y="932"/>
                  <a:pt x="3293" y="930"/>
                  <a:pt x="3354" y="919"/>
                </a:cubicBezTo>
                <a:cubicBezTo>
                  <a:pt x="3501" y="895"/>
                  <a:pt x="3522" y="901"/>
                  <a:pt x="3624" y="1005"/>
                </a:cubicBezTo>
                <a:cubicBezTo>
                  <a:pt x="3677" y="1058"/>
                  <a:pt x="3727" y="1101"/>
                  <a:pt x="3736" y="1100"/>
                </a:cubicBezTo>
                <a:cubicBezTo>
                  <a:pt x="3744" y="1100"/>
                  <a:pt x="3781" y="1085"/>
                  <a:pt x="3816" y="1069"/>
                </a:cubicBezTo>
                <a:cubicBezTo>
                  <a:pt x="3852" y="1052"/>
                  <a:pt x="3893" y="1037"/>
                  <a:pt x="3908" y="1037"/>
                </a:cubicBezTo>
                <a:cubicBezTo>
                  <a:pt x="3935" y="1037"/>
                  <a:pt x="4178" y="1335"/>
                  <a:pt x="4189" y="1381"/>
                </a:cubicBezTo>
                <a:cubicBezTo>
                  <a:pt x="4192" y="1396"/>
                  <a:pt x="4162" y="1405"/>
                  <a:pt x="4072" y="1413"/>
                </a:cubicBezTo>
                <a:cubicBezTo>
                  <a:pt x="3932" y="1426"/>
                  <a:pt x="3920" y="1437"/>
                  <a:pt x="3920" y="1572"/>
                </a:cubicBezTo>
                <a:cubicBezTo>
                  <a:pt x="3920" y="1692"/>
                  <a:pt x="3965" y="1783"/>
                  <a:pt x="4032" y="1797"/>
                </a:cubicBezTo>
                <a:cubicBezTo>
                  <a:pt x="4088" y="1808"/>
                  <a:pt x="4117" y="1861"/>
                  <a:pt x="4109" y="1940"/>
                </a:cubicBezTo>
                <a:cubicBezTo>
                  <a:pt x="4103" y="1999"/>
                  <a:pt x="4042" y="2037"/>
                  <a:pt x="3930" y="2053"/>
                </a:cubicBezTo>
                <a:lnTo>
                  <a:pt x="3852" y="2064"/>
                </a:lnTo>
                <a:lnTo>
                  <a:pt x="3879" y="2028"/>
                </a:lnTo>
                <a:cubicBezTo>
                  <a:pt x="3914" y="1976"/>
                  <a:pt x="3912" y="1970"/>
                  <a:pt x="3858" y="1941"/>
                </a:cubicBezTo>
                <a:cubicBezTo>
                  <a:pt x="3813" y="1919"/>
                  <a:pt x="3810" y="1919"/>
                  <a:pt x="3730" y="1983"/>
                </a:cubicBezTo>
                <a:cubicBezTo>
                  <a:pt x="3661" y="2040"/>
                  <a:pt x="3648" y="2060"/>
                  <a:pt x="3639" y="2120"/>
                </a:cubicBezTo>
                <a:cubicBezTo>
                  <a:pt x="3632" y="2167"/>
                  <a:pt x="3612" y="2212"/>
                  <a:pt x="3580" y="2247"/>
                </a:cubicBezTo>
                <a:cubicBezTo>
                  <a:pt x="3519" y="2317"/>
                  <a:pt x="3500" y="2327"/>
                  <a:pt x="3391" y="2341"/>
                </a:cubicBezTo>
                <a:cubicBezTo>
                  <a:pt x="3301" y="2352"/>
                  <a:pt x="3301" y="2352"/>
                  <a:pt x="3284" y="2303"/>
                </a:cubicBezTo>
                <a:cubicBezTo>
                  <a:pt x="3263" y="2244"/>
                  <a:pt x="3245" y="2240"/>
                  <a:pt x="3183" y="2287"/>
                </a:cubicBezTo>
                <a:cubicBezTo>
                  <a:pt x="3138" y="2317"/>
                  <a:pt x="3132" y="2319"/>
                  <a:pt x="3066" y="2296"/>
                </a:cubicBezTo>
                <a:cubicBezTo>
                  <a:pt x="2986" y="2268"/>
                  <a:pt x="2967" y="2276"/>
                  <a:pt x="2951" y="2341"/>
                </a:cubicBezTo>
                <a:cubicBezTo>
                  <a:pt x="2936" y="2404"/>
                  <a:pt x="2920" y="2412"/>
                  <a:pt x="2813" y="2413"/>
                </a:cubicBezTo>
                <a:cubicBezTo>
                  <a:pt x="2698" y="2413"/>
                  <a:pt x="2672" y="2423"/>
                  <a:pt x="2672" y="2469"/>
                </a:cubicBezTo>
                <a:cubicBezTo>
                  <a:pt x="2672" y="2514"/>
                  <a:pt x="2656" y="2530"/>
                  <a:pt x="2568" y="2578"/>
                </a:cubicBezTo>
                <a:cubicBezTo>
                  <a:pt x="2520" y="2605"/>
                  <a:pt x="2503" y="2626"/>
                  <a:pt x="2495" y="2668"/>
                </a:cubicBezTo>
                <a:cubicBezTo>
                  <a:pt x="2482" y="2733"/>
                  <a:pt x="2490" y="2760"/>
                  <a:pt x="2527" y="2772"/>
                </a:cubicBezTo>
                <a:cubicBezTo>
                  <a:pt x="2543" y="2776"/>
                  <a:pt x="2570" y="2796"/>
                  <a:pt x="2588" y="2812"/>
                </a:cubicBezTo>
                <a:cubicBezTo>
                  <a:pt x="2620" y="2842"/>
                  <a:pt x="2621" y="2847"/>
                  <a:pt x="2597" y="2938"/>
                </a:cubicBezTo>
                <a:cubicBezTo>
                  <a:pt x="2573" y="3034"/>
                  <a:pt x="2573" y="3036"/>
                  <a:pt x="2624" y="3191"/>
                </a:cubicBezTo>
                <a:cubicBezTo>
                  <a:pt x="2653" y="3279"/>
                  <a:pt x="2682" y="3356"/>
                  <a:pt x="2690" y="3364"/>
                </a:cubicBezTo>
                <a:cubicBezTo>
                  <a:pt x="2709" y="3384"/>
                  <a:pt x="2708" y="3532"/>
                  <a:pt x="2688" y="3660"/>
                </a:cubicBezTo>
                <a:cubicBezTo>
                  <a:pt x="2679" y="3717"/>
                  <a:pt x="2668" y="3788"/>
                  <a:pt x="2663" y="3815"/>
                </a:cubicBezTo>
                <a:cubicBezTo>
                  <a:pt x="2658" y="3850"/>
                  <a:pt x="2605" y="3922"/>
                  <a:pt x="2488" y="4055"/>
                </a:cubicBezTo>
                <a:cubicBezTo>
                  <a:pt x="2386" y="4170"/>
                  <a:pt x="2314" y="4268"/>
                  <a:pt x="2303" y="4303"/>
                </a:cubicBezTo>
                <a:cubicBezTo>
                  <a:pt x="2293" y="4335"/>
                  <a:pt x="2236" y="4416"/>
                  <a:pt x="2175" y="4484"/>
                </a:cubicBezTo>
                <a:cubicBezTo>
                  <a:pt x="2095" y="4573"/>
                  <a:pt x="2064" y="4618"/>
                  <a:pt x="2064" y="4650"/>
                </a:cubicBezTo>
                <a:cubicBezTo>
                  <a:pt x="2064" y="4685"/>
                  <a:pt x="2052" y="4701"/>
                  <a:pt x="2005" y="4725"/>
                </a:cubicBezTo>
                <a:cubicBezTo>
                  <a:pt x="1972" y="4743"/>
                  <a:pt x="1940" y="4759"/>
                  <a:pt x="1935" y="4760"/>
                </a:cubicBezTo>
                <a:cubicBezTo>
                  <a:pt x="1928" y="4764"/>
                  <a:pt x="1920" y="4752"/>
                  <a:pt x="1917" y="4735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7" name="Кабардино-Балкарская республика"/>
          <p:cNvSpPr>
            <a:spLocks/>
          </p:cNvSpPr>
          <p:nvPr/>
        </p:nvSpPr>
        <p:spPr bwMode="auto">
          <a:xfrm>
            <a:off x="1043410" y="4241660"/>
            <a:ext cx="161868" cy="95722"/>
          </a:xfrm>
          <a:custGeom>
            <a:avLst/>
            <a:gdLst/>
            <a:ahLst/>
            <a:cxnLst>
              <a:cxn ang="0">
                <a:pos x="93" y="251"/>
              </a:cxn>
              <a:cxn ang="0">
                <a:pos x="32" y="117"/>
              </a:cxn>
              <a:cxn ang="0">
                <a:pos x="0" y="82"/>
              </a:cxn>
              <a:cxn ang="0">
                <a:pos x="80" y="42"/>
              </a:cxn>
              <a:cxn ang="0">
                <a:pos x="160" y="0"/>
              </a:cxn>
              <a:cxn ang="0">
                <a:pos x="246" y="48"/>
              </a:cxn>
              <a:cxn ang="0">
                <a:pos x="438" y="152"/>
              </a:cxn>
              <a:cxn ang="0">
                <a:pos x="545" y="208"/>
              </a:cxn>
              <a:cxn ang="0">
                <a:pos x="513" y="263"/>
              </a:cxn>
              <a:cxn ang="0">
                <a:pos x="389" y="307"/>
              </a:cxn>
              <a:cxn ang="0">
                <a:pos x="217" y="325"/>
              </a:cxn>
              <a:cxn ang="0">
                <a:pos x="131" y="352"/>
              </a:cxn>
              <a:cxn ang="0">
                <a:pos x="93" y="251"/>
              </a:cxn>
            </a:cxnLst>
            <a:rect l="0" t="0" r="r" b="b"/>
            <a:pathLst>
              <a:path w="545" h="352">
                <a:moveTo>
                  <a:pt x="93" y="251"/>
                </a:moveTo>
                <a:cubicBezTo>
                  <a:pt x="77" y="197"/>
                  <a:pt x="51" y="136"/>
                  <a:pt x="32" y="117"/>
                </a:cubicBezTo>
                <a:lnTo>
                  <a:pt x="0" y="82"/>
                </a:lnTo>
                <a:lnTo>
                  <a:pt x="80" y="42"/>
                </a:lnTo>
                <a:lnTo>
                  <a:pt x="160" y="0"/>
                </a:lnTo>
                <a:lnTo>
                  <a:pt x="246" y="48"/>
                </a:lnTo>
                <a:cubicBezTo>
                  <a:pt x="293" y="74"/>
                  <a:pt x="379" y="120"/>
                  <a:pt x="438" y="152"/>
                </a:cubicBezTo>
                <a:lnTo>
                  <a:pt x="545" y="208"/>
                </a:lnTo>
                <a:lnTo>
                  <a:pt x="513" y="263"/>
                </a:lnTo>
                <a:cubicBezTo>
                  <a:pt x="481" y="315"/>
                  <a:pt x="481" y="317"/>
                  <a:pt x="389" y="307"/>
                </a:cubicBezTo>
                <a:cubicBezTo>
                  <a:pt x="325" y="303"/>
                  <a:pt x="270" y="307"/>
                  <a:pt x="217" y="325"/>
                </a:cubicBezTo>
                <a:cubicBezTo>
                  <a:pt x="176" y="339"/>
                  <a:pt x="137" y="352"/>
                  <a:pt x="131" y="352"/>
                </a:cubicBezTo>
                <a:cubicBezTo>
                  <a:pt x="125" y="352"/>
                  <a:pt x="109" y="307"/>
                  <a:pt x="93" y="251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9" name="Калужская область"/>
          <p:cNvSpPr>
            <a:spLocks/>
          </p:cNvSpPr>
          <p:nvPr/>
        </p:nvSpPr>
        <p:spPr bwMode="auto">
          <a:xfrm>
            <a:off x="1370357" y="3062533"/>
            <a:ext cx="228519" cy="139233"/>
          </a:xfrm>
          <a:custGeom>
            <a:avLst/>
            <a:gdLst/>
            <a:ahLst/>
            <a:cxnLst>
              <a:cxn ang="0">
                <a:pos x="78" y="465"/>
              </a:cxn>
              <a:cxn ang="0">
                <a:pos x="8" y="389"/>
              </a:cxn>
              <a:cxn ang="0">
                <a:pos x="65" y="270"/>
              </a:cxn>
              <a:cxn ang="0">
                <a:pos x="105" y="110"/>
              </a:cxn>
              <a:cxn ang="0">
                <a:pos x="123" y="8"/>
              </a:cxn>
              <a:cxn ang="0">
                <a:pos x="195" y="37"/>
              </a:cxn>
              <a:cxn ang="0">
                <a:pos x="389" y="69"/>
              </a:cxn>
              <a:cxn ang="0">
                <a:pos x="579" y="54"/>
              </a:cxn>
              <a:cxn ang="0">
                <a:pos x="646" y="94"/>
              </a:cxn>
              <a:cxn ang="0">
                <a:pos x="697" y="142"/>
              </a:cxn>
              <a:cxn ang="0">
                <a:pos x="771" y="267"/>
              </a:cxn>
              <a:cxn ang="0">
                <a:pos x="721" y="368"/>
              </a:cxn>
              <a:cxn ang="0">
                <a:pos x="528" y="389"/>
              </a:cxn>
              <a:cxn ang="0">
                <a:pos x="454" y="363"/>
              </a:cxn>
              <a:cxn ang="0">
                <a:pos x="350" y="429"/>
              </a:cxn>
              <a:cxn ang="0">
                <a:pos x="78" y="465"/>
              </a:cxn>
            </a:cxnLst>
            <a:rect l="0" t="0" r="r" b="b"/>
            <a:pathLst>
              <a:path w="771" h="505">
                <a:moveTo>
                  <a:pt x="78" y="465"/>
                </a:moveTo>
                <a:cubicBezTo>
                  <a:pt x="3" y="440"/>
                  <a:pt x="0" y="437"/>
                  <a:pt x="8" y="389"/>
                </a:cubicBezTo>
                <a:cubicBezTo>
                  <a:pt x="13" y="360"/>
                  <a:pt x="38" y="307"/>
                  <a:pt x="65" y="270"/>
                </a:cubicBezTo>
                <a:cubicBezTo>
                  <a:pt x="110" y="208"/>
                  <a:pt x="113" y="195"/>
                  <a:pt x="105" y="110"/>
                </a:cubicBezTo>
                <a:cubicBezTo>
                  <a:pt x="96" y="32"/>
                  <a:pt x="99" y="17"/>
                  <a:pt x="123" y="8"/>
                </a:cubicBezTo>
                <a:cubicBezTo>
                  <a:pt x="142" y="0"/>
                  <a:pt x="166" y="9"/>
                  <a:pt x="195" y="37"/>
                </a:cubicBezTo>
                <a:cubicBezTo>
                  <a:pt x="235" y="77"/>
                  <a:pt x="243" y="78"/>
                  <a:pt x="389" y="69"/>
                </a:cubicBezTo>
                <a:cubicBezTo>
                  <a:pt x="472" y="64"/>
                  <a:pt x="557" y="57"/>
                  <a:pt x="579" y="54"/>
                </a:cubicBezTo>
                <a:cubicBezTo>
                  <a:pt x="611" y="49"/>
                  <a:pt x="625" y="59"/>
                  <a:pt x="646" y="94"/>
                </a:cubicBezTo>
                <a:cubicBezTo>
                  <a:pt x="662" y="121"/>
                  <a:pt x="685" y="142"/>
                  <a:pt x="697" y="142"/>
                </a:cubicBezTo>
                <a:cubicBezTo>
                  <a:pt x="733" y="142"/>
                  <a:pt x="771" y="206"/>
                  <a:pt x="771" y="267"/>
                </a:cubicBezTo>
                <a:cubicBezTo>
                  <a:pt x="771" y="307"/>
                  <a:pt x="758" y="333"/>
                  <a:pt x="721" y="368"/>
                </a:cubicBezTo>
                <a:cubicBezTo>
                  <a:pt x="665" y="421"/>
                  <a:pt x="630" y="424"/>
                  <a:pt x="528" y="389"/>
                </a:cubicBezTo>
                <a:lnTo>
                  <a:pt x="454" y="363"/>
                </a:lnTo>
                <a:lnTo>
                  <a:pt x="350" y="429"/>
                </a:lnTo>
                <a:cubicBezTo>
                  <a:pt x="238" y="501"/>
                  <a:pt x="200" y="505"/>
                  <a:pt x="78" y="465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50" name="Карачаево-Черкесская республика"/>
          <p:cNvSpPr>
            <a:spLocks/>
          </p:cNvSpPr>
          <p:nvPr/>
        </p:nvSpPr>
        <p:spPr bwMode="auto">
          <a:xfrm>
            <a:off x="954505" y="4137236"/>
            <a:ext cx="141273" cy="121829"/>
          </a:xfrm>
          <a:custGeom>
            <a:avLst/>
            <a:gdLst/>
            <a:ahLst/>
            <a:cxnLst>
              <a:cxn ang="0">
                <a:pos x="227" y="416"/>
              </a:cxn>
              <a:cxn ang="0">
                <a:pos x="11" y="73"/>
              </a:cxn>
              <a:cxn ang="0">
                <a:pos x="96" y="33"/>
              </a:cxn>
              <a:cxn ang="0">
                <a:pos x="174" y="0"/>
              </a:cxn>
              <a:cxn ang="0">
                <a:pos x="224" y="59"/>
              </a:cxn>
              <a:cxn ang="0">
                <a:pos x="275" y="118"/>
              </a:cxn>
              <a:cxn ang="0">
                <a:pos x="328" y="91"/>
              </a:cxn>
              <a:cxn ang="0">
                <a:pos x="443" y="110"/>
              </a:cxn>
              <a:cxn ang="0">
                <a:pos x="443" y="171"/>
              </a:cxn>
              <a:cxn ang="0">
                <a:pos x="443" y="260"/>
              </a:cxn>
              <a:cxn ang="0">
                <a:pos x="469" y="334"/>
              </a:cxn>
              <a:cxn ang="0">
                <a:pos x="421" y="353"/>
              </a:cxn>
              <a:cxn ang="0">
                <a:pos x="320" y="411"/>
              </a:cxn>
              <a:cxn ang="0">
                <a:pos x="227" y="416"/>
              </a:cxn>
            </a:cxnLst>
            <a:rect l="0" t="0" r="r" b="b"/>
            <a:pathLst>
              <a:path w="469" h="446">
                <a:moveTo>
                  <a:pt x="227" y="416"/>
                </a:moveTo>
                <a:cubicBezTo>
                  <a:pt x="190" y="387"/>
                  <a:pt x="0" y="84"/>
                  <a:pt x="11" y="73"/>
                </a:cubicBezTo>
                <a:cubicBezTo>
                  <a:pt x="14" y="70"/>
                  <a:pt x="53" y="51"/>
                  <a:pt x="96" y="33"/>
                </a:cubicBezTo>
                <a:lnTo>
                  <a:pt x="174" y="0"/>
                </a:lnTo>
                <a:lnTo>
                  <a:pt x="224" y="59"/>
                </a:lnTo>
                <a:lnTo>
                  <a:pt x="275" y="118"/>
                </a:lnTo>
                <a:lnTo>
                  <a:pt x="328" y="91"/>
                </a:lnTo>
                <a:cubicBezTo>
                  <a:pt x="400" y="56"/>
                  <a:pt x="413" y="57"/>
                  <a:pt x="443" y="110"/>
                </a:cubicBezTo>
                <a:cubicBezTo>
                  <a:pt x="469" y="152"/>
                  <a:pt x="469" y="155"/>
                  <a:pt x="443" y="171"/>
                </a:cubicBezTo>
                <a:cubicBezTo>
                  <a:pt x="418" y="187"/>
                  <a:pt x="418" y="193"/>
                  <a:pt x="443" y="260"/>
                </a:cubicBezTo>
                <a:lnTo>
                  <a:pt x="469" y="334"/>
                </a:lnTo>
                <a:lnTo>
                  <a:pt x="421" y="353"/>
                </a:lnTo>
                <a:cubicBezTo>
                  <a:pt x="395" y="364"/>
                  <a:pt x="349" y="390"/>
                  <a:pt x="320" y="411"/>
                </a:cubicBezTo>
                <a:cubicBezTo>
                  <a:pt x="267" y="446"/>
                  <a:pt x="266" y="446"/>
                  <a:pt x="227" y="41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51" name="Кемеровская область"/>
          <p:cNvSpPr>
            <a:spLocks/>
          </p:cNvSpPr>
          <p:nvPr/>
        </p:nvSpPr>
        <p:spPr bwMode="auto">
          <a:xfrm>
            <a:off x="4303342" y="4076321"/>
            <a:ext cx="279337" cy="430751"/>
          </a:xfrm>
          <a:custGeom>
            <a:avLst/>
            <a:gdLst/>
            <a:ahLst/>
            <a:cxnLst>
              <a:cxn ang="0">
                <a:pos x="755" y="1544"/>
              </a:cxn>
              <a:cxn ang="0">
                <a:pos x="546" y="1471"/>
              </a:cxn>
              <a:cxn ang="0">
                <a:pos x="445" y="1394"/>
              </a:cxn>
              <a:cxn ang="0">
                <a:pos x="435" y="1243"/>
              </a:cxn>
              <a:cxn ang="0">
                <a:pos x="336" y="1035"/>
              </a:cxn>
              <a:cxn ang="0">
                <a:pos x="152" y="823"/>
              </a:cxn>
              <a:cxn ang="0">
                <a:pos x="69" y="725"/>
              </a:cxn>
              <a:cxn ang="0">
                <a:pos x="45" y="527"/>
              </a:cxn>
              <a:cxn ang="0">
                <a:pos x="10" y="255"/>
              </a:cxn>
              <a:cxn ang="0">
                <a:pos x="0" y="181"/>
              </a:cxn>
              <a:cxn ang="0">
                <a:pos x="120" y="155"/>
              </a:cxn>
              <a:cxn ang="0">
                <a:pos x="325" y="79"/>
              </a:cxn>
              <a:cxn ang="0">
                <a:pos x="592" y="15"/>
              </a:cxn>
              <a:cxn ang="0">
                <a:pos x="779" y="3"/>
              </a:cxn>
              <a:cxn ang="0">
                <a:pos x="931" y="256"/>
              </a:cxn>
              <a:cxn ang="0">
                <a:pos x="872" y="355"/>
              </a:cxn>
              <a:cxn ang="0">
                <a:pos x="781" y="471"/>
              </a:cxn>
              <a:cxn ang="0">
                <a:pos x="789" y="599"/>
              </a:cxn>
              <a:cxn ang="0">
                <a:pos x="826" y="669"/>
              </a:cxn>
              <a:cxn ang="0">
                <a:pos x="791" y="755"/>
              </a:cxn>
              <a:cxn ang="0">
                <a:pos x="755" y="863"/>
              </a:cxn>
              <a:cxn ang="0">
                <a:pos x="858" y="851"/>
              </a:cxn>
              <a:cxn ang="0">
                <a:pos x="879" y="879"/>
              </a:cxn>
              <a:cxn ang="0">
                <a:pos x="895" y="968"/>
              </a:cxn>
              <a:cxn ang="0">
                <a:pos x="875" y="1088"/>
              </a:cxn>
              <a:cxn ang="0">
                <a:pos x="850" y="1245"/>
              </a:cxn>
              <a:cxn ang="0">
                <a:pos x="835" y="1512"/>
              </a:cxn>
              <a:cxn ang="0">
                <a:pos x="755" y="1544"/>
              </a:cxn>
            </a:cxnLst>
            <a:rect l="0" t="0" r="r" b="b"/>
            <a:pathLst>
              <a:path w="931" h="1581">
                <a:moveTo>
                  <a:pt x="755" y="1544"/>
                </a:moveTo>
                <a:cubicBezTo>
                  <a:pt x="755" y="1520"/>
                  <a:pt x="720" y="1509"/>
                  <a:pt x="546" y="1471"/>
                </a:cubicBezTo>
                <a:cubicBezTo>
                  <a:pt x="459" y="1453"/>
                  <a:pt x="455" y="1448"/>
                  <a:pt x="445" y="1394"/>
                </a:cubicBezTo>
                <a:cubicBezTo>
                  <a:pt x="440" y="1362"/>
                  <a:pt x="435" y="1295"/>
                  <a:pt x="435" y="1243"/>
                </a:cubicBezTo>
                <a:cubicBezTo>
                  <a:pt x="435" y="1154"/>
                  <a:pt x="434" y="1149"/>
                  <a:pt x="336" y="1035"/>
                </a:cubicBezTo>
                <a:cubicBezTo>
                  <a:pt x="280" y="971"/>
                  <a:pt x="199" y="875"/>
                  <a:pt x="152" y="823"/>
                </a:cubicBezTo>
                <a:lnTo>
                  <a:pt x="69" y="725"/>
                </a:lnTo>
                <a:lnTo>
                  <a:pt x="45" y="527"/>
                </a:lnTo>
                <a:cubicBezTo>
                  <a:pt x="32" y="416"/>
                  <a:pt x="16" y="295"/>
                  <a:pt x="10" y="255"/>
                </a:cubicBezTo>
                <a:lnTo>
                  <a:pt x="0" y="181"/>
                </a:lnTo>
                <a:lnTo>
                  <a:pt x="120" y="155"/>
                </a:lnTo>
                <a:cubicBezTo>
                  <a:pt x="186" y="141"/>
                  <a:pt x="279" y="106"/>
                  <a:pt x="325" y="79"/>
                </a:cubicBezTo>
                <a:cubicBezTo>
                  <a:pt x="397" y="35"/>
                  <a:pt x="431" y="27"/>
                  <a:pt x="592" y="15"/>
                </a:cubicBezTo>
                <a:cubicBezTo>
                  <a:pt x="693" y="5"/>
                  <a:pt x="776" y="0"/>
                  <a:pt x="779" y="3"/>
                </a:cubicBezTo>
                <a:cubicBezTo>
                  <a:pt x="861" y="106"/>
                  <a:pt x="931" y="223"/>
                  <a:pt x="931" y="256"/>
                </a:cubicBezTo>
                <a:cubicBezTo>
                  <a:pt x="931" y="282"/>
                  <a:pt x="911" y="319"/>
                  <a:pt x="872" y="355"/>
                </a:cubicBezTo>
                <a:cubicBezTo>
                  <a:pt x="839" y="387"/>
                  <a:pt x="799" y="440"/>
                  <a:pt x="781" y="471"/>
                </a:cubicBezTo>
                <a:cubicBezTo>
                  <a:pt x="751" y="527"/>
                  <a:pt x="751" y="527"/>
                  <a:pt x="789" y="599"/>
                </a:cubicBezTo>
                <a:lnTo>
                  <a:pt x="826" y="669"/>
                </a:lnTo>
                <a:lnTo>
                  <a:pt x="791" y="755"/>
                </a:lnTo>
                <a:cubicBezTo>
                  <a:pt x="771" y="802"/>
                  <a:pt x="755" y="850"/>
                  <a:pt x="755" y="863"/>
                </a:cubicBezTo>
                <a:cubicBezTo>
                  <a:pt x="755" y="883"/>
                  <a:pt x="760" y="883"/>
                  <a:pt x="858" y="851"/>
                </a:cubicBezTo>
                <a:cubicBezTo>
                  <a:pt x="883" y="845"/>
                  <a:pt x="887" y="848"/>
                  <a:pt x="879" y="879"/>
                </a:cubicBezTo>
                <a:cubicBezTo>
                  <a:pt x="874" y="899"/>
                  <a:pt x="882" y="939"/>
                  <a:pt x="895" y="968"/>
                </a:cubicBezTo>
                <a:cubicBezTo>
                  <a:pt x="920" y="1021"/>
                  <a:pt x="920" y="1024"/>
                  <a:pt x="875" y="1088"/>
                </a:cubicBezTo>
                <a:cubicBezTo>
                  <a:pt x="831" y="1152"/>
                  <a:pt x="831" y="1157"/>
                  <a:pt x="850" y="1245"/>
                </a:cubicBezTo>
                <a:cubicBezTo>
                  <a:pt x="893" y="1443"/>
                  <a:pt x="893" y="1453"/>
                  <a:pt x="835" y="1512"/>
                </a:cubicBezTo>
                <a:cubicBezTo>
                  <a:pt x="776" y="1573"/>
                  <a:pt x="755" y="1581"/>
                  <a:pt x="755" y="1544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52" name="Кировская область"/>
          <p:cNvSpPr>
            <a:spLocks/>
          </p:cNvSpPr>
          <p:nvPr/>
        </p:nvSpPr>
        <p:spPr bwMode="auto">
          <a:xfrm>
            <a:off x="2209919" y="3040778"/>
            <a:ext cx="506305" cy="496017"/>
          </a:xfrm>
          <a:custGeom>
            <a:avLst/>
            <a:gdLst/>
            <a:ahLst/>
            <a:cxnLst>
              <a:cxn ang="0">
                <a:pos x="567" y="1789"/>
              </a:cxn>
              <a:cxn ang="0">
                <a:pos x="515" y="1522"/>
              </a:cxn>
              <a:cxn ang="0">
                <a:pos x="451" y="1256"/>
              </a:cxn>
              <a:cxn ang="0">
                <a:pos x="143" y="1183"/>
              </a:cxn>
              <a:cxn ang="0">
                <a:pos x="75" y="1219"/>
              </a:cxn>
              <a:cxn ang="0">
                <a:pos x="24" y="1247"/>
              </a:cxn>
              <a:cxn ang="0">
                <a:pos x="8" y="1167"/>
              </a:cxn>
              <a:cxn ang="0">
                <a:pos x="56" y="1035"/>
              </a:cxn>
              <a:cxn ang="0">
                <a:pos x="139" y="983"/>
              </a:cxn>
              <a:cxn ang="0">
                <a:pos x="202" y="1000"/>
              </a:cxn>
              <a:cxn ang="0">
                <a:pos x="303" y="967"/>
              </a:cxn>
              <a:cxn ang="0">
                <a:pos x="365" y="911"/>
              </a:cxn>
              <a:cxn ang="0">
                <a:pos x="279" y="829"/>
              </a:cxn>
              <a:cxn ang="0">
                <a:pos x="191" y="741"/>
              </a:cxn>
              <a:cxn ang="0">
                <a:pos x="266" y="674"/>
              </a:cxn>
              <a:cxn ang="0">
                <a:pos x="458" y="624"/>
              </a:cxn>
              <a:cxn ang="0">
                <a:pos x="573" y="624"/>
              </a:cxn>
              <a:cxn ang="0">
                <a:pos x="573" y="522"/>
              </a:cxn>
              <a:cxn ang="0">
                <a:pos x="613" y="384"/>
              </a:cxn>
              <a:cxn ang="0">
                <a:pos x="653" y="325"/>
              </a:cxn>
              <a:cxn ang="0">
                <a:pos x="687" y="235"/>
              </a:cxn>
              <a:cxn ang="0">
                <a:pos x="703" y="141"/>
              </a:cxn>
              <a:cxn ang="0">
                <a:pos x="797" y="56"/>
              </a:cxn>
              <a:cxn ang="0">
                <a:pos x="923" y="0"/>
              </a:cxn>
              <a:cxn ang="0">
                <a:pos x="965" y="43"/>
              </a:cxn>
              <a:cxn ang="0">
                <a:pos x="967" y="191"/>
              </a:cxn>
              <a:cxn ang="0">
                <a:pos x="880" y="355"/>
              </a:cxn>
              <a:cxn ang="0">
                <a:pos x="823" y="416"/>
              </a:cxn>
              <a:cxn ang="0">
                <a:pos x="840" y="499"/>
              </a:cxn>
              <a:cxn ang="0">
                <a:pos x="931" y="768"/>
              </a:cxn>
              <a:cxn ang="0">
                <a:pos x="1035" y="696"/>
              </a:cxn>
              <a:cxn ang="0">
                <a:pos x="1122" y="624"/>
              </a:cxn>
              <a:cxn ang="0">
                <a:pos x="1245" y="656"/>
              </a:cxn>
              <a:cxn ang="0">
                <a:pos x="1445" y="688"/>
              </a:cxn>
              <a:cxn ang="0">
                <a:pos x="1605" y="779"/>
              </a:cxn>
              <a:cxn ang="0">
                <a:pos x="1685" y="869"/>
              </a:cxn>
              <a:cxn ang="0">
                <a:pos x="1573" y="971"/>
              </a:cxn>
              <a:cxn ang="0">
                <a:pos x="1463" y="1074"/>
              </a:cxn>
              <a:cxn ang="0">
                <a:pos x="1488" y="1144"/>
              </a:cxn>
              <a:cxn ang="0">
                <a:pos x="1466" y="1279"/>
              </a:cxn>
              <a:cxn ang="0">
                <a:pos x="1411" y="1344"/>
              </a:cxn>
              <a:cxn ang="0">
                <a:pos x="1327" y="1304"/>
              </a:cxn>
              <a:cxn ang="0">
                <a:pos x="1059" y="1218"/>
              </a:cxn>
              <a:cxn ang="0">
                <a:pos x="975" y="1344"/>
              </a:cxn>
              <a:cxn ang="0">
                <a:pos x="834" y="1459"/>
              </a:cxn>
              <a:cxn ang="0">
                <a:pos x="757" y="1464"/>
              </a:cxn>
              <a:cxn ang="0">
                <a:pos x="736" y="1563"/>
              </a:cxn>
              <a:cxn ang="0">
                <a:pos x="685" y="1664"/>
              </a:cxn>
              <a:cxn ang="0">
                <a:pos x="613" y="1747"/>
              </a:cxn>
              <a:cxn ang="0">
                <a:pos x="567" y="1789"/>
              </a:cxn>
            </a:cxnLst>
            <a:rect l="0" t="0" r="r" b="b"/>
            <a:pathLst>
              <a:path w="1685" h="1819">
                <a:moveTo>
                  <a:pt x="567" y="1789"/>
                </a:moveTo>
                <a:cubicBezTo>
                  <a:pt x="562" y="1778"/>
                  <a:pt x="539" y="1656"/>
                  <a:pt x="515" y="1522"/>
                </a:cubicBezTo>
                <a:cubicBezTo>
                  <a:pt x="490" y="1386"/>
                  <a:pt x="461" y="1266"/>
                  <a:pt x="451" y="1256"/>
                </a:cubicBezTo>
                <a:cubicBezTo>
                  <a:pt x="431" y="1235"/>
                  <a:pt x="179" y="1175"/>
                  <a:pt x="143" y="1183"/>
                </a:cubicBezTo>
                <a:cubicBezTo>
                  <a:pt x="130" y="1184"/>
                  <a:pt x="99" y="1202"/>
                  <a:pt x="75" y="1219"/>
                </a:cubicBezTo>
                <a:cubicBezTo>
                  <a:pt x="50" y="1239"/>
                  <a:pt x="27" y="1250"/>
                  <a:pt x="24" y="1247"/>
                </a:cubicBezTo>
                <a:cubicBezTo>
                  <a:pt x="21" y="1243"/>
                  <a:pt x="13" y="1207"/>
                  <a:pt x="8" y="1167"/>
                </a:cubicBezTo>
                <a:cubicBezTo>
                  <a:pt x="0" y="1101"/>
                  <a:pt x="3" y="1090"/>
                  <a:pt x="56" y="1035"/>
                </a:cubicBezTo>
                <a:cubicBezTo>
                  <a:pt x="90" y="999"/>
                  <a:pt x="122" y="978"/>
                  <a:pt x="139" y="983"/>
                </a:cubicBezTo>
                <a:cubicBezTo>
                  <a:pt x="154" y="986"/>
                  <a:pt x="183" y="994"/>
                  <a:pt x="202" y="1000"/>
                </a:cubicBezTo>
                <a:cubicBezTo>
                  <a:pt x="229" y="1008"/>
                  <a:pt x="258" y="999"/>
                  <a:pt x="303" y="967"/>
                </a:cubicBezTo>
                <a:cubicBezTo>
                  <a:pt x="336" y="943"/>
                  <a:pt x="365" y="917"/>
                  <a:pt x="365" y="911"/>
                </a:cubicBezTo>
                <a:cubicBezTo>
                  <a:pt x="365" y="903"/>
                  <a:pt x="327" y="866"/>
                  <a:pt x="279" y="829"/>
                </a:cubicBezTo>
                <a:cubicBezTo>
                  <a:pt x="231" y="791"/>
                  <a:pt x="191" y="752"/>
                  <a:pt x="191" y="741"/>
                </a:cubicBezTo>
                <a:cubicBezTo>
                  <a:pt x="189" y="731"/>
                  <a:pt x="224" y="701"/>
                  <a:pt x="266" y="674"/>
                </a:cubicBezTo>
                <a:cubicBezTo>
                  <a:pt x="335" y="629"/>
                  <a:pt x="357" y="624"/>
                  <a:pt x="458" y="624"/>
                </a:cubicBezTo>
                <a:lnTo>
                  <a:pt x="573" y="624"/>
                </a:lnTo>
                <a:lnTo>
                  <a:pt x="573" y="522"/>
                </a:lnTo>
                <a:cubicBezTo>
                  <a:pt x="573" y="435"/>
                  <a:pt x="579" y="416"/>
                  <a:pt x="613" y="384"/>
                </a:cubicBezTo>
                <a:cubicBezTo>
                  <a:pt x="635" y="363"/>
                  <a:pt x="653" y="336"/>
                  <a:pt x="653" y="325"/>
                </a:cubicBezTo>
                <a:cubicBezTo>
                  <a:pt x="653" y="312"/>
                  <a:pt x="669" y="272"/>
                  <a:pt x="687" y="235"/>
                </a:cubicBezTo>
                <a:cubicBezTo>
                  <a:pt x="714" y="184"/>
                  <a:pt x="717" y="163"/>
                  <a:pt x="703" y="141"/>
                </a:cubicBezTo>
                <a:cubicBezTo>
                  <a:pt x="687" y="115"/>
                  <a:pt x="698" y="106"/>
                  <a:pt x="797" y="56"/>
                </a:cubicBezTo>
                <a:cubicBezTo>
                  <a:pt x="858" y="26"/>
                  <a:pt x="915" y="0"/>
                  <a:pt x="923" y="0"/>
                </a:cubicBezTo>
                <a:cubicBezTo>
                  <a:pt x="931" y="0"/>
                  <a:pt x="951" y="19"/>
                  <a:pt x="965" y="43"/>
                </a:cubicBezTo>
                <a:cubicBezTo>
                  <a:pt x="992" y="83"/>
                  <a:pt x="992" y="91"/>
                  <a:pt x="967" y="191"/>
                </a:cubicBezTo>
                <a:cubicBezTo>
                  <a:pt x="946" y="267"/>
                  <a:pt x="923" y="312"/>
                  <a:pt x="880" y="355"/>
                </a:cubicBezTo>
                <a:lnTo>
                  <a:pt x="823" y="416"/>
                </a:lnTo>
                <a:lnTo>
                  <a:pt x="840" y="499"/>
                </a:lnTo>
                <a:cubicBezTo>
                  <a:pt x="872" y="655"/>
                  <a:pt x="911" y="768"/>
                  <a:pt x="931" y="768"/>
                </a:cubicBezTo>
                <a:cubicBezTo>
                  <a:pt x="943" y="768"/>
                  <a:pt x="989" y="735"/>
                  <a:pt x="1035" y="696"/>
                </a:cubicBezTo>
                <a:cubicBezTo>
                  <a:pt x="1082" y="656"/>
                  <a:pt x="1120" y="624"/>
                  <a:pt x="1122" y="624"/>
                </a:cubicBezTo>
                <a:cubicBezTo>
                  <a:pt x="1123" y="624"/>
                  <a:pt x="1179" y="639"/>
                  <a:pt x="1245" y="656"/>
                </a:cubicBezTo>
                <a:cubicBezTo>
                  <a:pt x="1311" y="674"/>
                  <a:pt x="1402" y="688"/>
                  <a:pt x="1445" y="688"/>
                </a:cubicBezTo>
                <a:cubicBezTo>
                  <a:pt x="1522" y="690"/>
                  <a:pt x="1528" y="693"/>
                  <a:pt x="1605" y="779"/>
                </a:cubicBezTo>
                <a:lnTo>
                  <a:pt x="1685" y="869"/>
                </a:lnTo>
                <a:lnTo>
                  <a:pt x="1573" y="971"/>
                </a:lnTo>
                <a:lnTo>
                  <a:pt x="1463" y="1074"/>
                </a:lnTo>
                <a:lnTo>
                  <a:pt x="1488" y="1144"/>
                </a:lnTo>
                <a:cubicBezTo>
                  <a:pt x="1514" y="1213"/>
                  <a:pt x="1514" y="1213"/>
                  <a:pt x="1466" y="1279"/>
                </a:cubicBezTo>
                <a:cubicBezTo>
                  <a:pt x="1440" y="1314"/>
                  <a:pt x="1415" y="1344"/>
                  <a:pt x="1411" y="1344"/>
                </a:cubicBezTo>
                <a:cubicBezTo>
                  <a:pt x="1407" y="1344"/>
                  <a:pt x="1370" y="1327"/>
                  <a:pt x="1327" y="1304"/>
                </a:cubicBezTo>
                <a:cubicBezTo>
                  <a:pt x="1187" y="1234"/>
                  <a:pt x="1082" y="1199"/>
                  <a:pt x="1059" y="1218"/>
                </a:cubicBezTo>
                <a:cubicBezTo>
                  <a:pt x="1048" y="1226"/>
                  <a:pt x="1010" y="1283"/>
                  <a:pt x="975" y="1344"/>
                </a:cubicBezTo>
                <a:cubicBezTo>
                  <a:pt x="909" y="1453"/>
                  <a:pt x="907" y="1455"/>
                  <a:pt x="834" y="1459"/>
                </a:cubicBezTo>
                <a:lnTo>
                  <a:pt x="757" y="1464"/>
                </a:lnTo>
                <a:lnTo>
                  <a:pt x="736" y="1563"/>
                </a:lnTo>
                <a:cubicBezTo>
                  <a:pt x="719" y="1642"/>
                  <a:pt x="707" y="1664"/>
                  <a:pt x="685" y="1664"/>
                </a:cubicBezTo>
                <a:cubicBezTo>
                  <a:pt x="650" y="1664"/>
                  <a:pt x="627" y="1690"/>
                  <a:pt x="613" y="1747"/>
                </a:cubicBezTo>
                <a:cubicBezTo>
                  <a:pt x="600" y="1799"/>
                  <a:pt x="576" y="1819"/>
                  <a:pt x="567" y="1789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53" name="Ивановская область"/>
          <p:cNvSpPr>
            <a:spLocks/>
          </p:cNvSpPr>
          <p:nvPr/>
        </p:nvSpPr>
        <p:spPr bwMode="auto">
          <a:xfrm>
            <a:off x="1854408" y="3101692"/>
            <a:ext cx="236490" cy="147935"/>
          </a:xfrm>
          <a:custGeom>
            <a:avLst/>
            <a:gdLst>
              <a:gd name="T0" fmla="*/ 307 w 49"/>
              <a:gd name="T1" fmla="*/ 442 h 34"/>
              <a:gd name="T2" fmla="*/ 69 w 49"/>
              <a:gd name="T3" fmla="*/ 208 h 34"/>
              <a:gd name="T4" fmla="*/ 16 w 49"/>
              <a:gd name="T5" fmla="*/ 184 h 34"/>
              <a:gd name="T6" fmla="*/ 26 w 49"/>
              <a:gd name="T7" fmla="*/ 127 h 34"/>
              <a:gd name="T8" fmla="*/ 35 w 49"/>
              <a:gd name="T9" fmla="*/ 63 h 34"/>
              <a:gd name="T10" fmla="*/ 102 w 49"/>
              <a:gd name="T11" fmla="*/ 0 h 34"/>
              <a:gd name="T12" fmla="*/ 224 w 49"/>
              <a:gd name="T13" fmla="*/ 39 h 34"/>
              <a:gd name="T14" fmla="*/ 472 w 49"/>
              <a:gd name="T15" fmla="*/ 96 h 34"/>
              <a:gd name="T16" fmla="*/ 531 w 49"/>
              <a:gd name="T17" fmla="*/ 106 h 34"/>
              <a:gd name="T18" fmla="*/ 629 w 49"/>
              <a:gd name="T19" fmla="*/ 258 h 34"/>
              <a:gd name="T20" fmla="*/ 686 w 49"/>
              <a:gd name="T21" fmla="*/ 336 h 34"/>
              <a:gd name="T22" fmla="*/ 717 w 49"/>
              <a:gd name="T23" fmla="*/ 400 h 34"/>
              <a:gd name="T24" fmla="*/ 646 w 49"/>
              <a:gd name="T25" fmla="*/ 434 h 34"/>
              <a:gd name="T26" fmla="*/ 579 w 49"/>
              <a:gd name="T27" fmla="*/ 450 h 34"/>
              <a:gd name="T28" fmla="*/ 440 w 49"/>
              <a:gd name="T29" fmla="*/ 479 h 34"/>
              <a:gd name="T30" fmla="*/ 402 w 49"/>
              <a:gd name="T31" fmla="*/ 535 h 34"/>
              <a:gd name="T32" fmla="*/ 307 w 49"/>
              <a:gd name="T33" fmla="*/ 442 h 3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9"/>
              <a:gd name="T52" fmla="*/ 0 h 34"/>
              <a:gd name="T53" fmla="*/ 770 w 49"/>
              <a:gd name="T54" fmla="*/ 539 h 3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9" h="34">
                <a:moveTo>
                  <a:pt x="20" y="28"/>
                </a:moveTo>
                <a:cubicBezTo>
                  <a:pt x="12" y="18"/>
                  <a:pt x="7" y="13"/>
                  <a:pt x="4" y="13"/>
                </a:cubicBezTo>
                <a:cubicBezTo>
                  <a:pt x="3" y="13"/>
                  <a:pt x="2" y="12"/>
                  <a:pt x="1" y="12"/>
                </a:cubicBezTo>
                <a:cubicBezTo>
                  <a:pt x="0" y="10"/>
                  <a:pt x="0" y="10"/>
                  <a:pt x="2" y="8"/>
                </a:cubicBezTo>
                <a:cubicBezTo>
                  <a:pt x="3" y="6"/>
                  <a:pt x="3" y="6"/>
                  <a:pt x="2" y="4"/>
                </a:cubicBezTo>
                <a:cubicBezTo>
                  <a:pt x="0" y="1"/>
                  <a:pt x="2" y="0"/>
                  <a:pt x="6" y="0"/>
                </a:cubicBezTo>
                <a:cubicBezTo>
                  <a:pt x="9" y="0"/>
                  <a:pt x="12" y="1"/>
                  <a:pt x="14" y="2"/>
                </a:cubicBezTo>
                <a:cubicBezTo>
                  <a:pt x="19" y="6"/>
                  <a:pt x="28" y="8"/>
                  <a:pt x="30" y="6"/>
                </a:cubicBezTo>
                <a:cubicBezTo>
                  <a:pt x="31" y="5"/>
                  <a:pt x="32" y="5"/>
                  <a:pt x="34" y="7"/>
                </a:cubicBezTo>
                <a:cubicBezTo>
                  <a:pt x="39" y="11"/>
                  <a:pt x="41" y="14"/>
                  <a:pt x="40" y="16"/>
                </a:cubicBezTo>
                <a:cubicBezTo>
                  <a:pt x="40" y="19"/>
                  <a:pt x="40" y="19"/>
                  <a:pt x="44" y="21"/>
                </a:cubicBezTo>
                <a:cubicBezTo>
                  <a:pt x="48" y="24"/>
                  <a:pt x="49" y="25"/>
                  <a:pt x="46" y="25"/>
                </a:cubicBezTo>
                <a:cubicBezTo>
                  <a:pt x="44" y="25"/>
                  <a:pt x="42" y="26"/>
                  <a:pt x="41" y="27"/>
                </a:cubicBezTo>
                <a:cubicBezTo>
                  <a:pt x="39" y="29"/>
                  <a:pt x="39" y="29"/>
                  <a:pt x="37" y="28"/>
                </a:cubicBezTo>
                <a:cubicBezTo>
                  <a:pt x="33" y="26"/>
                  <a:pt x="30" y="27"/>
                  <a:pt x="28" y="30"/>
                </a:cubicBezTo>
                <a:cubicBezTo>
                  <a:pt x="27" y="32"/>
                  <a:pt x="26" y="33"/>
                  <a:pt x="26" y="34"/>
                </a:cubicBezTo>
                <a:cubicBezTo>
                  <a:pt x="25" y="34"/>
                  <a:pt x="22" y="31"/>
                  <a:pt x="20" y="28"/>
                </a:cubicBezTo>
                <a:cubicBezTo>
                  <a:pt x="20" y="28"/>
                  <a:pt x="20" y="28"/>
                  <a:pt x="20" y="28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sp>
      <p:sp>
        <p:nvSpPr>
          <p:cNvPr id="154" name="Краснодарский край"/>
          <p:cNvSpPr>
            <a:spLocks noEditPoints="1"/>
          </p:cNvSpPr>
          <p:nvPr/>
        </p:nvSpPr>
        <p:spPr bwMode="auto">
          <a:xfrm>
            <a:off x="849768" y="3810909"/>
            <a:ext cx="307902" cy="343731"/>
          </a:xfrm>
          <a:custGeom>
            <a:avLst/>
            <a:gdLst/>
            <a:ahLst/>
            <a:cxnLst>
              <a:cxn ang="0">
                <a:pos x="587" y="1208"/>
              </a:cxn>
              <a:cxn ang="0">
                <a:pos x="525" y="1152"/>
              </a:cxn>
              <a:cxn ang="0">
                <a:pos x="416" y="1197"/>
              </a:cxn>
              <a:cxn ang="0">
                <a:pos x="312" y="1231"/>
              </a:cxn>
              <a:cxn ang="0">
                <a:pos x="241" y="1202"/>
              </a:cxn>
              <a:cxn ang="0">
                <a:pos x="163" y="925"/>
              </a:cxn>
              <a:cxn ang="0">
                <a:pos x="113" y="645"/>
              </a:cxn>
              <a:cxn ang="0">
                <a:pos x="9" y="269"/>
              </a:cxn>
              <a:cxn ang="0">
                <a:pos x="30" y="192"/>
              </a:cxn>
              <a:cxn ang="0">
                <a:pos x="88" y="240"/>
              </a:cxn>
              <a:cxn ang="0">
                <a:pos x="237" y="237"/>
              </a:cxn>
              <a:cxn ang="0">
                <a:pos x="409" y="197"/>
              </a:cxn>
              <a:cxn ang="0">
                <a:pos x="550" y="87"/>
              </a:cxn>
              <a:cxn ang="0">
                <a:pos x="686" y="24"/>
              </a:cxn>
              <a:cxn ang="0">
                <a:pos x="729" y="77"/>
              </a:cxn>
              <a:cxn ang="0">
                <a:pos x="809" y="160"/>
              </a:cxn>
              <a:cxn ang="0">
                <a:pos x="878" y="181"/>
              </a:cxn>
              <a:cxn ang="0">
                <a:pos x="923" y="352"/>
              </a:cxn>
              <a:cxn ang="0">
                <a:pos x="896" y="432"/>
              </a:cxn>
              <a:cxn ang="0">
                <a:pos x="955" y="520"/>
              </a:cxn>
              <a:cxn ang="0">
                <a:pos x="1008" y="667"/>
              </a:cxn>
              <a:cxn ang="0">
                <a:pos x="936" y="728"/>
              </a:cxn>
              <a:cxn ang="0">
                <a:pos x="827" y="787"/>
              </a:cxn>
              <a:cxn ang="0">
                <a:pos x="813" y="960"/>
              </a:cxn>
              <a:cxn ang="0">
                <a:pos x="805" y="1051"/>
              </a:cxn>
              <a:cxn ang="0">
                <a:pos x="750" y="1144"/>
              </a:cxn>
              <a:cxn ang="0">
                <a:pos x="678" y="1237"/>
              </a:cxn>
              <a:cxn ang="0">
                <a:pos x="630" y="1266"/>
              </a:cxn>
              <a:cxn ang="0">
                <a:pos x="587" y="1208"/>
              </a:cxn>
              <a:cxn ang="0">
                <a:pos x="451" y="1075"/>
              </a:cxn>
              <a:cxn ang="0">
                <a:pos x="520" y="968"/>
              </a:cxn>
              <a:cxn ang="0">
                <a:pos x="542" y="1019"/>
              </a:cxn>
              <a:cxn ang="0">
                <a:pos x="633" y="1003"/>
              </a:cxn>
              <a:cxn ang="0">
                <a:pos x="645" y="815"/>
              </a:cxn>
              <a:cxn ang="0">
                <a:pos x="470" y="576"/>
              </a:cxn>
              <a:cxn ang="0">
                <a:pos x="384" y="533"/>
              </a:cxn>
              <a:cxn ang="0">
                <a:pos x="299" y="509"/>
              </a:cxn>
              <a:cxn ang="0">
                <a:pos x="309" y="680"/>
              </a:cxn>
              <a:cxn ang="0">
                <a:pos x="406" y="752"/>
              </a:cxn>
              <a:cxn ang="0">
                <a:pos x="385" y="829"/>
              </a:cxn>
              <a:cxn ang="0">
                <a:pos x="329" y="946"/>
              </a:cxn>
              <a:cxn ang="0">
                <a:pos x="293" y="981"/>
              </a:cxn>
              <a:cxn ang="0">
                <a:pos x="243" y="1016"/>
              </a:cxn>
              <a:cxn ang="0">
                <a:pos x="355" y="1184"/>
              </a:cxn>
              <a:cxn ang="0">
                <a:pos x="451" y="1075"/>
              </a:cxn>
            </a:cxnLst>
            <a:rect l="0" t="0" r="r" b="b"/>
            <a:pathLst>
              <a:path w="1013" h="1266">
                <a:moveTo>
                  <a:pt x="587" y="1208"/>
                </a:moveTo>
                <a:cubicBezTo>
                  <a:pt x="563" y="1178"/>
                  <a:pt x="536" y="1152"/>
                  <a:pt x="525" y="1152"/>
                </a:cubicBezTo>
                <a:cubicBezTo>
                  <a:pt x="515" y="1152"/>
                  <a:pt x="465" y="1173"/>
                  <a:pt x="416" y="1197"/>
                </a:cubicBezTo>
                <a:cubicBezTo>
                  <a:pt x="365" y="1221"/>
                  <a:pt x="318" y="1237"/>
                  <a:pt x="312" y="1231"/>
                </a:cubicBezTo>
                <a:cubicBezTo>
                  <a:pt x="305" y="1224"/>
                  <a:pt x="273" y="1211"/>
                  <a:pt x="241" y="1202"/>
                </a:cubicBezTo>
                <a:cubicBezTo>
                  <a:pt x="173" y="1179"/>
                  <a:pt x="163" y="1147"/>
                  <a:pt x="163" y="925"/>
                </a:cubicBezTo>
                <a:cubicBezTo>
                  <a:pt x="163" y="811"/>
                  <a:pt x="155" y="762"/>
                  <a:pt x="113" y="645"/>
                </a:cubicBezTo>
                <a:cubicBezTo>
                  <a:pt x="49" y="463"/>
                  <a:pt x="22" y="365"/>
                  <a:pt x="9" y="269"/>
                </a:cubicBezTo>
                <a:cubicBezTo>
                  <a:pt x="0" y="200"/>
                  <a:pt x="3" y="192"/>
                  <a:pt x="30" y="192"/>
                </a:cubicBezTo>
                <a:cubicBezTo>
                  <a:pt x="46" y="192"/>
                  <a:pt x="73" y="213"/>
                  <a:pt x="88" y="240"/>
                </a:cubicBezTo>
                <a:cubicBezTo>
                  <a:pt x="125" y="301"/>
                  <a:pt x="149" y="299"/>
                  <a:pt x="237" y="237"/>
                </a:cubicBezTo>
                <a:cubicBezTo>
                  <a:pt x="302" y="189"/>
                  <a:pt x="312" y="187"/>
                  <a:pt x="409" y="197"/>
                </a:cubicBezTo>
                <a:cubicBezTo>
                  <a:pt x="531" y="208"/>
                  <a:pt x="544" y="199"/>
                  <a:pt x="550" y="87"/>
                </a:cubicBezTo>
                <a:cubicBezTo>
                  <a:pt x="555" y="0"/>
                  <a:pt x="550" y="3"/>
                  <a:pt x="686" y="24"/>
                </a:cubicBezTo>
                <a:cubicBezTo>
                  <a:pt x="733" y="32"/>
                  <a:pt x="737" y="37"/>
                  <a:pt x="729" y="77"/>
                </a:cubicBezTo>
                <a:cubicBezTo>
                  <a:pt x="717" y="138"/>
                  <a:pt x="758" y="179"/>
                  <a:pt x="809" y="160"/>
                </a:cubicBezTo>
                <a:cubicBezTo>
                  <a:pt x="840" y="149"/>
                  <a:pt x="854" y="154"/>
                  <a:pt x="878" y="181"/>
                </a:cubicBezTo>
                <a:cubicBezTo>
                  <a:pt x="952" y="266"/>
                  <a:pt x="952" y="266"/>
                  <a:pt x="923" y="352"/>
                </a:cubicBezTo>
                <a:lnTo>
                  <a:pt x="896" y="432"/>
                </a:lnTo>
                <a:lnTo>
                  <a:pt x="955" y="520"/>
                </a:lnTo>
                <a:cubicBezTo>
                  <a:pt x="1001" y="589"/>
                  <a:pt x="1013" y="621"/>
                  <a:pt x="1008" y="667"/>
                </a:cubicBezTo>
                <a:cubicBezTo>
                  <a:pt x="1003" y="727"/>
                  <a:pt x="1001" y="728"/>
                  <a:pt x="936" y="728"/>
                </a:cubicBezTo>
                <a:cubicBezTo>
                  <a:pt x="875" y="728"/>
                  <a:pt x="864" y="735"/>
                  <a:pt x="827" y="787"/>
                </a:cubicBezTo>
                <a:cubicBezTo>
                  <a:pt x="781" y="856"/>
                  <a:pt x="779" y="874"/>
                  <a:pt x="813" y="960"/>
                </a:cubicBezTo>
                <a:cubicBezTo>
                  <a:pt x="838" y="1021"/>
                  <a:pt x="837" y="1024"/>
                  <a:pt x="805" y="1051"/>
                </a:cubicBezTo>
                <a:cubicBezTo>
                  <a:pt x="787" y="1067"/>
                  <a:pt x="761" y="1109"/>
                  <a:pt x="750" y="1144"/>
                </a:cubicBezTo>
                <a:cubicBezTo>
                  <a:pt x="736" y="1184"/>
                  <a:pt x="710" y="1218"/>
                  <a:pt x="678" y="1237"/>
                </a:cubicBezTo>
                <a:lnTo>
                  <a:pt x="630" y="1266"/>
                </a:lnTo>
                <a:lnTo>
                  <a:pt x="587" y="1208"/>
                </a:lnTo>
                <a:close/>
                <a:moveTo>
                  <a:pt x="451" y="1075"/>
                </a:moveTo>
                <a:lnTo>
                  <a:pt x="520" y="968"/>
                </a:lnTo>
                <a:lnTo>
                  <a:pt x="542" y="1019"/>
                </a:lnTo>
                <a:cubicBezTo>
                  <a:pt x="571" y="1090"/>
                  <a:pt x="601" y="1085"/>
                  <a:pt x="633" y="1003"/>
                </a:cubicBezTo>
                <a:cubicBezTo>
                  <a:pt x="654" y="946"/>
                  <a:pt x="656" y="914"/>
                  <a:pt x="645" y="815"/>
                </a:cubicBezTo>
                <a:cubicBezTo>
                  <a:pt x="619" y="618"/>
                  <a:pt x="589" y="576"/>
                  <a:pt x="470" y="576"/>
                </a:cubicBezTo>
                <a:cubicBezTo>
                  <a:pt x="448" y="576"/>
                  <a:pt x="409" y="557"/>
                  <a:pt x="384" y="533"/>
                </a:cubicBezTo>
                <a:cubicBezTo>
                  <a:pt x="345" y="496"/>
                  <a:pt x="334" y="493"/>
                  <a:pt x="299" y="509"/>
                </a:cubicBezTo>
                <a:cubicBezTo>
                  <a:pt x="245" y="535"/>
                  <a:pt x="248" y="599"/>
                  <a:pt x="309" y="680"/>
                </a:cubicBezTo>
                <a:cubicBezTo>
                  <a:pt x="342" y="723"/>
                  <a:pt x="373" y="746"/>
                  <a:pt x="406" y="752"/>
                </a:cubicBezTo>
                <a:cubicBezTo>
                  <a:pt x="483" y="763"/>
                  <a:pt x="477" y="792"/>
                  <a:pt x="385" y="829"/>
                </a:cubicBezTo>
                <a:cubicBezTo>
                  <a:pt x="302" y="864"/>
                  <a:pt x="299" y="871"/>
                  <a:pt x="329" y="946"/>
                </a:cubicBezTo>
                <a:cubicBezTo>
                  <a:pt x="339" y="965"/>
                  <a:pt x="329" y="973"/>
                  <a:pt x="293" y="981"/>
                </a:cubicBezTo>
                <a:cubicBezTo>
                  <a:pt x="262" y="987"/>
                  <a:pt x="243" y="1000"/>
                  <a:pt x="243" y="1016"/>
                </a:cubicBezTo>
                <a:cubicBezTo>
                  <a:pt x="243" y="1061"/>
                  <a:pt x="325" y="1184"/>
                  <a:pt x="355" y="1184"/>
                </a:cubicBezTo>
                <a:cubicBezTo>
                  <a:pt x="373" y="1184"/>
                  <a:pt x="409" y="1144"/>
                  <a:pt x="451" y="1075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55" name="Красноярский край"/>
          <p:cNvSpPr>
            <a:spLocks/>
          </p:cNvSpPr>
          <p:nvPr/>
        </p:nvSpPr>
        <p:spPr bwMode="auto">
          <a:xfrm>
            <a:off x="4222408" y="1883406"/>
            <a:ext cx="1293499" cy="2667177"/>
          </a:xfrm>
          <a:custGeom>
            <a:avLst/>
            <a:gdLst/>
            <a:ahLst/>
            <a:cxnLst>
              <a:cxn ang="0">
                <a:pos x="3676" y="3299"/>
              </a:cxn>
              <a:cxn ang="0">
                <a:pos x="3720" y="3933"/>
              </a:cxn>
              <a:cxn ang="0">
                <a:pos x="3848" y="4425"/>
              </a:cxn>
              <a:cxn ang="0">
                <a:pos x="3863" y="4819"/>
              </a:cxn>
              <a:cxn ang="0">
                <a:pos x="4296" y="4950"/>
              </a:cxn>
              <a:cxn ang="0">
                <a:pos x="4079" y="5301"/>
              </a:cxn>
              <a:cxn ang="0">
                <a:pos x="4172" y="5640"/>
              </a:cxn>
              <a:cxn ang="0">
                <a:pos x="3960" y="6288"/>
              </a:cxn>
              <a:cxn ang="0">
                <a:pos x="4080" y="6725"/>
              </a:cxn>
              <a:cxn ang="0">
                <a:pos x="4191" y="6934"/>
              </a:cxn>
              <a:cxn ang="0">
                <a:pos x="3935" y="6941"/>
              </a:cxn>
              <a:cxn ang="0">
                <a:pos x="3679" y="6979"/>
              </a:cxn>
              <a:cxn ang="0">
                <a:pos x="3368" y="7510"/>
              </a:cxn>
              <a:cxn ang="0">
                <a:pos x="3063" y="7541"/>
              </a:cxn>
              <a:cxn ang="0">
                <a:pos x="2832" y="7798"/>
              </a:cxn>
              <a:cxn ang="0">
                <a:pos x="2733" y="8309"/>
              </a:cxn>
              <a:cxn ang="0">
                <a:pos x="2732" y="8755"/>
              </a:cxn>
              <a:cxn ang="0">
                <a:pos x="2653" y="9022"/>
              </a:cxn>
              <a:cxn ang="0">
                <a:pos x="2392" y="9249"/>
              </a:cxn>
              <a:cxn ang="0">
                <a:pos x="2226" y="9541"/>
              </a:cxn>
              <a:cxn ang="0">
                <a:pos x="1541" y="9729"/>
              </a:cxn>
              <a:cxn ang="0">
                <a:pos x="1695" y="9457"/>
              </a:cxn>
              <a:cxn ang="0">
                <a:pos x="1714" y="9001"/>
              </a:cxn>
              <a:cxn ang="0">
                <a:pos x="1189" y="8593"/>
              </a:cxn>
              <a:cxn ang="0">
                <a:pos x="1162" y="8158"/>
              </a:cxn>
              <a:cxn ang="0">
                <a:pos x="1141" y="7920"/>
              </a:cxn>
              <a:cxn ang="0">
                <a:pos x="1205" y="7560"/>
              </a:cxn>
              <a:cxn ang="0">
                <a:pos x="1159" y="7142"/>
              </a:cxn>
              <a:cxn ang="0">
                <a:pos x="596" y="6845"/>
              </a:cxn>
              <a:cxn ang="0">
                <a:pos x="412" y="6491"/>
              </a:cxn>
              <a:cxn ang="0">
                <a:pos x="471" y="6067"/>
              </a:cxn>
              <a:cxn ang="0">
                <a:pos x="666" y="5461"/>
              </a:cxn>
              <a:cxn ang="0">
                <a:pos x="536" y="4790"/>
              </a:cxn>
              <a:cxn ang="0">
                <a:pos x="421" y="4616"/>
              </a:cxn>
              <a:cxn ang="0">
                <a:pos x="288" y="4016"/>
              </a:cxn>
              <a:cxn ang="0">
                <a:pos x="375" y="3414"/>
              </a:cxn>
              <a:cxn ang="0">
                <a:pos x="71" y="3182"/>
              </a:cxn>
              <a:cxn ang="0">
                <a:pos x="250" y="2736"/>
              </a:cxn>
              <a:cxn ang="0">
                <a:pos x="210" y="2393"/>
              </a:cxn>
              <a:cxn ang="0">
                <a:pos x="461" y="2435"/>
              </a:cxn>
              <a:cxn ang="0">
                <a:pos x="452" y="2131"/>
              </a:cxn>
              <a:cxn ang="0">
                <a:pos x="680" y="1678"/>
              </a:cxn>
              <a:cxn ang="0">
                <a:pos x="1026" y="1416"/>
              </a:cxn>
              <a:cxn ang="0">
                <a:pos x="1522" y="949"/>
              </a:cxn>
              <a:cxn ang="0">
                <a:pos x="1952" y="757"/>
              </a:cxn>
              <a:cxn ang="0">
                <a:pos x="2333" y="619"/>
              </a:cxn>
              <a:cxn ang="0">
                <a:pos x="2444" y="299"/>
              </a:cxn>
              <a:cxn ang="0">
                <a:pos x="2773" y="25"/>
              </a:cxn>
              <a:cxn ang="0">
                <a:pos x="2919" y="264"/>
              </a:cxn>
              <a:cxn ang="0">
                <a:pos x="3072" y="318"/>
              </a:cxn>
              <a:cxn ang="0">
                <a:pos x="3546" y="329"/>
              </a:cxn>
              <a:cxn ang="0">
                <a:pos x="3672" y="814"/>
              </a:cxn>
              <a:cxn ang="0">
                <a:pos x="3223" y="1547"/>
              </a:cxn>
              <a:cxn ang="0">
                <a:pos x="3503" y="1587"/>
              </a:cxn>
              <a:cxn ang="0">
                <a:pos x="3796" y="1817"/>
              </a:cxn>
              <a:cxn ang="0">
                <a:pos x="3880" y="2697"/>
              </a:cxn>
              <a:cxn ang="0">
                <a:pos x="3460" y="3126"/>
              </a:cxn>
            </a:cxnLst>
            <a:rect l="0" t="0" r="r" b="b"/>
            <a:pathLst>
              <a:path w="4296" h="9808">
                <a:moveTo>
                  <a:pt x="3460" y="3126"/>
                </a:moveTo>
                <a:cubicBezTo>
                  <a:pt x="3508" y="3139"/>
                  <a:pt x="3551" y="3169"/>
                  <a:pt x="3602" y="3222"/>
                </a:cubicBezTo>
                <a:lnTo>
                  <a:pt x="3676" y="3299"/>
                </a:lnTo>
                <a:lnTo>
                  <a:pt x="3725" y="3563"/>
                </a:lnTo>
                <a:cubicBezTo>
                  <a:pt x="3754" y="3707"/>
                  <a:pt x="3776" y="3835"/>
                  <a:pt x="3776" y="3846"/>
                </a:cubicBezTo>
                <a:cubicBezTo>
                  <a:pt x="3776" y="3856"/>
                  <a:pt x="3751" y="3896"/>
                  <a:pt x="3720" y="3933"/>
                </a:cubicBezTo>
                <a:cubicBezTo>
                  <a:pt x="3653" y="4016"/>
                  <a:pt x="3652" y="4038"/>
                  <a:pt x="3711" y="4081"/>
                </a:cubicBezTo>
                <a:cubicBezTo>
                  <a:pt x="3749" y="4110"/>
                  <a:pt x="3757" y="4129"/>
                  <a:pt x="3767" y="4216"/>
                </a:cubicBezTo>
                <a:cubicBezTo>
                  <a:pt x="3775" y="4299"/>
                  <a:pt x="3789" y="4336"/>
                  <a:pt x="3848" y="4425"/>
                </a:cubicBezTo>
                <a:cubicBezTo>
                  <a:pt x="3888" y="4485"/>
                  <a:pt x="3920" y="4544"/>
                  <a:pt x="3920" y="4558"/>
                </a:cubicBezTo>
                <a:cubicBezTo>
                  <a:pt x="3920" y="4573"/>
                  <a:pt x="3906" y="4613"/>
                  <a:pt x="3887" y="4649"/>
                </a:cubicBezTo>
                <a:cubicBezTo>
                  <a:pt x="3858" y="4705"/>
                  <a:pt x="3855" y="4734"/>
                  <a:pt x="3863" y="4819"/>
                </a:cubicBezTo>
                <a:cubicBezTo>
                  <a:pt x="3868" y="4877"/>
                  <a:pt x="3876" y="4926"/>
                  <a:pt x="3882" y="4933"/>
                </a:cubicBezTo>
                <a:cubicBezTo>
                  <a:pt x="3893" y="4944"/>
                  <a:pt x="3924" y="4945"/>
                  <a:pt x="4141" y="4947"/>
                </a:cubicBezTo>
                <a:lnTo>
                  <a:pt x="4296" y="4950"/>
                </a:lnTo>
                <a:lnTo>
                  <a:pt x="4202" y="5013"/>
                </a:lnTo>
                <a:cubicBezTo>
                  <a:pt x="4149" y="5048"/>
                  <a:pt x="4101" y="5086"/>
                  <a:pt x="4095" y="5097"/>
                </a:cubicBezTo>
                <a:cubicBezTo>
                  <a:pt x="4088" y="5109"/>
                  <a:pt x="4080" y="5200"/>
                  <a:pt x="4079" y="5301"/>
                </a:cubicBezTo>
                <a:lnTo>
                  <a:pt x="4076" y="5481"/>
                </a:lnTo>
                <a:lnTo>
                  <a:pt x="4128" y="5526"/>
                </a:lnTo>
                <a:cubicBezTo>
                  <a:pt x="4178" y="5566"/>
                  <a:pt x="4181" y="5574"/>
                  <a:pt x="4172" y="5640"/>
                </a:cubicBezTo>
                <a:cubicBezTo>
                  <a:pt x="4128" y="5929"/>
                  <a:pt x="4133" y="5910"/>
                  <a:pt x="4063" y="5984"/>
                </a:cubicBezTo>
                <a:cubicBezTo>
                  <a:pt x="4002" y="6046"/>
                  <a:pt x="3992" y="6064"/>
                  <a:pt x="3983" y="6153"/>
                </a:cubicBezTo>
                <a:cubicBezTo>
                  <a:pt x="3976" y="6209"/>
                  <a:pt x="3965" y="6269"/>
                  <a:pt x="3960" y="6288"/>
                </a:cubicBezTo>
                <a:cubicBezTo>
                  <a:pt x="3948" y="6331"/>
                  <a:pt x="4031" y="6430"/>
                  <a:pt x="4108" y="6462"/>
                </a:cubicBezTo>
                <a:cubicBezTo>
                  <a:pt x="4173" y="6489"/>
                  <a:pt x="4176" y="6531"/>
                  <a:pt x="4120" y="6637"/>
                </a:cubicBezTo>
                <a:cubicBezTo>
                  <a:pt x="4098" y="6678"/>
                  <a:pt x="4080" y="6718"/>
                  <a:pt x="4080" y="6725"/>
                </a:cubicBezTo>
                <a:cubicBezTo>
                  <a:pt x="4080" y="6733"/>
                  <a:pt x="4114" y="6758"/>
                  <a:pt x="4154" y="6782"/>
                </a:cubicBezTo>
                <a:cubicBezTo>
                  <a:pt x="4205" y="6813"/>
                  <a:pt x="4224" y="6832"/>
                  <a:pt x="4220" y="6851"/>
                </a:cubicBezTo>
                <a:cubicBezTo>
                  <a:pt x="4215" y="6865"/>
                  <a:pt x="4202" y="6902"/>
                  <a:pt x="4191" y="6934"/>
                </a:cubicBezTo>
                <a:cubicBezTo>
                  <a:pt x="4181" y="6965"/>
                  <a:pt x="4170" y="6998"/>
                  <a:pt x="4167" y="7009"/>
                </a:cubicBezTo>
                <a:cubicBezTo>
                  <a:pt x="4160" y="7033"/>
                  <a:pt x="4120" y="7033"/>
                  <a:pt x="4066" y="7013"/>
                </a:cubicBezTo>
                <a:cubicBezTo>
                  <a:pt x="4045" y="7003"/>
                  <a:pt x="3986" y="6971"/>
                  <a:pt x="3935" y="6941"/>
                </a:cubicBezTo>
                <a:cubicBezTo>
                  <a:pt x="3858" y="6894"/>
                  <a:pt x="3832" y="6886"/>
                  <a:pt x="3788" y="6894"/>
                </a:cubicBezTo>
                <a:cubicBezTo>
                  <a:pt x="3743" y="6902"/>
                  <a:pt x="3690" y="6913"/>
                  <a:pt x="3679" y="6928"/>
                </a:cubicBezTo>
                <a:cubicBezTo>
                  <a:pt x="3668" y="6942"/>
                  <a:pt x="3668" y="6957"/>
                  <a:pt x="3679" y="6979"/>
                </a:cubicBezTo>
                <a:cubicBezTo>
                  <a:pt x="3733" y="7078"/>
                  <a:pt x="3733" y="7080"/>
                  <a:pt x="3607" y="7270"/>
                </a:cubicBezTo>
                <a:cubicBezTo>
                  <a:pt x="3501" y="7432"/>
                  <a:pt x="3488" y="7461"/>
                  <a:pt x="3488" y="7529"/>
                </a:cubicBezTo>
                <a:cubicBezTo>
                  <a:pt x="3488" y="7633"/>
                  <a:pt x="3461" y="7629"/>
                  <a:pt x="3368" y="7510"/>
                </a:cubicBezTo>
                <a:cubicBezTo>
                  <a:pt x="3328" y="7457"/>
                  <a:pt x="3288" y="7414"/>
                  <a:pt x="3280" y="7414"/>
                </a:cubicBezTo>
                <a:cubicBezTo>
                  <a:pt x="3274" y="7414"/>
                  <a:pt x="3247" y="7440"/>
                  <a:pt x="3221" y="7472"/>
                </a:cubicBezTo>
                <a:cubicBezTo>
                  <a:pt x="3176" y="7526"/>
                  <a:pt x="3167" y="7531"/>
                  <a:pt x="3063" y="7541"/>
                </a:cubicBezTo>
                <a:lnTo>
                  <a:pt x="2952" y="7550"/>
                </a:lnTo>
                <a:lnTo>
                  <a:pt x="2893" y="7662"/>
                </a:lnTo>
                <a:cubicBezTo>
                  <a:pt x="2860" y="7723"/>
                  <a:pt x="2834" y="7785"/>
                  <a:pt x="2832" y="7798"/>
                </a:cubicBezTo>
                <a:cubicBezTo>
                  <a:pt x="2832" y="7811"/>
                  <a:pt x="2855" y="7880"/>
                  <a:pt x="2880" y="7949"/>
                </a:cubicBezTo>
                <a:cubicBezTo>
                  <a:pt x="2935" y="8089"/>
                  <a:pt x="2941" y="8072"/>
                  <a:pt x="2812" y="8221"/>
                </a:cubicBezTo>
                <a:lnTo>
                  <a:pt x="2733" y="8309"/>
                </a:lnTo>
                <a:lnTo>
                  <a:pt x="2757" y="8381"/>
                </a:lnTo>
                <a:cubicBezTo>
                  <a:pt x="2780" y="8446"/>
                  <a:pt x="2780" y="8469"/>
                  <a:pt x="2757" y="8605"/>
                </a:cubicBezTo>
                <a:lnTo>
                  <a:pt x="2732" y="8755"/>
                </a:lnTo>
                <a:lnTo>
                  <a:pt x="2647" y="8814"/>
                </a:lnTo>
                <a:cubicBezTo>
                  <a:pt x="2599" y="8848"/>
                  <a:pt x="2560" y="8885"/>
                  <a:pt x="2560" y="8897"/>
                </a:cubicBezTo>
                <a:cubicBezTo>
                  <a:pt x="2560" y="8910"/>
                  <a:pt x="2602" y="8966"/>
                  <a:pt x="2653" y="9022"/>
                </a:cubicBezTo>
                <a:cubicBezTo>
                  <a:pt x="2703" y="9080"/>
                  <a:pt x="2744" y="9131"/>
                  <a:pt x="2744" y="9136"/>
                </a:cubicBezTo>
                <a:cubicBezTo>
                  <a:pt x="2744" y="9142"/>
                  <a:pt x="2666" y="9169"/>
                  <a:pt x="2568" y="9198"/>
                </a:cubicBezTo>
                <a:lnTo>
                  <a:pt x="2392" y="9249"/>
                </a:lnTo>
                <a:lnTo>
                  <a:pt x="2378" y="9317"/>
                </a:lnTo>
                <a:cubicBezTo>
                  <a:pt x="2368" y="9360"/>
                  <a:pt x="2349" y="9393"/>
                  <a:pt x="2325" y="9409"/>
                </a:cubicBezTo>
                <a:cubicBezTo>
                  <a:pt x="2304" y="9422"/>
                  <a:pt x="2260" y="9481"/>
                  <a:pt x="2226" y="9541"/>
                </a:cubicBezTo>
                <a:cubicBezTo>
                  <a:pt x="2120" y="9720"/>
                  <a:pt x="2063" y="9761"/>
                  <a:pt x="1856" y="9805"/>
                </a:cubicBezTo>
                <a:cubicBezTo>
                  <a:pt x="1844" y="9808"/>
                  <a:pt x="1776" y="9801"/>
                  <a:pt x="1709" y="9792"/>
                </a:cubicBezTo>
                <a:cubicBezTo>
                  <a:pt x="1607" y="9777"/>
                  <a:pt x="1576" y="9766"/>
                  <a:pt x="1541" y="9729"/>
                </a:cubicBezTo>
                <a:lnTo>
                  <a:pt x="1496" y="9685"/>
                </a:lnTo>
                <a:lnTo>
                  <a:pt x="1588" y="9601"/>
                </a:lnTo>
                <a:cubicBezTo>
                  <a:pt x="1652" y="9544"/>
                  <a:pt x="1684" y="9499"/>
                  <a:pt x="1695" y="9457"/>
                </a:cubicBezTo>
                <a:cubicBezTo>
                  <a:pt x="1703" y="9425"/>
                  <a:pt x="1736" y="9368"/>
                  <a:pt x="1767" y="9331"/>
                </a:cubicBezTo>
                <a:cubicBezTo>
                  <a:pt x="1799" y="9294"/>
                  <a:pt x="1824" y="9254"/>
                  <a:pt x="1824" y="9241"/>
                </a:cubicBezTo>
                <a:cubicBezTo>
                  <a:pt x="1824" y="9230"/>
                  <a:pt x="1775" y="9121"/>
                  <a:pt x="1714" y="9001"/>
                </a:cubicBezTo>
                <a:cubicBezTo>
                  <a:pt x="1655" y="8880"/>
                  <a:pt x="1599" y="8752"/>
                  <a:pt x="1594" y="8715"/>
                </a:cubicBezTo>
                <a:cubicBezTo>
                  <a:pt x="1573" y="8600"/>
                  <a:pt x="1562" y="8593"/>
                  <a:pt x="1428" y="8621"/>
                </a:cubicBezTo>
                <a:cubicBezTo>
                  <a:pt x="1256" y="8657"/>
                  <a:pt x="1231" y="8654"/>
                  <a:pt x="1189" y="8593"/>
                </a:cubicBezTo>
                <a:cubicBezTo>
                  <a:pt x="1133" y="8510"/>
                  <a:pt x="1132" y="8496"/>
                  <a:pt x="1184" y="8446"/>
                </a:cubicBezTo>
                <a:cubicBezTo>
                  <a:pt x="1224" y="8408"/>
                  <a:pt x="1232" y="8387"/>
                  <a:pt x="1232" y="8329"/>
                </a:cubicBezTo>
                <a:cubicBezTo>
                  <a:pt x="1232" y="8272"/>
                  <a:pt x="1220" y="8240"/>
                  <a:pt x="1162" y="8158"/>
                </a:cubicBezTo>
                <a:lnTo>
                  <a:pt x="1092" y="8057"/>
                </a:lnTo>
                <a:lnTo>
                  <a:pt x="1120" y="8013"/>
                </a:lnTo>
                <a:cubicBezTo>
                  <a:pt x="1140" y="7984"/>
                  <a:pt x="1148" y="7952"/>
                  <a:pt x="1141" y="7920"/>
                </a:cubicBezTo>
                <a:cubicBezTo>
                  <a:pt x="1135" y="7878"/>
                  <a:pt x="1146" y="7854"/>
                  <a:pt x="1199" y="7787"/>
                </a:cubicBezTo>
                <a:cubicBezTo>
                  <a:pt x="1252" y="7721"/>
                  <a:pt x="1264" y="7693"/>
                  <a:pt x="1264" y="7640"/>
                </a:cubicBezTo>
                <a:cubicBezTo>
                  <a:pt x="1264" y="7579"/>
                  <a:pt x="1261" y="7574"/>
                  <a:pt x="1205" y="7560"/>
                </a:cubicBezTo>
                <a:cubicBezTo>
                  <a:pt x="991" y="7504"/>
                  <a:pt x="1008" y="7513"/>
                  <a:pt x="1008" y="7449"/>
                </a:cubicBezTo>
                <a:cubicBezTo>
                  <a:pt x="1008" y="7376"/>
                  <a:pt x="1015" y="7368"/>
                  <a:pt x="1109" y="7304"/>
                </a:cubicBezTo>
                <a:cubicBezTo>
                  <a:pt x="1192" y="7246"/>
                  <a:pt x="1196" y="7235"/>
                  <a:pt x="1159" y="7142"/>
                </a:cubicBezTo>
                <a:cubicBezTo>
                  <a:pt x="1135" y="7081"/>
                  <a:pt x="1130" y="7078"/>
                  <a:pt x="1064" y="7078"/>
                </a:cubicBezTo>
                <a:cubicBezTo>
                  <a:pt x="999" y="7078"/>
                  <a:pt x="991" y="7072"/>
                  <a:pt x="912" y="6974"/>
                </a:cubicBezTo>
                <a:cubicBezTo>
                  <a:pt x="820" y="6861"/>
                  <a:pt x="820" y="6861"/>
                  <a:pt x="596" y="6845"/>
                </a:cubicBezTo>
                <a:cubicBezTo>
                  <a:pt x="415" y="6832"/>
                  <a:pt x="383" y="6811"/>
                  <a:pt x="431" y="6737"/>
                </a:cubicBezTo>
                <a:cubicBezTo>
                  <a:pt x="461" y="6689"/>
                  <a:pt x="461" y="6688"/>
                  <a:pt x="426" y="6593"/>
                </a:cubicBezTo>
                <a:cubicBezTo>
                  <a:pt x="402" y="6525"/>
                  <a:pt x="397" y="6496"/>
                  <a:pt x="412" y="6491"/>
                </a:cubicBezTo>
                <a:cubicBezTo>
                  <a:pt x="440" y="6480"/>
                  <a:pt x="679" y="6307"/>
                  <a:pt x="692" y="6288"/>
                </a:cubicBezTo>
                <a:cubicBezTo>
                  <a:pt x="712" y="6257"/>
                  <a:pt x="706" y="6249"/>
                  <a:pt x="602" y="6189"/>
                </a:cubicBezTo>
                <a:cubicBezTo>
                  <a:pt x="525" y="6144"/>
                  <a:pt x="492" y="6113"/>
                  <a:pt x="471" y="6067"/>
                </a:cubicBezTo>
                <a:cubicBezTo>
                  <a:pt x="439" y="5997"/>
                  <a:pt x="442" y="5992"/>
                  <a:pt x="584" y="5838"/>
                </a:cubicBezTo>
                <a:cubicBezTo>
                  <a:pt x="680" y="5734"/>
                  <a:pt x="685" y="5713"/>
                  <a:pt x="647" y="5600"/>
                </a:cubicBezTo>
                <a:cubicBezTo>
                  <a:pt x="621" y="5525"/>
                  <a:pt x="621" y="5525"/>
                  <a:pt x="666" y="5461"/>
                </a:cubicBezTo>
                <a:cubicBezTo>
                  <a:pt x="744" y="5352"/>
                  <a:pt x="752" y="5329"/>
                  <a:pt x="752" y="5203"/>
                </a:cubicBezTo>
                <a:cubicBezTo>
                  <a:pt x="752" y="5057"/>
                  <a:pt x="733" y="5027"/>
                  <a:pt x="621" y="4998"/>
                </a:cubicBezTo>
                <a:cubicBezTo>
                  <a:pt x="536" y="4976"/>
                  <a:pt x="544" y="4995"/>
                  <a:pt x="536" y="4790"/>
                </a:cubicBezTo>
                <a:cubicBezTo>
                  <a:pt x="535" y="4741"/>
                  <a:pt x="532" y="4693"/>
                  <a:pt x="530" y="4681"/>
                </a:cubicBezTo>
                <a:cubicBezTo>
                  <a:pt x="530" y="4670"/>
                  <a:pt x="504" y="4649"/>
                  <a:pt x="474" y="4638"/>
                </a:cubicBezTo>
                <a:lnTo>
                  <a:pt x="421" y="4616"/>
                </a:lnTo>
                <a:lnTo>
                  <a:pt x="410" y="4453"/>
                </a:lnTo>
                <a:cubicBezTo>
                  <a:pt x="399" y="4315"/>
                  <a:pt x="391" y="4278"/>
                  <a:pt x="352" y="4214"/>
                </a:cubicBezTo>
                <a:cubicBezTo>
                  <a:pt x="324" y="4165"/>
                  <a:pt x="301" y="4094"/>
                  <a:pt x="288" y="4016"/>
                </a:cubicBezTo>
                <a:cubicBezTo>
                  <a:pt x="272" y="3907"/>
                  <a:pt x="274" y="3891"/>
                  <a:pt x="303" y="3835"/>
                </a:cubicBezTo>
                <a:cubicBezTo>
                  <a:pt x="332" y="3779"/>
                  <a:pt x="399" y="3677"/>
                  <a:pt x="415" y="3630"/>
                </a:cubicBezTo>
                <a:cubicBezTo>
                  <a:pt x="431" y="3584"/>
                  <a:pt x="426" y="3560"/>
                  <a:pt x="375" y="3414"/>
                </a:cubicBezTo>
                <a:lnTo>
                  <a:pt x="316" y="3251"/>
                </a:lnTo>
                <a:lnTo>
                  <a:pt x="258" y="3262"/>
                </a:lnTo>
                <a:cubicBezTo>
                  <a:pt x="144" y="3283"/>
                  <a:pt x="141" y="3281"/>
                  <a:pt x="71" y="3182"/>
                </a:cubicBezTo>
                <a:cubicBezTo>
                  <a:pt x="32" y="3129"/>
                  <a:pt x="2" y="3081"/>
                  <a:pt x="0" y="3075"/>
                </a:cubicBezTo>
                <a:cubicBezTo>
                  <a:pt x="0" y="3069"/>
                  <a:pt x="44" y="3033"/>
                  <a:pt x="96" y="2995"/>
                </a:cubicBezTo>
                <a:cubicBezTo>
                  <a:pt x="197" y="2921"/>
                  <a:pt x="234" y="2861"/>
                  <a:pt x="250" y="2736"/>
                </a:cubicBezTo>
                <a:cubicBezTo>
                  <a:pt x="260" y="2675"/>
                  <a:pt x="253" y="2662"/>
                  <a:pt x="194" y="2590"/>
                </a:cubicBezTo>
                <a:cubicBezTo>
                  <a:pt x="159" y="2545"/>
                  <a:pt x="128" y="2502"/>
                  <a:pt x="128" y="2494"/>
                </a:cubicBezTo>
                <a:cubicBezTo>
                  <a:pt x="128" y="2485"/>
                  <a:pt x="165" y="2440"/>
                  <a:pt x="210" y="2393"/>
                </a:cubicBezTo>
                <a:lnTo>
                  <a:pt x="292" y="2309"/>
                </a:lnTo>
                <a:lnTo>
                  <a:pt x="317" y="2344"/>
                </a:lnTo>
                <a:cubicBezTo>
                  <a:pt x="372" y="2421"/>
                  <a:pt x="400" y="2440"/>
                  <a:pt x="461" y="2435"/>
                </a:cubicBezTo>
                <a:lnTo>
                  <a:pt x="520" y="2430"/>
                </a:lnTo>
                <a:lnTo>
                  <a:pt x="525" y="2331"/>
                </a:lnTo>
                <a:cubicBezTo>
                  <a:pt x="530" y="2237"/>
                  <a:pt x="528" y="2230"/>
                  <a:pt x="452" y="2131"/>
                </a:cubicBezTo>
                <a:cubicBezTo>
                  <a:pt x="410" y="2075"/>
                  <a:pt x="370" y="2017"/>
                  <a:pt x="364" y="2001"/>
                </a:cubicBezTo>
                <a:cubicBezTo>
                  <a:pt x="352" y="1971"/>
                  <a:pt x="381" y="1734"/>
                  <a:pt x="399" y="1715"/>
                </a:cubicBezTo>
                <a:cubicBezTo>
                  <a:pt x="404" y="1709"/>
                  <a:pt x="532" y="1693"/>
                  <a:pt x="680" y="1678"/>
                </a:cubicBezTo>
                <a:cubicBezTo>
                  <a:pt x="1071" y="1641"/>
                  <a:pt x="1088" y="1638"/>
                  <a:pt x="1100" y="1611"/>
                </a:cubicBezTo>
                <a:cubicBezTo>
                  <a:pt x="1104" y="1597"/>
                  <a:pt x="1090" y="1549"/>
                  <a:pt x="1068" y="1501"/>
                </a:cubicBezTo>
                <a:lnTo>
                  <a:pt x="1026" y="1416"/>
                </a:lnTo>
                <a:lnTo>
                  <a:pt x="1093" y="1317"/>
                </a:lnTo>
                <a:cubicBezTo>
                  <a:pt x="1130" y="1261"/>
                  <a:pt x="1197" y="1174"/>
                  <a:pt x="1244" y="1125"/>
                </a:cubicBezTo>
                <a:cubicBezTo>
                  <a:pt x="1316" y="1048"/>
                  <a:pt x="1354" y="1024"/>
                  <a:pt x="1522" y="949"/>
                </a:cubicBezTo>
                <a:cubicBezTo>
                  <a:pt x="1661" y="886"/>
                  <a:pt x="1722" y="851"/>
                  <a:pt x="1733" y="824"/>
                </a:cubicBezTo>
                <a:cubicBezTo>
                  <a:pt x="1749" y="792"/>
                  <a:pt x="1880" y="710"/>
                  <a:pt x="1919" y="710"/>
                </a:cubicBezTo>
                <a:cubicBezTo>
                  <a:pt x="1927" y="710"/>
                  <a:pt x="1941" y="731"/>
                  <a:pt x="1952" y="757"/>
                </a:cubicBezTo>
                <a:cubicBezTo>
                  <a:pt x="1988" y="843"/>
                  <a:pt x="1999" y="843"/>
                  <a:pt x="2175" y="758"/>
                </a:cubicBezTo>
                <a:lnTo>
                  <a:pt x="2338" y="678"/>
                </a:lnTo>
                <a:lnTo>
                  <a:pt x="2333" y="619"/>
                </a:lnTo>
                <a:cubicBezTo>
                  <a:pt x="2328" y="565"/>
                  <a:pt x="2332" y="560"/>
                  <a:pt x="2384" y="545"/>
                </a:cubicBezTo>
                <a:cubicBezTo>
                  <a:pt x="2477" y="521"/>
                  <a:pt x="2485" y="505"/>
                  <a:pt x="2463" y="395"/>
                </a:cubicBezTo>
                <a:lnTo>
                  <a:pt x="2444" y="299"/>
                </a:lnTo>
                <a:lnTo>
                  <a:pt x="2522" y="174"/>
                </a:lnTo>
                <a:cubicBezTo>
                  <a:pt x="2565" y="105"/>
                  <a:pt x="2615" y="40"/>
                  <a:pt x="2632" y="29"/>
                </a:cubicBezTo>
                <a:cubicBezTo>
                  <a:pt x="2671" y="0"/>
                  <a:pt x="2738" y="0"/>
                  <a:pt x="2773" y="25"/>
                </a:cubicBezTo>
                <a:cubicBezTo>
                  <a:pt x="2797" y="45"/>
                  <a:pt x="2794" y="53"/>
                  <a:pt x="2735" y="121"/>
                </a:cubicBezTo>
                <a:cubicBezTo>
                  <a:pt x="2644" y="229"/>
                  <a:pt x="2656" y="253"/>
                  <a:pt x="2799" y="238"/>
                </a:cubicBezTo>
                <a:cubicBezTo>
                  <a:pt x="2904" y="227"/>
                  <a:pt x="2909" y="229"/>
                  <a:pt x="2919" y="264"/>
                </a:cubicBezTo>
                <a:cubicBezTo>
                  <a:pt x="2924" y="285"/>
                  <a:pt x="2928" y="317"/>
                  <a:pt x="2928" y="336"/>
                </a:cubicBezTo>
                <a:cubicBezTo>
                  <a:pt x="2928" y="365"/>
                  <a:pt x="2956" y="390"/>
                  <a:pt x="2986" y="390"/>
                </a:cubicBezTo>
                <a:cubicBezTo>
                  <a:pt x="2989" y="390"/>
                  <a:pt x="3028" y="357"/>
                  <a:pt x="3072" y="318"/>
                </a:cubicBezTo>
                <a:lnTo>
                  <a:pt x="3154" y="246"/>
                </a:lnTo>
                <a:lnTo>
                  <a:pt x="3442" y="246"/>
                </a:lnTo>
                <a:lnTo>
                  <a:pt x="3546" y="329"/>
                </a:lnTo>
                <a:cubicBezTo>
                  <a:pt x="3605" y="376"/>
                  <a:pt x="3655" y="430"/>
                  <a:pt x="3660" y="453"/>
                </a:cubicBezTo>
                <a:cubicBezTo>
                  <a:pt x="3666" y="475"/>
                  <a:pt x="3671" y="566"/>
                  <a:pt x="3672" y="654"/>
                </a:cubicBezTo>
                <a:lnTo>
                  <a:pt x="3672" y="814"/>
                </a:lnTo>
                <a:lnTo>
                  <a:pt x="3567" y="974"/>
                </a:lnTo>
                <a:cubicBezTo>
                  <a:pt x="3509" y="1062"/>
                  <a:pt x="3424" y="1201"/>
                  <a:pt x="3378" y="1283"/>
                </a:cubicBezTo>
                <a:cubicBezTo>
                  <a:pt x="3332" y="1366"/>
                  <a:pt x="3263" y="1485"/>
                  <a:pt x="3223" y="1547"/>
                </a:cubicBezTo>
                <a:cubicBezTo>
                  <a:pt x="3154" y="1659"/>
                  <a:pt x="3138" y="1707"/>
                  <a:pt x="3167" y="1725"/>
                </a:cubicBezTo>
                <a:cubicBezTo>
                  <a:pt x="3176" y="1729"/>
                  <a:pt x="3223" y="1729"/>
                  <a:pt x="3274" y="1723"/>
                </a:cubicBezTo>
                <a:cubicBezTo>
                  <a:pt x="3360" y="1713"/>
                  <a:pt x="3373" y="1705"/>
                  <a:pt x="3503" y="1587"/>
                </a:cubicBezTo>
                <a:cubicBezTo>
                  <a:pt x="3578" y="1518"/>
                  <a:pt x="3645" y="1462"/>
                  <a:pt x="3652" y="1462"/>
                </a:cubicBezTo>
                <a:cubicBezTo>
                  <a:pt x="3664" y="1462"/>
                  <a:pt x="3669" y="1475"/>
                  <a:pt x="3706" y="1643"/>
                </a:cubicBezTo>
                <a:cubicBezTo>
                  <a:pt x="3732" y="1753"/>
                  <a:pt x="3741" y="1774"/>
                  <a:pt x="3796" y="1817"/>
                </a:cubicBezTo>
                <a:cubicBezTo>
                  <a:pt x="3831" y="1843"/>
                  <a:pt x="3906" y="1939"/>
                  <a:pt x="3967" y="2029"/>
                </a:cubicBezTo>
                <a:cubicBezTo>
                  <a:pt x="4135" y="2280"/>
                  <a:pt x="4130" y="2246"/>
                  <a:pt x="4016" y="2374"/>
                </a:cubicBezTo>
                <a:cubicBezTo>
                  <a:pt x="3908" y="2497"/>
                  <a:pt x="3896" y="2525"/>
                  <a:pt x="3880" y="2697"/>
                </a:cubicBezTo>
                <a:cubicBezTo>
                  <a:pt x="3866" y="2849"/>
                  <a:pt x="3858" y="2862"/>
                  <a:pt x="3780" y="2856"/>
                </a:cubicBezTo>
                <a:cubicBezTo>
                  <a:pt x="3722" y="2853"/>
                  <a:pt x="3712" y="2859"/>
                  <a:pt x="3604" y="2973"/>
                </a:cubicBezTo>
                <a:lnTo>
                  <a:pt x="3460" y="312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56" name="Курганская область"/>
          <p:cNvSpPr>
            <a:spLocks/>
          </p:cNvSpPr>
          <p:nvPr/>
        </p:nvSpPr>
        <p:spPr bwMode="auto">
          <a:xfrm>
            <a:off x="2914627" y="3802207"/>
            <a:ext cx="398357" cy="239306"/>
          </a:xfrm>
          <a:custGeom>
            <a:avLst/>
            <a:gdLst/>
            <a:ahLst/>
            <a:cxnLst>
              <a:cxn ang="0">
                <a:pos x="880" y="853"/>
              </a:cxn>
              <a:cxn ang="0">
                <a:pos x="584" y="845"/>
              </a:cxn>
              <a:cxn ang="0">
                <a:pos x="341" y="834"/>
              </a:cxn>
              <a:cxn ang="0">
                <a:pos x="150" y="795"/>
              </a:cxn>
              <a:cxn ang="0">
                <a:pos x="184" y="727"/>
              </a:cxn>
              <a:cxn ang="0">
                <a:pos x="219" y="650"/>
              </a:cxn>
              <a:cxn ang="0">
                <a:pos x="106" y="600"/>
              </a:cxn>
              <a:cxn ang="0">
                <a:pos x="0" y="562"/>
              </a:cxn>
              <a:cxn ang="0">
                <a:pos x="150" y="352"/>
              </a:cxn>
              <a:cxn ang="0">
                <a:pos x="208" y="176"/>
              </a:cxn>
              <a:cxn ang="0">
                <a:pos x="208" y="53"/>
              </a:cxn>
              <a:cxn ang="0">
                <a:pos x="264" y="27"/>
              </a:cxn>
              <a:cxn ang="0">
                <a:pos x="358" y="0"/>
              </a:cxn>
              <a:cxn ang="0">
                <a:pos x="571" y="90"/>
              </a:cxn>
              <a:cxn ang="0">
                <a:pos x="680" y="90"/>
              </a:cxn>
              <a:cxn ang="0">
                <a:pos x="774" y="141"/>
              </a:cxn>
              <a:cxn ang="0">
                <a:pos x="925" y="440"/>
              </a:cxn>
              <a:cxn ang="0">
                <a:pos x="1130" y="555"/>
              </a:cxn>
              <a:cxn ang="0">
                <a:pos x="1226" y="664"/>
              </a:cxn>
              <a:cxn ang="0">
                <a:pos x="1266" y="831"/>
              </a:cxn>
              <a:cxn ang="0">
                <a:pos x="880" y="853"/>
              </a:cxn>
            </a:cxnLst>
            <a:rect l="0" t="0" r="r" b="b"/>
            <a:pathLst>
              <a:path w="1326" h="880">
                <a:moveTo>
                  <a:pt x="880" y="853"/>
                </a:moveTo>
                <a:cubicBezTo>
                  <a:pt x="709" y="834"/>
                  <a:pt x="632" y="832"/>
                  <a:pt x="584" y="845"/>
                </a:cubicBezTo>
                <a:cubicBezTo>
                  <a:pt x="536" y="858"/>
                  <a:pt x="477" y="855"/>
                  <a:pt x="341" y="834"/>
                </a:cubicBezTo>
                <a:cubicBezTo>
                  <a:pt x="243" y="819"/>
                  <a:pt x="157" y="802"/>
                  <a:pt x="150" y="795"/>
                </a:cubicBezTo>
                <a:cubicBezTo>
                  <a:pt x="146" y="789"/>
                  <a:pt x="160" y="759"/>
                  <a:pt x="184" y="727"/>
                </a:cubicBezTo>
                <a:cubicBezTo>
                  <a:pt x="208" y="696"/>
                  <a:pt x="224" y="661"/>
                  <a:pt x="219" y="650"/>
                </a:cubicBezTo>
                <a:cubicBezTo>
                  <a:pt x="214" y="639"/>
                  <a:pt x="163" y="616"/>
                  <a:pt x="106" y="600"/>
                </a:cubicBezTo>
                <a:cubicBezTo>
                  <a:pt x="48" y="586"/>
                  <a:pt x="0" y="567"/>
                  <a:pt x="0" y="562"/>
                </a:cubicBezTo>
                <a:cubicBezTo>
                  <a:pt x="0" y="536"/>
                  <a:pt x="96" y="405"/>
                  <a:pt x="150" y="352"/>
                </a:cubicBezTo>
                <a:cubicBezTo>
                  <a:pt x="206" y="298"/>
                  <a:pt x="208" y="295"/>
                  <a:pt x="208" y="176"/>
                </a:cubicBezTo>
                <a:lnTo>
                  <a:pt x="208" y="53"/>
                </a:lnTo>
                <a:lnTo>
                  <a:pt x="264" y="27"/>
                </a:lnTo>
                <a:cubicBezTo>
                  <a:pt x="296" y="11"/>
                  <a:pt x="338" y="0"/>
                  <a:pt x="358" y="0"/>
                </a:cubicBezTo>
                <a:cubicBezTo>
                  <a:pt x="424" y="0"/>
                  <a:pt x="546" y="51"/>
                  <a:pt x="571" y="90"/>
                </a:cubicBezTo>
                <a:cubicBezTo>
                  <a:pt x="602" y="138"/>
                  <a:pt x="619" y="138"/>
                  <a:pt x="680" y="90"/>
                </a:cubicBezTo>
                <a:cubicBezTo>
                  <a:pt x="747" y="35"/>
                  <a:pt x="789" y="58"/>
                  <a:pt x="774" y="141"/>
                </a:cubicBezTo>
                <a:cubicBezTo>
                  <a:pt x="760" y="229"/>
                  <a:pt x="859" y="427"/>
                  <a:pt x="925" y="440"/>
                </a:cubicBezTo>
                <a:cubicBezTo>
                  <a:pt x="1008" y="458"/>
                  <a:pt x="1102" y="511"/>
                  <a:pt x="1130" y="555"/>
                </a:cubicBezTo>
                <a:cubicBezTo>
                  <a:pt x="1146" y="579"/>
                  <a:pt x="1189" y="629"/>
                  <a:pt x="1226" y="664"/>
                </a:cubicBezTo>
                <a:cubicBezTo>
                  <a:pt x="1318" y="751"/>
                  <a:pt x="1326" y="787"/>
                  <a:pt x="1266" y="831"/>
                </a:cubicBezTo>
                <a:cubicBezTo>
                  <a:pt x="1198" y="879"/>
                  <a:pt x="1150" y="880"/>
                  <a:pt x="880" y="853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57" name="Курская область"/>
          <p:cNvSpPr>
            <a:spLocks/>
          </p:cNvSpPr>
          <p:nvPr/>
        </p:nvSpPr>
        <p:spPr bwMode="auto">
          <a:xfrm>
            <a:off x="1200517" y="3249627"/>
            <a:ext cx="226968" cy="208849"/>
          </a:xfrm>
          <a:custGeom>
            <a:avLst/>
            <a:gdLst>
              <a:gd name="T0" fmla="*/ 557 w 47"/>
              <a:gd name="T1" fmla="*/ 695 h 48"/>
              <a:gd name="T2" fmla="*/ 439 w 47"/>
              <a:gd name="T3" fmla="*/ 621 h 48"/>
              <a:gd name="T4" fmla="*/ 290 w 47"/>
              <a:gd name="T5" fmla="*/ 549 h 48"/>
              <a:gd name="T6" fmla="*/ 143 w 47"/>
              <a:gd name="T7" fmla="*/ 471 h 48"/>
              <a:gd name="T8" fmla="*/ 74 w 47"/>
              <a:gd name="T9" fmla="*/ 415 h 48"/>
              <a:gd name="T10" fmla="*/ 42 w 47"/>
              <a:gd name="T11" fmla="*/ 285 h 48"/>
              <a:gd name="T12" fmla="*/ 66 w 47"/>
              <a:gd name="T13" fmla="*/ 128 h 48"/>
              <a:gd name="T14" fmla="*/ 146 w 47"/>
              <a:gd name="T15" fmla="*/ 52 h 48"/>
              <a:gd name="T16" fmla="*/ 255 w 47"/>
              <a:gd name="T17" fmla="*/ 8 h 48"/>
              <a:gd name="T18" fmla="*/ 423 w 47"/>
              <a:gd name="T19" fmla="*/ 111 h 48"/>
              <a:gd name="T20" fmla="*/ 572 w 47"/>
              <a:gd name="T21" fmla="*/ 362 h 48"/>
              <a:gd name="T22" fmla="*/ 676 w 47"/>
              <a:gd name="T23" fmla="*/ 540 h 48"/>
              <a:gd name="T24" fmla="*/ 762 w 47"/>
              <a:gd name="T25" fmla="*/ 642 h 48"/>
              <a:gd name="T26" fmla="*/ 719 w 47"/>
              <a:gd name="T27" fmla="*/ 685 h 48"/>
              <a:gd name="T28" fmla="*/ 557 w 47"/>
              <a:gd name="T29" fmla="*/ 695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7"/>
              <a:gd name="T46" fmla="*/ 0 h 48"/>
              <a:gd name="T47" fmla="*/ 762 w 47"/>
              <a:gd name="T48" fmla="*/ 764 h 4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7" h="48">
                <a:moveTo>
                  <a:pt x="34" y="44"/>
                </a:moveTo>
                <a:cubicBezTo>
                  <a:pt x="32" y="41"/>
                  <a:pt x="30" y="40"/>
                  <a:pt x="27" y="39"/>
                </a:cubicBezTo>
                <a:cubicBezTo>
                  <a:pt x="24" y="39"/>
                  <a:pt x="21" y="37"/>
                  <a:pt x="18" y="34"/>
                </a:cubicBezTo>
                <a:cubicBezTo>
                  <a:pt x="15" y="32"/>
                  <a:pt x="11" y="30"/>
                  <a:pt x="9" y="30"/>
                </a:cubicBezTo>
                <a:cubicBezTo>
                  <a:pt x="5" y="29"/>
                  <a:pt x="5" y="28"/>
                  <a:pt x="5" y="26"/>
                </a:cubicBezTo>
                <a:cubicBezTo>
                  <a:pt x="5" y="25"/>
                  <a:pt x="4" y="21"/>
                  <a:pt x="3" y="18"/>
                </a:cubicBezTo>
                <a:cubicBezTo>
                  <a:pt x="0" y="10"/>
                  <a:pt x="0" y="10"/>
                  <a:pt x="4" y="8"/>
                </a:cubicBezTo>
                <a:cubicBezTo>
                  <a:pt x="6" y="7"/>
                  <a:pt x="8" y="5"/>
                  <a:pt x="9" y="3"/>
                </a:cubicBezTo>
                <a:cubicBezTo>
                  <a:pt x="11" y="0"/>
                  <a:pt x="11" y="0"/>
                  <a:pt x="16" y="1"/>
                </a:cubicBezTo>
                <a:cubicBezTo>
                  <a:pt x="20" y="1"/>
                  <a:pt x="21" y="2"/>
                  <a:pt x="26" y="7"/>
                </a:cubicBezTo>
                <a:cubicBezTo>
                  <a:pt x="33" y="15"/>
                  <a:pt x="34" y="16"/>
                  <a:pt x="35" y="23"/>
                </a:cubicBezTo>
                <a:cubicBezTo>
                  <a:pt x="36" y="28"/>
                  <a:pt x="37" y="29"/>
                  <a:pt x="42" y="34"/>
                </a:cubicBezTo>
                <a:cubicBezTo>
                  <a:pt x="45" y="37"/>
                  <a:pt x="47" y="40"/>
                  <a:pt x="47" y="40"/>
                </a:cubicBezTo>
                <a:cubicBezTo>
                  <a:pt x="47" y="41"/>
                  <a:pt x="46" y="42"/>
                  <a:pt x="44" y="43"/>
                </a:cubicBezTo>
                <a:cubicBezTo>
                  <a:pt x="37" y="48"/>
                  <a:pt x="38" y="48"/>
                  <a:pt x="34" y="44"/>
                </a:cubicBezTo>
                <a:cubicBezTo>
                  <a:pt x="34" y="44"/>
                  <a:pt x="34" y="44"/>
                  <a:pt x="34" y="44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sp>
      <p:sp>
        <p:nvSpPr>
          <p:cNvPr id="158" name="Ленинградская область"/>
          <p:cNvSpPr>
            <a:spLocks/>
          </p:cNvSpPr>
          <p:nvPr/>
        </p:nvSpPr>
        <p:spPr bwMode="auto">
          <a:xfrm>
            <a:off x="1560788" y="2427284"/>
            <a:ext cx="444414" cy="352433"/>
          </a:xfrm>
          <a:custGeom>
            <a:avLst/>
            <a:gdLst/>
            <a:ahLst/>
            <a:cxnLst>
              <a:cxn ang="0">
                <a:pos x="896" y="1262"/>
              </a:cxn>
              <a:cxn ang="0">
                <a:pos x="877" y="1230"/>
              </a:cxn>
              <a:cxn ang="0">
                <a:pos x="810" y="1073"/>
              </a:cxn>
              <a:cxn ang="0">
                <a:pos x="744" y="929"/>
              </a:cxn>
              <a:cxn ang="0">
                <a:pos x="682" y="929"/>
              </a:cxn>
              <a:cxn ang="0">
                <a:pos x="629" y="897"/>
              </a:cxn>
              <a:cxn ang="0">
                <a:pos x="605" y="809"/>
              </a:cxn>
              <a:cxn ang="0">
                <a:pos x="461" y="768"/>
              </a:cxn>
              <a:cxn ang="0">
                <a:pos x="243" y="713"/>
              </a:cxn>
              <a:cxn ang="0">
                <a:pos x="157" y="697"/>
              </a:cxn>
              <a:cxn ang="0">
                <a:pos x="103" y="721"/>
              </a:cxn>
              <a:cxn ang="0">
                <a:pos x="87" y="628"/>
              </a:cxn>
              <a:cxn ang="0">
                <a:pos x="42" y="428"/>
              </a:cxn>
              <a:cxn ang="0">
                <a:pos x="119" y="281"/>
              </a:cxn>
              <a:cxn ang="0">
                <a:pos x="267" y="305"/>
              </a:cxn>
              <a:cxn ang="0">
                <a:pos x="391" y="500"/>
              </a:cxn>
              <a:cxn ang="0">
                <a:pos x="483" y="569"/>
              </a:cxn>
              <a:cxn ang="0">
                <a:pos x="621" y="574"/>
              </a:cxn>
              <a:cxn ang="0">
                <a:pos x="719" y="481"/>
              </a:cxn>
              <a:cxn ang="0">
                <a:pos x="754" y="380"/>
              </a:cxn>
              <a:cxn ang="0">
                <a:pos x="645" y="313"/>
              </a:cxn>
              <a:cxn ang="0">
                <a:pos x="527" y="206"/>
              </a:cxn>
              <a:cxn ang="0">
                <a:pos x="563" y="56"/>
              </a:cxn>
              <a:cxn ang="0">
                <a:pos x="688" y="4"/>
              </a:cxn>
              <a:cxn ang="0">
                <a:pos x="803" y="100"/>
              </a:cxn>
              <a:cxn ang="0">
                <a:pos x="947" y="412"/>
              </a:cxn>
              <a:cxn ang="0">
                <a:pos x="1045" y="633"/>
              </a:cxn>
              <a:cxn ang="0">
                <a:pos x="1138" y="646"/>
              </a:cxn>
              <a:cxn ang="0">
                <a:pos x="1272" y="622"/>
              </a:cxn>
              <a:cxn ang="0">
                <a:pos x="1312" y="585"/>
              </a:cxn>
              <a:cxn ang="0">
                <a:pos x="1351" y="633"/>
              </a:cxn>
              <a:cxn ang="0">
                <a:pos x="1437" y="747"/>
              </a:cxn>
              <a:cxn ang="0">
                <a:pos x="1485" y="814"/>
              </a:cxn>
              <a:cxn ang="0">
                <a:pos x="1427" y="833"/>
              </a:cxn>
              <a:cxn ang="0">
                <a:pos x="1253" y="955"/>
              </a:cxn>
              <a:cxn ang="0">
                <a:pos x="1130" y="1108"/>
              </a:cxn>
              <a:cxn ang="0">
                <a:pos x="1029" y="1219"/>
              </a:cxn>
              <a:cxn ang="0">
                <a:pos x="896" y="1262"/>
              </a:cxn>
            </a:cxnLst>
            <a:rect l="0" t="0" r="r" b="b"/>
            <a:pathLst>
              <a:path w="1485" h="1288">
                <a:moveTo>
                  <a:pt x="896" y="1262"/>
                </a:moveTo>
                <a:cubicBezTo>
                  <a:pt x="885" y="1251"/>
                  <a:pt x="877" y="1236"/>
                  <a:pt x="877" y="1230"/>
                </a:cubicBezTo>
                <a:cubicBezTo>
                  <a:pt x="877" y="1222"/>
                  <a:pt x="847" y="1152"/>
                  <a:pt x="810" y="1073"/>
                </a:cubicBezTo>
                <a:lnTo>
                  <a:pt x="744" y="929"/>
                </a:lnTo>
                <a:lnTo>
                  <a:pt x="682" y="929"/>
                </a:lnTo>
                <a:cubicBezTo>
                  <a:pt x="626" y="929"/>
                  <a:pt x="619" y="924"/>
                  <a:pt x="629" y="897"/>
                </a:cubicBezTo>
                <a:cubicBezTo>
                  <a:pt x="635" y="876"/>
                  <a:pt x="626" y="843"/>
                  <a:pt x="605" y="809"/>
                </a:cubicBezTo>
                <a:cubicBezTo>
                  <a:pt x="570" y="752"/>
                  <a:pt x="544" y="744"/>
                  <a:pt x="461" y="768"/>
                </a:cubicBezTo>
                <a:cubicBezTo>
                  <a:pt x="399" y="785"/>
                  <a:pt x="288" y="758"/>
                  <a:pt x="243" y="713"/>
                </a:cubicBezTo>
                <a:cubicBezTo>
                  <a:pt x="205" y="675"/>
                  <a:pt x="202" y="673"/>
                  <a:pt x="157" y="697"/>
                </a:cubicBezTo>
                <a:cubicBezTo>
                  <a:pt x="131" y="710"/>
                  <a:pt x="107" y="721"/>
                  <a:pt x="103" y="721"/>
                </a:cubicBezTo>
                <a:cubicBezTo>
                  <a:pt x="99" y="721"/>
                  <a:pt x="91" y="680"/>
                  <a:pt x="87" y="628"/>
                </a:cubicBezTo>
                <a:cubicBezTo>
                  <a:pt x="80" y="579"/>
                  <a:pt x="61" y="488"/>
                  <a:pt x="42" y="428"/>
                </a:cubicBezTo>
                <a:cubicBezTo>
                  <a:pt x="0" y="304"/>
                  <a:pt x="3" y="299"/>
                  <a:pt x="119" y="281"/>
                </a:cubicBezTo>
                <a:cubicBezTo>
                  <a:pt x="170" y="273"/>
                  <a:pt x="207" y="280"/>
                  <a:pt x="267" y="305"/>
                </a:cubicBezTo>
                <a:cubicBezTo>
                  <a:pt x="352" y="342"/>
                  <a:pt x="367" y="364"/>
                  <a:pt x="391" y="500"/>
                </a:cubicBezTo>
                <a:cubicBezTo>
                  <a:pt x="400" y="556"/>
                  <a:pt x="403" y="560"/>
                  <a:pt x="483" y="569"/>
                </a:cubicBezTo>
                <a:cubicBezTo>
                  <a:pt x="528" y="574"/>
                  <a:pt x="591" y="577"/>
                  <a:pt x="621" y="574"/>
                </a:cubicBezTo>
                <a:cubicBezTo>
                  <a:pt x="671" y="569"/>
                  <a:pt x="680" y="560"/>
                  <a:pt x="719" y="481"/>
                </a:cubicBezTo>
                <a:cubicBezTo>
                  <a:pt x="743" y="432"/>
                  <a:pt x="759" y="387"/>
                  <a:pt x="754" y="380"/>
                </a:cubicBezTo>
                <a:cubicBezTo>
                  <a:pt x="751" y="374"/>
                  <a:pt x="703" y="344"/>
                  <a:pt x="645" y="313"/>
                </a:cubicBezTo>
                <a:cubicBezTo>
                  <a:pt x="570" y="270"/>
                  <a:pt x="539" y="243"/>
                  <a:pt x="527" y="206"/>
                </a:cubicBezTo>
                <a:cubicBezTo>
                  <a:pt x="501" y="131"/>
                  <a:pt x="504" y="116"/>
                  <a:pt x="563" y="56"/>
                </a:cubicBezTo>
                <a:cubicBezTo>
                  <a:pt x="611" y="4"/>
                  <a:pt x="626" y="0"/>
                  <a:pt x="688" y="4"/>
                </a:cubicBezTo>
                <a:cubicBezTo>
                  <a:pt x="755" y="9"/>
                  <a:pt x="759" y="12"/>
                  <a:pt x="803" y="100"/>
                </a:cubicBezTo>
                <a:cubicBezTo>
                  <a:pt x="829" y="152"/>
                  <a:pt x="893" y="291"/>
                  <a:pt x="947" y="412"/>
                </a:cubicBezTo>
                <a:lnTo>
                  <a:pt x="1045" y="633"/>
                </a:lnTo>
                <a:lnTo>
                  <a:pt x="1138" y="646"/>
                </a:lnTo>
                <a:cubicBezTo>
                  <a:pt x="1224" y="659"/>
                  <a:pt x="1234" y="657"/>
                  <a:pt x="1272" y="622"/>
                </a:cubicBezTo>
                <a:lnTo>
                  <a:pt x="1312" y="585"/>
                </a:lnTo>
                <a:lnTo>
                  <a:pt x="1351" y="633"/>
                </a:lnTo>
                <a:cubicBezTo>
                  <a:pt x="1371" y="659"/>
                  <a:pt x="1411" y="710"/>
                  <a:pt x="1437" y="747"/>
                </a:cubicBezTo>
                <a:lnTo>
                  <a:pt x="1485" y="814"/>
                </a:lnTo>
                <a:lnTo>
                  <a:pt x="1427" y="833"/>
                </a:lnTo>
                <a:cubicBezTo>
                  <a:pt x="1395" y="844"/>
                  <a:pt x="1317" y="899"/>
                  <a:pt x="1253" y="955"/>
                </a:cubicBezTo>
                <a:cubicBezTo>
                  <a:pt x="1160" y="1036"/>
                  <a:pt x="1135" y="1068"/>
                  <a:pt x="1130" y="1108"/>
                </a:cubicBezTo>
                <a:cubicBezTo>
                  <a:pt x="1127" y="1150"/>
                  <a:pt x="1109" y="1168"/>
                  <a:pt x="1029" y="1219"/>
                </a:cubicBezTo>
                <a:cubicBezTo>
                  <a:pt x="919" y="1288"/>
                  <a:pt x="922" y="1286"/>
                  <a:pt x="896" y="126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59" name="Липецкая область"/>
          <p:cNvSpPr>
            <a:spLocks/>
          </p:cNvSpPr>
          <p:nvPr/>
        </p:nvSpPr>
        <p:spPr bwMode="auto">
          <a:xfrm>
            <a:off x="1413204" y="3327945"/>
            <a:ext cx="204715" cy="174041"/>
          </a:xfrm>
          <a:custGeom>
            <a:avLst/>
            <a:gdLst/>
            <a:ahLst/>
            <a:cxnLst>
              <a:cxn ang="0">
                <a:pos x="381" y="605"/>
              </a:cxn>
              <a:cxn ang="0">
                <a:pos x="304" y="518"/>
              </a:cxn>
              <a:cxn ang="0">
                <a:pos x="267" y="449"/>
              </a:cxn>
              <a:cxn ang="0">
                <a:pos x="221" y="395"/>
              </a:cxn>
              <a:cxn ang="0">
                <a:pos x="144" y="342"/>
              </a:cxn>
              <a:cxn ang="0">
                <a:pos x="48" y="272"/>
              </a:cxn>
              <a:cxn ang="0">
                <a:pos x="0" y="214"/>
              </a:cxn>
              <a:cxn ang="0">
                <a:pos x="56" y="209"/>
              </a:cxn>
              <a:cxn ang="0">
                <a:pos x="179" y="113"/>
              </a:cxn>
              <a:cxn ang="0">
                <a:pos x="258" y="8"/>
              </a:cxn>
              <a:cxn ang="0">
                <a:pos x="309" y="38"/>
              </a:cxn>
              <a:cxn ang="0">
                <a:pos x="347" y="83"/>
              </a:cxn>
              <a:cxn ang="0">
                <a:pos x="418" y="54"/>
              </a:cxn>
              <a:cxn ang="0">
                <a:pos x="506" y="19"/>
              </a:cxn>
              <a:cxn ang="0">
                <a:pos x="688" y="237"/>
              </a:cxn>
              <a:cxn ang="0">
                <a:pos x="600" y="310"/>
              </a:cxn>
              <a:cxn ang="0">
                <a:pos x="512" y="374"/>
              </a:cxn>
              <a:cxn ang="0">
                <a:pos x="515" y="493"/>
              </a:cxn>
              <a:cxn ang="0">
                <a:pos x="478" y="622"/>
              </a:cxn>
              <a:cxn ang="0">
                <a:pos x="381" y="605"/>
              </a:cxn>
            </a:cxnLst>
            <a:rect l="0" t="0" r="r" b="b"/>
            <a:pathLst>
              <a:path w="688" h="630">
                <a:moveTo>
                  <a:pt x="381" y="605"/>
                </a:moveTo>
                <a:cubicBezTo>
                  <a:pt x="341" y="584"/>
                  <a:pt x="317" y="557"/>
                  <a:pt x="304" y="518"/>
                </a:cubicBezTo>
                <a:cubicBezTo>
                  <a:pt x="294" y="488"/>
                  <a:pt x="277" y="456"/>
                  <a:pt x="267" y="449"/>
                </a:cubicBezTo>
                <a:cubicBezTo>
                  <a:pt x="256" y="443"/>
                  <a:pt x="235" y="419"/>
                  <a:pt x="221" y="395"/>
                </a:cubicBezTo>
                <a:cubicBezTo>
                  <a:pt x="205" y="371"/>
                  <a:pt x="171" y="349"/>
                  <a:pt x="144" y="342"/>
                </a:cubicBezTo>
                <a:cubicBezTo>
                  <a:pt x="117" y="336"/>
                  <a:pt x="75" y="305"/>
                  <a:pt x="48" y="272"/>
                </a:cubicBezTo>
                <a:lnTo>
                  <a:pt x="0" y="214"/>
                </a:lnTo>
                <a:lnTo>
                  <a:pt x="56" y="209"/>
                </a:lnTo>
                <a:cubicBezTo>
                  <a:pt x="104" y="205"/>
                  <a:pt x="123" y="190"/>
                  <a:pt x="179" y="113"/>
                </a:cubicBezTo>
                <a:cubicBezTo>
                  <a:pt x="214" y="62"/>
                  <a:pt x="250" y="16"/>
                  <a:pt x="258" y="8"/>
                </a:cubicBezTo>
                <a:cubicBezTo>
                  <a:pt x="264" y="0"/>
                  <a:pt x="288" y="14"/>
                  <a:pt x="309" y="38"/>
                </a:cubicBezTo>
                <a:lnTo>
                  <a:pt x="347" y="83"/>
                </a:lnTo>
                <a:lnTo>
                  <a:pt x="418" y="54"/>
                </a:lnTo>
                <a:cubicBezTo>
                  <a:pt x="456" y="40"/>
                  <a:pt x="496" y="24"/>
                  <a:pt x="506" y="19"/>
                </a:cubicBezTo>
                <a:cubicBezTo>
                  <a:pt x="522" y="13"/>
                  <a:pt x="688" y="213"/>
                  <a:pt x="688" y="237"/>
                </a:cubicBezTo>
                <a:cubicBezTo>
                  <a:pt x="688" y="241"/>
                  <a:pt x="648" y="275"/>
                  <a:pt x="600" y="310"/>
                </a:cubicBezTo>
                <a:lnTo>
                  <a:pt x="512" y="374"/>
                </a:lnTo>
                <a:lnTo>
                  <a:pt x="515" y="493"/>
                </a:lnTo>
                <a:cubicBezTo>
                  <a:pt x="520" y="608"/>
                  <a:pt x="518" y="613"/>
                  <a:pt x="478" y="622"/>
                </a:cubicBezTo>
                <a:cubicBezTo>
                  <a:pt x="453" y="630"/>
                  <a:pt x="418" y="624"/>
                  <a:pt x="381" y="605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0" name="Магаданская область"/>
          <p:cNvSpPr>
            <a:spLocks/>
          </p:cNvSpPr>
          <p:nvPr/>
        </p:nvSpPr>
        <p:spPr bwMode="auto">
          <a:xfrm>
            <a:off x="7117307" y="1787684"/>
            <a:ext cx="723752" cy="891960"/>
          </a:xfrm>
          <a:custGeom>
            <a:avLst/>
            <a:gdLst/>
            <a:ahLst/>
            <a:cxnLst>
              <a:cxn ang="0">
                <a:pos x="872" y="3135"/>
              </a:cxn>
              <a:cxn ang="0">
                <a:pos x="858" y="2991"/>
              </a:cxn>
              <a:cxn ang="0">
                <a:pos x="511" y="2799"/>
              </a:cxn>
              <a:cxn ang="0">
                <a:pos x="320" y="2896"/>
              </a:cxn>
              <a:cxn ang="0">
                <a:pos x="194" y="2658"/>
              </a:cxn>
              <a:cxn ang="0">
                <a:pos x="0" y="2187"/>
              </a:cxn>
              <a:cxn ang="0">
                <a:pos x="221" y="2059"/>
              </a:cxn>
              <a:cxn ang="0">
                <a:pos x="95" y="1901"/>
              </a:cxn>
              <a:cxn ang="0">
                <a:pos x="312" y="1744"/>
              </a:cxn>
              <a:cxn ang="0">
                <a:pos x="431" y="1771"/>
              </a:cxn>
              <a:cxn ang="0">
                <a:pos x="476" y="1533"/>
              </a:cxn>
              <a:cxn ang="0">
                <a:pos x="464" y="1311"/>
              </a:cxn>
              <a:cxn ang="0">
                <a:pos x="376" y="1128"/>
              </a:cxn>
              <a:cxn ang="0">
                <a:pos x="280" y="946"/>
              </a:cxn>
              <a:cxn ang="0">
                <a:pos x="208" y="760"/>
              </a:cxn>
              <a:cxn ang="0">
                <a:pos x="434" y="573"/>
              </a:cxn>
              <a:cxn ang="0">
                <a:pos x="581" y="410"/>
              </a:cxn>
              <a:cxn ang="0">
                <a:pos x="575" y="216"/>
              </a:cxn>
              <a:cxn ang="0">
                <a:pos x="709" y="296"/>
              </a:cxn>
              <a:cxn ang="0">
                <a:pos x="914" y="287"/>
              </a:cxn>
              <a:cxn ang="0">
                <a:pos x="1268" y="112"/>
              </a:cxn>
              <a:cxn ang="0">
                <a:pos x="1597" y="120"/>
              </a:cxn>
              <a:cxn ang="0">
                <a:pos x="1815" y="330"/>
              </a:cxn>
              <a:cxn ang="0">
                <a:pos x="1935" y="432"/>
              </a:cxn>
              <a:cxn ang="0">
                <a:pos x="2184" y="567"/>
              </a:cxn>
              <a:cxn ang="0">
                <a:pos x="2400" y="1103"/>
              </a:cxn>
              <a:cxn ang="0">
                <a:pos x="2164" y="999"/>
              </a:cxn>
              <a:cxn ang="0">
                <a:pos x="1908" y="1107"/>
              </a:cxn>
              <a:cxn ang="0">
                <a:pos x="1912" y="1847"/>
              </a:cxn>
              <a:cxn ang="0">
                <a:pos x="2192" y="2282"/>
              </a:cxn>
              <a:cxn ang="0">
                <a:pos x="2196" y="2373"/>
              </a:cxn>
              <a:cxn ang="0">
                <a:pos x="1972" y="2872"/>
              </a:cxn>
              <a:cxn ang="0">
                <a:pos x="1864" y="2680"/>
              </a:cxn>
              <a:cxn ang="0">
                <a:pos x="1480" y="3024"/>
              </a:cxn>
              <a:cxn ang="0">
                <a:pos x="1432" y="3160"/>
              </a:cxn>
              <a:cxn ang="0">
                <a:pos x="1181" y="3208"/>
              </a:cxn>
              <a:cxn ang="0">
                <a:pos x="845" y="3232"/>
              </a:cxn>
            </a:cxnLst>
            <a:rect l="0" t="0" r="r" b="b"/>
            <a:pathLst>
              <a:path w="2400" h="3280">
                <a:moveTo>
                  <a:pt x="845" y="3232"/>
                </a:moveTo>
                <a:cubicBezTo>
                  <a:pt x="831" y="3199"/>
                  <a:pt x="834" y="3184"/>
                  <a:pt x="872" y="3135"/>
                </a:cubicBezTo>
                <a:lnTo>
                  <a:pt x="916" y="3077"/>
                </a:lnTo>
                <a:lnTo>
                  <a:pt x="858" y="2991"/>
                </a:lnTo>
                <a:cubicBezTo>
                  <a:pt x="797" y="2899"/>
                  <a:pt x="704" y="2839"/>
                  <a:pt x="592" y="2816"/>
                </a:cubicBezTo>
                <a:cubicBezTo>
                  <a:pt x="562" y="2810"/>
                  <a:pt x="525" y="2802"/>
                  <a:pt x="511" y="2799"/>
                </a:cubicBezTo>
                <a:cubicBezTo>
                  <a:pt x="496" y="2794"/>
                  <a:pt x="452" y="2816"/>
                  <a:pt x="412" y="2848"/>
                </a:cubicBezTo>
                <a:cubicBezTo>
                  <a:pt x="370" y="2880"/>
                  <a:pt x="328" y="2901"/>
                  <a:pt x="320" y="2896"/>
                </a:cubicBezTo>
                <a:cubicBezTo>
                  <a:pt x="312" y="2890"/>
                  <a:pt x="304" y="2861"/>
                  <a:pt x="304" y="2829"/>
                </a:cubicBezTo>
                <a:cubicBezTo>
                  <a:pt x="304" y="2781"/>
                  <a:pt x="288" y="2755"/>
                  <a:pt x="194" y="2658"/>
                </a:cubicBezTo>
                <a:cubicBezTo>
                  <a:pt x="53" y="2512"/>
                  <a:pt x="0" y="2410"/>
                  <a:pt x="0" y="2282"/>
                </a:cubicBezTo>
                <a:lnTo>
                  <a:pt x="0" y="2187"/>
                </a:lnTo>
                <a:lnTo>
                  <a:pt x="106" y="2133"/>
                </a:lnTo>
                <a:cubicBezTo>
                  <a:pt x="165" y="2104"/>
                  <a:pt x="216" y="2071"/>
                  <a:pt x="221" y="2059"/>
                </a:cubicBezTo>
                <a:cubicBezTo>
                  <a:pt x="224" y="2047"/>
                  <a:pt x="199" y="2007"/>
                  <a:pt x="162" y="1968"/>
                </a:cubicBezTo>
                <a:lnTo>
                  <a:pt x="95" y="1901"/>
                </a:lnTo>
                <a:lnTo>
                  <a:pt x="188" y="1818"/>
                </a:lnTo>
                <a:cubicBezTo>
                  <a:pt x="255" y="1759"/>
                  <a:pt x="290" y="1738"/>
                  <a:pt x="312" y="1744"/>
                </a:cubicBezTo>
                <a:cubicBezTo>
                  <a:pt x="330" y="1749"/>
                  <a:pt x="364" y="1757"/>
                  <a:pt x="388" y="1762"/>
                </a:cubicBezTo>
                <a:lnTo>
                  <a:pt x="431" y="1771"/>
                </a:lnTo>
                <a:lnTo>
                  <a:pt x="421" y="1690"/>
                </a:lnTo>
                <a:cubicBezTo>
                  <a:pt x="413" y="1613"/>
                  <a:pt x="415" y="1605"/>
                  <a:pt x="476" y="1533"/>
                </a:cubicBezTo>
                <a:cubicBezTo>
                  <a:pt x="511" y="1490"/>
                  <a:pt x="544" y="1447"/>
                  <a:pt x="551" y="1435"/>
                </a:cubicBezTo>
                <a:cubicBezTo>
                  <a:pt x="557" y="1424"/>
                  <a:pt x="524" y="1376"/>
                  <a:pt x="464" y="1311"/>
                </a:cubicBezTo>
                <a:lnTo>
                  <a:pt x="365" y="1205"/>
                </a:lnTo>
                <a:lnTo>
                  <a:pt x="376" y="1128"/>
                </a:lnTo>
                <a:cubicBezTo>
                  <a:pt x="386" y="1053"/>
                  <a:pt x="386" y="1051"/>
                  <a:pt x="328" y="1016"/>
                </a:cubicBezTo>
                <a:cubicBezTo>
                  <a:pt x="282" y="987"/>
                  <a:pt x="272" y="973"/>
                  <a:pt x="280" y="946"/>
                </a:cubicBezTo>
                <a:cubicBezTo>
                  <a:pt x="309" y="853"/>
                  <a:pt x="308" y="845"/>
                  <a:pt x="258" y="808"/>
                </a:cubicBezTo>
                <a:cubicBezTo>
                  <a:pt x="231" y="789"/>
                  <a:pt x="208" y="768"/>
                  <a:pt x="208" y="760"/>
                </a:cubicBezTo>
                <a:cubicBezTo>
                  <a:pt x="208" y="754"/>
                  <a:pt x="256" y="717"/>
                  <a:pt x="314" y="679"/>
                </a:cubicBezTo>
                <a:cubicBezTo>
                  <a:pt x="372" y="640"/>
                  <a:pt x="426" y="594"/>
                  <a:pt x="434" y="573"/>
                </a:cubicBezTo>
                <a:cubicBezTo>
                  <a:pt x="444" y="546"/>
                  <a:pt x="460" y="536"/>
                  <a:pt x="495" y="536"/>
                </a:cubicBezTo>
                <a:cubicBezTo>
                  <a:pt x="552" y="536"/>
                  <a:pt x="552" y="536"/>
                  <a:pt x="581" y="410"/>
                </a:cubicBezTo>
                <a:cubicBezTo>
                  <a:pt x="604" y="317"/>
                  <a:pt x="602" y="309"/>
                  <a:pt x="573" y="272"/>
                </a:cubicBezTo>
                <a:cubicBezTo>
                  <a:pt x="544" y="234"/>
                  <a:pt x="544" y="234"/>
                  <a:pt x="575" y="216"/>
                </a:cubicBezTo>
                <a:cubicBezTo>
                  <a:pt x="597" y="205"/>
                  <a:pt x="610" y="207"/>
                  <a:pt x="628" y="227"/>
                </a:cubicBezTo>
                <a:cubicBezTo>
                  <a:pt x="639" y="242"/>
                  <a:pt x="676" y="272"/>
                  <a:pt x="709" y="296"/>
                </a:cubicBezTo>
                <a:lnTo>
                  <a:pt x="768" y="341"/>
                </a:lnTo>
                <a:lnTo>
                  <a:pt x="914" y="287"/>
                </a:lnTo>
                <a:cubicBezTo>
                  <a:pt x="1004" y="253"/>
                  <a:pt x="1084" y="211"/>
                  <a:pt x="1120" y="178"/>
                </a:cubicBezTo>
                <a:cubicBezTo>
                  <a:pt x="1167" y="136"/>
                  <a:pt x="1199" y="122"/>
                  <a:pt x="1268" y="112"/>
                </a:cubicBezTo>
                <a:cubicBezTo>
                  <a:pt x="1324" y="106"/>
                  <a:pt x="1376" y="87"/>
                  <a:pt x="1410" y="63"/>
                </a:cubicBezTo>
                <a:cubicBezTo>
                  <a:pt x="1495" y="0"/>
                  <a:pt x="1528" y="10"/>
                  <a:pt x="1597" y="120"/>
                </a:cubicBezTo>
                <a:cubicBezTo>
                  <a:pt x="1648" y="203"/>
                  <a:pt x="1663" y="216"/>
                  <a:pt x="1706" y="216"/>
                </a:cubicBezTo>
                <a:cubicBezTo>
                  <a:pt x="1765" y="216"/>
                  <a:pt x="1776" y="229"/>
                  <a:pt x="1815" y="330"/>
                </a:cubicBezTo>
                <a:cubicBezTo>
                  <a:pt x="1829" y="370"/>
                  <a:pt x="1850" y="415"/>
                  <a:pt x="1861" y="431"/>
                </a:cubicBezTo>
                <a:cubicBezTo>
                  <a:pt x="1882" y="458"/>
                  <a:pt x="1885" y="458"/>
                  <a:pt x="1935" y="432"/>
                </a:cubicBezTo>
                <a:cubicBezTo>
                  <a:pt x="1983" y="407"/>
                  <a:pt x="1989" y="408"/>
                  <a:pt x="2037" y="439"/>
                </a:cubicBezTo>
                <a:cubicBezTo>
                  <a:pt x="2066" y="456"/>
                  <a:pt x="2132" y="514"/>
                  <a:pt x="2184" y="567"/>
                </a:cubicBezTo>
                <a:cubicBezTo>
                  <a:pt x="2237" y="619"/>
                  <a:pt x="2288" y="664"/>
                  <a:pt x="2298" y="664"/>
                </a:cubicBezTo>
                <a:cubicBezTo>
                  <a:pt x="2312" y="664"/>
                  <a:pt x="2400" y="1043"/>
                  <a:pt x="2400" y="1103"/>
                </a:cubicBezTo>
                <a:cubicBezTo>
                  <a:pt x="2400" y="1117"/>
                  <a:pt x="2325" y="1112"/>
                  <a:pt x="2277" y="1095"/>
                </a:cubicBezTo>
                <a:cubicBezTo>
                  <a:pt x="2253" y="1085"/>
                  <a:pt x="2202" y="1042"/>
                  <a:pt x="2164" y="999"/>
                </a:cubicBezTo>
                <a:cubicBezTo>
                  <a:pt x="2125" y="955"/>
                  <a:pt x="2080" y="920"/>
                  <a:pt x="2063" y="920"/>
                </a:cubicBezTo>
                <a:cubicBezTo>
                  <a:pt x="2042" y="920"/>
                  <a:pt x="1994" y="978"/>
                  <a:pt x="1908" y="1107"/>
                </a:cubicBezTo>
                <a:cubicBezTo>
                  <a:pt x="1839" y="1211"/>
                  <a:pt x="1778" y="1307"/>
                  <a:pt x="1773" y="1322"/>
                </a:cubicBezTo>
                <a:cubicBezTo>
                  <a:pt x="1762" y="1349"/>
                  <a:pt x="1780" y="1415"/>
                  <a:pt x="1912" y="1847"/>
                </a:cubicBezTo>
                <a:cubicBezTo>
                  <a:pt x="1999" y="2127"/>
                  <a:pt x="2050" y="2237"/>
                  <a:pt x="2120" y="2295"/>
                </a:cubicBezTo>
                <a:cubicBezTo>
                  <a:pt x="2143" y="2314"/>
                  <a:pt x="2152" y="2312"/>
                  <a:pt x="2192" y="2282"/>
                </a:cubicBezTo>
                <a:cubicBezTo>
                  <a:pt x="2244" y="2245"/>
                  <a:pt x="2272" y="2239"/>
                  <a:pt x="2272" y="2264"/>
                </a:cubicBezTo>
                <a:cubicBezTo>
                  <a:pt x="2272" y="2274"/>
                  <a:pt x="2237" y="2322"/>
                  <a:pt x="2196" y="2373"/>
                </a:cubicBezTo>
                <a:cubicBezTo>
                  <a:pt x="2128" y="2455"/>
                  <a:pt x="2114" y="2487"/>
                  <a:pt x="2074" y="2640"/>
                </a:cubicBezTo>
                <a:cubicBezTo>
                  <a:pt x="2020" y="2847"/>
                  <a:pt x="2008" y="2872"/>
                  <a:pt x="1972" y="2872"/>
                </a:cubicBezTo>
                <a:cubicBezTo>
                  <a:pt x="1916" y="2871"/>
                  <a:pt x="1906" y="2851"/>
                  <a:pt x="1925" y="2779"/>
                </a:cubicBezTo>
                <a:cubicBezTo>
                  <a:pt x="1946" y="2704"/>
                  <a:pt x="1932" y="2680"/>
                  <a:pt x="1864" y="2680"/>
                </a:cubicBezTo>
                <a:cubicBezTo>
                  <a:pt x="1823" y="2680"/>
                  <a:pt x="1472" y="2885"/>
                  <a:pt x="1461" y="2917"/>
                </a:cubicBezTo>
                <a:cubicBezTo>
                  <a:pt x="1455" y="2930"/>
                  <a:pt x="1464" y="2978"/>
                  <a:pt x="1480" y="3024"/>
                </a:cubicBezTo>
                <a:cubicBezTo>
                  <a:pt x="1496" y="3071"/>
                  <a:pt x="1504" y="3115"/>
                  <a:pt x="1498" y="3125"/>
                </a:cubicBezTo>
                <a:cubicBezTo>
                  <a:pt x="1493" y="3135"/>
                  <a:pt x="1463" y="3149"/>
                  <a:pt x="1432" y="3160"/>
                </a:cubicBezTo>
                <a:cubicBezTo>
                  <a:pt x="1402" y="3170"/>
                  <a:pt x="1376" y="3184"/>
                  <a:pt x="1376" y="3192"/>
                </a:cubicBezTo>
                <a:cubicBezTo>
                  <a:pt x="1376" y="3202"/>
                  <a:pt x="1290" y="3208"/>
                  <a:pt x="1181" y="3208"/>
                </a:cubicBezTo>
                <a:cubicBezTo>
                  <a:pt x="1012" y="3208"/>
                  <a:pt x="978" y="3213"/>
                  <a:pt x="936" y="3240"/>
                </a:cubicBezTo>
                <a:cubicBezTo>
                  <a:pt x="876" y="3280"/>
                  <a:pt x="868" y="3280"/>
                  <a:pt x="845" y="323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1" name="г. Москва"/>
          <p:cNvSpPr>
            <a:spLocks/>
          </p:cNvSpPr>
          <p:nvPr/>
        </p:nvSpPr>
        <p:spPr bwMode="auto">
          <a:xfrm>
            <a:off x="1659214" y="3101692"/>
            <a:ext cx="52369" cy="52212"/>
          </a:xfrm>
          <a:custGeom>
            <a:avLst/>
            <a:gdLst>
              <a:gd name="T0" fmla="*/ 10 w 11"/>
              <a:gd name="T1" fmla="*/ 160 h 12"/>
              <a:gd name="T2" fmla="*/ 0 w 11"/>
              <a:gd name="T3" fmla="*/ 75 h 12"/>
              <a:gd name="T4" fmla="*/ 70 w 11"/>
              <a:gd name="T5" fmla="*/ 13 h 12"/>
              <a:gd name="T6" fmla="*/ 176 w 11"/>
              <a:gd name="T7" fmla="*/ 86 h 12"/>
              <a:gd name="T8" fmla="*/ 85 w 11"/>
              <a:gd name="T9" fmla="*/ 179 h 12"/>
              <a:gd name="T10" fmla="*/ 10 w 11"/>
              <a:gd name="T11" fmla="*/ 160 h 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"/>
              <a:gd name="T19" fmla="*/ 0 h 12"/>
              <a:gd name="T20" fmla="*/ 176 w 11"/>
              <a:gd name="T21" fmla="*/ 192 h 1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" h="12">
                <a:moveTo>
                  <a:pt x="1" y="10"/>
                </a:moveTo>
                <a:cubicBezTo>
                  <a:pt x="0" y="9"/>
                  <a:pt x="0" y="6"/>
                  <a:pt x="0" y="5"/>
                </a:cubicBezTo>
                <a:cubicBezTo>
                  <a:pt x="0" y="2"/>
                  <a:pt x="0" y="2"/>
                  <a:pt x="4" y="1"/>
                </a:cubicBezTo>
                <a:cubicBezTo>
                  <a:pt x="10" y="0"/>
                  <a:pt x="11" y="1"/>
                  <a:pt x="11" y="5"/>
                </a:cubicBezTo>
                <a:cubicBezTo>
                  <a:pt x="11" y="10"/>
                  <a:pt x="11" y="10"/>
                  <a:pt x="5" y="11"/>
                </a:cubicBezTo>
                <a:cubicBezTo>
                  <a:pt x="2" y="12"/>
                  <a:pt x="1" y="12"/>
                  <a:pt x="1" y="10"/>
                </a:cubicBezTo>
                <a:cubicBezTo>
                  <a:pt x="1" y="10"/>
                  <a:pt x="1" y="10"/>
                  <a:pt x="1" y="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sp>
      <p:sp>
        <p:nvSpPr>
          <p:cNvPr id="162" name="Московская область"/>
          <p:cNvSpPr>
            <a:spLocks noEditPoints="1"/>
          </p:cNvSpPr>
          <p:nvPr/>
        </p:nvSpPr>
        <p:spPr bwMode="auto">
          <a:xfrm>
            <a:off x="1560788" y="3001619"/>
            <a:ext cx="250772" cy="261061"/>
          </a:xfrm>
          <a:custGeom>
            <a:avLst/>
            <a:gdLst/>
            <a:ahLst/>
            <a:cxnLst>
              <a:cxn ang="0">
                <a:pos x="236" y="958"/>
              </a:cxn>
              <a:cxn ang="0">
                <a:pos x="250" y="900"/>
              </a:cxn>
              <a:cxn ang="0">
                <a:pos x="215" y="729"/>
              </a:cxn>
              <a:cxn ang="0">
                <a:pos x="170" y="534"/>
              </a:cxn>
              <a:cxn ang="0">
                <a:pos x="96" y="345"/>
              </a:cxn>
              <a:cxn ang="0">
                <a:pos x="34" y="289"/>
              </a:cxn>
              <a:cxn ang="0">
                <a:pos x="0" y="233"/>
              </a:cxn>
              <a:cxn ang="0">
                <a:pos x="53" y="137"/>
              </a:cxn>
              <a:cxn ang="0">
                <a:pos x="162" y="25"/>
              </a:cxn>
              <a:cxn ang="0">
                <a:pos x="327" y="59"/>
              </a:cxn>
              <a:cxn ang="0">
                <a:pos x="522" y="139"/>
              </a:cxn>
              <a:cxn ang="0">
                <a:pos x="722" y="281"/>
              </a:cxn>
              <a:cxn ang="0">
                <a:pos x="648" y="400"/>
              </a:cxn>
              <a:cxn ang="0">
                <a:pos x="629" y="572"/>
              </a:cxn>
              <a:cxn ang="0">
                <a:pos x="693" y="673"/>
              </a:cxn>
              <a:cxn ang="0">
                <a:pos x="708" y="817"/>
              </a:cxn>
              <a:cxn ang="0">
                <a:pos x="560" y="904"/>
              </a:cxn>
              <a:cxn ang="0">
                <a:pos x="343" y="945"/>
              </a:cxn>
              <a:cxn ang="0">
                <a:pos x="236" y="958"/>
              </a:cxn>
              <a:cxn ang="0">
                <a:pos x="434" y="587"/>
              </a:cxn>
              <a:cxn ang="0">
                <a:pos x="538" y="558"/>
              </a:cxn>
              <a:cxn ang="0">
                <a:pos x="543" y="472"/>
              </a:cxn>
              <a:cxn ang="0">
                <a:pos x="394" y="342"/>
              </a:cxn>
              <a:cxn ang="0">
                <a:pos x="282" y="353"/>
              </a:cxn>
              <a:cxn ang="0">
                <a:pos x="287" y="465"/>
              </a:cxn>
              <a:cxn ang="0">
                <a:pos x="317" y="617"/>
              </a:cxn>
              <a:cxn ang="0">
                <a:pos x="434" y="587"/>
              </a:cxn>
            </a:cxnLst>
            <a:rect l="0" t="0" r="r" b="b"/>
            <a:pathLst>
              <a:path w="832" h="961">
                <a:moveTo>
                  <a:pt x="236" y="958"/>
                </a:moveTo>
                <a:cubicBezTo>
                  <a:pt x="232" y="953"/>
                  <a:pt x="239" y="928"/>
                  <a:pt x="250" y="900"/>
                </a:cubicBezTo>
                <a:cubicBezTo>
                  <a:pt x="269" y="854"/>
                  <a:pt x="266" y="841"/>
                  <a:pt x="215" y="729"/>
                </a:cubicBezTo>
                <a:cubicBezTo>
                  <a:pt x="168" y="627"/>
                  <a:pt x="160" y="598"/>
                  <a:pt x="170" y="534"/>
                </a:cubicBezTo>
                <a:cubicBezTo>
                  <a:pt x="181" y="446"/>
                  <a:pt x="141" y="345"/>
                  <a:pt x="96" y="345"/>
                </a:cubicBezTo>
                <a:cubicBezTo>
                  <a:pt x="82" y="345"/>
                  <a:pt x="53" y="320"/>
                  <a:pt x="34" y="289"/>
                </a:cubicBezTo>
                <a:lnTo>
                  <a:pt x="0" y="233"/>
                </a:lnTo>
                <a:lnTo>
                  <a:pt x="53" y="137"/>
                </a:lnTo>
                <a:cubicBezTo>
                  <a:pt x="96" y="59"/>
                  <a:pt x="116" y="38"/>
                  <a:pt x="162" y="25"/>
                </a:cubicBezTo>
                <a:cubicBezTo>
                  <a:pt x="253" y="0"/>
                  <a:pt x="285" y="6"/>
                  <a:pt x="327" y="59"/>
                </a:cubicBezTo>
                <a:cubicBezTo>
                  <a:pt x="362" y="104"/>
                  <a:pt x="383" y="112"/>
                  <a:pt x="522" y="139"/>
                </a:cubicBezTo>
                <a:cubicBezTo>
                  <a:pt x="722" y="177"/>
                  <a:pt x="832" y="256"/>
                  <a:pt x="722" y="281"/>
                </a:cubicBezTo>
                <a:cubicBezTo>
                  <a:pt x="693" y="288"/>
                  <a:pt x="677" y="313"/>
                  <a:pt x="648" y="400"/>
                </a:cubicBezTo>
                <a:cubicBezTo>
                  <a:pt x="615" y="496"/>
                  <a:pt x="613" y="518"/>
                  <a:pt x="629" y="572"/>
                </a:cubicBezTo>
                <a:cubicBezTo>
                  <a:pt x="639" y="606"/>
                  <a:pt x="668" y="652"/>
                  <a:pt x="693" y="673"/>
                </a:cubicBezTo>
                <a:cubicBezTo>
                  <a:pt x="746" y="716"/>
                  <a:pt x="748" y="731"/>
                  <a:pt x="708" y="817"/>
                </a:cubicBezTo>
                <a:cubicBezTo>
                  <a:pt x="679" y="881"/>
                  <a:pt x="676" y="883"/>
                  <a:pt x="560" y="904"/>
                </a:cubicBezTo>
                <a:cubicBezTo>
                  <a:pt x="495" y="915"/>
                  <a:pt x="397" y="934"/>
                  <a:pt x="343" y="945"/>
                </a:cubicBezTo>
                <a:cubicBezTo>
                  <a:pt x="288" y="956"/>
                  <a:pt x="240" y="961"/>
                  <a:pt x="236" y="958"/>
                </a:cubicBezTo>
                <a:close/>
                <a:moveTo>
                  <a:pt x="434" y="587"/>
                </a:moveTo>
                <a:lnTo>
                  <a:pt x="538" y="558"/>
                </a:lnTo>
                <a:lnTo>
                  <a:pt x="543" y="472"/>
                </a:lnTo>
                <a:cubicBezTo>
                  <a:pt x="549" y="345"/>
                  <a:pt x="532" y="329"/>
                  <a:pt x="394" y="342"/>
                </a:cubicBezTo>
                <a:lnTo>
                  <a:pt x="282" y="353"/>
                </a:lnTo>
                <a:lnTo>
                  <a:pt x="287" y="465"/>
                </a:lnTo>
                <a:cubicBezTo>
                  <a:pt x="292" y="584"/>
                  <a:pt x="298" y="617"/>
                  <a:pt x="317" y="617"/>
                </a:cubicBezTo>
                <a:cubicBezTo>
                  <a:pt x="325" y="617"/>
                  <a:pt x="376" y="603"/>
                  <a:pt x="434" y="58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3" name="Мурманская область"/>
          <p:cNvSpPr>
            <a:spLocks/>
          </p:cNvSpPr>
          <p:nvPr/>
        </p:nvSpPr>
        <p:spPr bwMode="auto">
          <a:xfrm>
            <a:off x="2270257" y="1909512"/>
            <a:ext cx="412640" cy="487315"/>
          </a:xfrm>
          <a:custGeom>
            <a:avLst/>
            <a:gdLst/>
            <a:ahLst/>
            <a:cxnLst>
              <a:cxn ang="0">
                <a:pos x="911" y="1739"/>
              </a:cxn>
              <a:cxn ang="0">
                <a:pos x="688" y="1544"/>
              </a:cxn>
              <a:cxn ang="0">
                <a:pos x="495" y="1004"/>
              </a:cxn>
              <a:cxn ang="0">
                <a:pos x="432" y="820"/>
              </a:cxn>
              <a:cxn ang="0">
                <a:pos x="332" y="896"/>
              </a:cxn>
              <a:cxn ang="0">
                <a:pos x="224" y="977"/>
              </a:cxn>
              <a:cxn ang="0">
                <a:pos x="194" y="876"/>
              </a:cxn>
              <a:cxn ang="0">
                <a:pos x="173" y="782"/>
              </a:cxn>
              <a:cxn ang="0">
                <a:pos x="69" y="705"/>
              </a:cxn>
              <a:cxn ang="0">
                <a:pos x="29" y="585"/>
              </a:cxn>
              <a:cxn ang="0">
                <a:pos x="194" y="512"/>
              </a:cxn>
              <a:cxn ang="0">
                <a:pos x="368" y="390"/>
              </a:cxn>
              <a:cxn ang="0">
                <a:pos x="471" y="81"/>
              </a:cxn>
              <a:cxn ang="0">
                <a:pos x="872" y="17"/>
              </a:cxn>
              <a:cxn ang="0">
                <a:pos x="1162" y="89"/>
              </a:cxn>
              <a:cxn ang="0">
                <a:pos x="1114" y="129"/>
              </a:cxn>
              <a:cxn ang="0">
                <a:pos x="1056" y="152"/>
              </a:cxn>
              <a:cxn ang="0">
                <a:pos x="1180" y="513"/>
              </a:cxn>
              <a:cxn ang="0">
                <a:pos x="1284" y="865"/>
              </a:cxn>
              <a:cxn ang="0">
                <a:pos x="1340" y="1160"/>
              </a:cxn>
              <a:cxn ang="0">
                <a:pos x="1341" y="1561"/>
              </a:cxn>
              <a:cxn ang="0">
                <a:pos x="1314" y="1721"/>
              </a:cxn>
              <a:cxn ang="0">
                <a:pos x="1218" y="1747"/>
              </a:cxn>
              <a:cxn ang="0">
                <a:pos x="911" y="1739"/>
              </a:cxn>
            </a:cxnLst>
            <a:rect l="0" t="0" r="r" b="b"/>
            <a:pathLst>
              <a:path w="1376" h="1784">
                <a:moveTo>
                  <a:pt x="911" y="1739"/>
                </a:moveTo>
                <a:cubicBezTo>
                  <a:pt x="810" y="1697"/>
                  <a:pt x="778" y="1668"/>
                  <a:pt x="688" y="1544"/>
                </a:cubicBezTo>
                <a:cubicBezTo>
                  <a:pt x="597" y="1416"/>
                  <a:pt x="528" y="1225"/>
                  <a:pt x="495" y="1004"/>
                </a:cubicBezTo>
                <a:cubicBezTo>
                  <a:pt x="469" y="844"/>
                  <a:pt x="463" y="824"/>
                  <a:pt x="432" y="820"/>
                </a:cubicBezTo>
                <a:cubicBezTo>
                  <a:pt x="408" y="817"/>
                  <a:pt x="380" y="838"/>
                  <a:pt x="332" y="896"/>
                </a:cubicBezTo>
                <a:cubicBezTo>
                  <a:pt x="284" y="952"/>
                  <a:pt x="252" y="977"/>
                  <a:pt x="224" y="977"/>
                </a:cubicBezTo>
                <a:cubicBezTo>
                  <a:pt x="173" y="977"/>
                  <a:pt x="164" y="948"/>
                  <a:pt x="194" y="876"/>
                </a:cubicBezTo>
                <a:cubicBezTo>
                  <a:pt x="216" y="820"/>
                  <a:pt x="216" y="819"/>
                  <a:pt x="173" y="782"/>
                </a:cubicBezTo>
                <a:cubicBezTo>
                  <a:pt x="149" y="761"/>
                  <a:pt x="101" y="726"/>
                  <a:pt x="69" y="705"/>
                </a:cubicBezTo>
                <a:cubicBezTo>
                  <a:pt x="5" y="662"/>
                  <a:pt x="0" y="648"/>
                  <a:pt x="29" y="585"/>
                </a:cubicBezTo>
                <a:cubicBezTo>
                  <a:pt x="48" y="542"/>
                  <a:pt x="53" y="539"/>
                  <a:pt x="194" y="512"/>
                </a:cubicBezTo>
                <a:cubicBezTo>
                  <a:pt x="322" y="488"/>
                  <a:pt x="356" y="464"/>
                  <a:pt x="368" y="390"/>
                </a:cubicBezTo>
                <a:cubicBezTo>
                  <a:pt x="408" y="160"/>
                  <a:pt x="428" y="100"/>
                  <a:pt x="471" y="81"/>
                </a:cubicBezTo>
                <a:cubicBezTo>
                  <a:pt x="628" y="9"/>
                  <a:pt x="680" y="0"/>
                  <a:pt x="872" y="17"/>
                </a:cubicBezTo>
                <a:cubicBezTo>
                  <a:pt x="1157" y="43"/>
                  <a:pt x="1162" y="44"/>
                  <a:pt x="1162" y="89"/>
                </a:cubicBezTo>
                <a:cubicBezTo>
                  <a:pt x="1162" y="123"/>
                  <a:pt x="1154" y="129"/>
                  <a:pt x="1114" y="129"/>
                </a:cubicBezTo>
                <a:cubicBezTo>
                  <a:pt x="1087" y="129"/>
                  <a:pt x="1061" y="139"/>
                  <a:pt x="1056" y="152"/>
                </a:cubicBezTo>
                <a:cubicBezTo>
                  <a:pt x="1040" y="192"/>
                  <a:pt x="1096" y="353"/>
                  <a:pt x="1180" y="513"/>
                </a:cubicBezTo>
                <a:cubicBezTo>
                  <a:pt x="1255" y="656"/>
                  <a:pt x="1261" y="676"/>
                  <a:pt x="1284" y="865"/>
                </a:cubicBezTo>
                <a:cubicBezTo>
                  <a:pt x="1296" y="974"/>
                  <a:pt x="1322" y="1107"/>
                  <a:pt x="1340" y="1160"/>
                </a:cubicBezTo>
                <a:cubicBezTo>
                  <a:pt x="1376" y="1273"/>
                  <a:pt x="1376" y="1350"/>
                  <a:pt x="1341" y="1561"/>
                </a:cubicBezTo>
                <a:lnTo>
                  <a:pt x="1314" y="1721"/>
                </a:lnTo>
                <a:lnTo>
                  <a:pt x="1218" y="1747"/>
                </a:lnTo>
                <a:cubicBezTo>
                  <a:pt x="1090" y="1784"/>
                  <a:pt x="1010" y="1780"/>
                  <a:pt x="911" y="1739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4" name="Ненецкий автономный округ"/>
          <p:cNvSpPr>
            <a:spLocks/>
          </p:cNvSpPr>
          <p:nvPr/>
        </p:nvSpPr>
        <p:spPr bwMode="auto">
          <a:xfrm>
            <a:off x="2725745" y="2331561"/>
            <a:ext cx="909424" cy="465559"/>
          </a:xfrm>
          <a:custGeom>
            <a:avLst/>
            <a:gdLst/>
            <a:ahLst/>
            <a:cxnLst>
              <a:cxn ang="0">
                <a:pos x="1957" y="1562"/>
              </a:cxn>
              <a:cxn ang="0">
                <a:pos x="1354" y="1240"/>
              </a:cxn>
              <a:cxn ang="0">
                <a:pos x="1067" y="1085"/>
              </a:cxn>
              <a:cxn ang="0">
                <a:pos x="331" y="1088"/>
              </a:cxn>
              <a:cxn ang="0">
                <a:pos x="210" y="1071"/>
              </a:cxn>
              <a:cxn ang="0">
                <a:pos x="96" y="866"/>
              </a:cxn>
              <a:cxn ang="0">
                <a:pos x="18" y="661"/>
              </a:cxn>
              <a:cxn ang="0">
                <a:pos x="94" y="613"/>
              </a:cxn>
              <a:cxn ang="0">
                <a:pos x="147" y="579"/>
              </a:cxn>
              <a:cxn ang="0">
                <a:pos x="138" y="469"/>
              </a:cxn>
              <a:cxn ang="0">
                <a:pos x="126" y="360"/>
              </a:cxn>
              <a:cxn ang="0">
                <a:pos x="195" y="330"/>
              </a:cxn>
              <a:cxn ang="0">
                <a:pos x="432" y="71"/>
              </a:cxn>
              <a:cxn ang="0">
                <a:pos x="446" y="16"/>
              </a:cxn>
              <a:cxn ang="0">
                <a:pos x="578" y="147"/>
              </a:cxn>
              <a:cxn ang="0">
                <a:pos x="578" y="335"/>
              </a:cxn>
              <a:cxn ang="0">
                <a:pos x="464" y="335"/>
              </a:cxn>
              <a:cxn ang="0">
                <a:pos x="312" y="341"/>
              </a:cxn>
              <a:cxn ang="0">
                <a:pos x="229" y="402"/>
              </a:cxn>
              <a:cxn ang="0">
                <a:pos x="269" y="707"/>
              </a:cxn>
              <a:cxn ang="0">
                <a:pos x="480" y="792"/>
              </a:cxn>
              <a:cxn ang="0">
                <a:pos x="592" y="704"/>
              </a:cxn>
              <a:cxn ang="0">
                <a:pos x="678" y="616"/>
              </a:cxn>
              <a:cxn ang="0">
                <a:pos x="1131" y="616"/>
              </a:cxn>
              <a:cxn ang="0">
                <a:pos x="1590" y="631"/>
              </a:cxn>
              <a:cxn ang="0">
                <a:pos x="1512" y="695"/>
              </a:cxn>
              <a:cxn ang="0">
                <a:pos x="1413" y="770"/>
              </a:cxn>
              <a:cxn ang="0">
                <a:pos x="1560" y="935"/>
              </a:cxn>
              <a:cxn ang="0">
                <a:pos x="1678" y="917"/>
              </a:cxn>
              <a:cxn ang="0">
                <a:pos x="1920" y="920"/>
              </a:cxn>
              <a:cxn ang="0">
                <a:pos x="2122" y="941"/>
              </a:cxn>
              <a:cxn ang="0">
                <a:pos x="2243" y="931"/>
              </a:cxn>
              <a:cxn ang="0">
                <a:pos x="2232" y="1005"/>
              </a:cxn>
              <a:cxn ang="0">
                <a:pos x="2266" y="1098"/>
              </a:cxn>
              <a:cxn ang="0">
                <a:pos x="2496" y="1071"/>
              </a:cxn>
              <a:cxn ang="0">
                <a:pos x="2565" y="1024"/>
              </a:cxn>
              <a:cxn ang="0">
                <a:pos x="2555" y="917"/>
              </a:cxn>
              <a:cxn ang="0">
                <a:pos x="2571" y="784"/>
              </a:cxn>
              <a:cxn ang="0">
                <a:pos x="2843" y="899"/>
              </a:cxn>
              <a:cxn ang="0">
                <a:pos x="2962" y="1018"/>
              </a:cxn>
              <a:cxn ang="0">
                <a:pos x="3013" y="1098"/>
              </a:cxn>
              <a:cxn ang="0">
                <a:pos x="2979" y="1144"/>
              </a:cxn>
              <a:cxn ang="0">
                <a:pos x="2987" y="1315"/>
              </a:cxn>
              <a:cxn ang="0">
                <a:pos x="3018" y="1427"/>
              </a:cxn>
              <a:cxn ang="0">
                <a:pos x="2955" y="1418"/>
              </a:cxn>
              <a:cxn ang="0">
                <a:pos x="2845" y="1464"/>
              </a:cxn>
              <a:cxn ang="0">
                <a:pos x="2718" y="1546"/>
              </a:cxn>
              <a:cxn ang="0">
                <a:pos x="2586" y="1615"/>
              </a:cxn>
              <a:cxn ang="0">
                <a:pos x="2422" y="1695"/>
              </a:cxn>
              <a:cxn ang="0">
                <a:pos x="2318" y="1719"/>
              </a:cxn>
              <a:cxn ang="0">
                <a:pos x="1957" y="1562"/>
              </a:cxn>
            </a:cxnLst>
            <a:rect l="0" t="0" r="r" b="b"/>
            <a:pathLst>
              <a:path w="3024" h="1719">
                <a:moveTo>
                  <a:pt x="1957" y="1562"/>
                </a:moveTo>
                <a:cubicBezTo>
                  <a:pt x="1664" y="1432"/>
                  <a:pt x="1560" y="1378"/>
                  <a:pt x="1354" y="1240"/>
                </a:cubicBezTo>
                <a:cubicBezTo>
                  <a:pt x="1165" y="1117"/>
                  <a:pt x="1094" y="1079"/>
                  <a:pt x="1067" y="1085"/>
                </a:cubicBezTo>
                <a:cubicBezTo>
                  <a:pt x="1035" y="1093"/>
                  <a:pt x="582" y="1095"/>
                  <a:pt x="331" y="1088"/>
                </a:cubicBezTo>
                <a:cubicBezTo>
                  <a:pt x="272" y="1087"/>
                  <a:pt x="218" y="1079"/>
                  <a:pt x="210" y="1071"/>
                </a:cubicBezTo>
                <a:cubicBezTo>
                  <a:pt x="202" y="1063"/>
                  <a:pt x="150" y="970"/>
                  <a:pt x="96" y="866"/>
                </a:cubicBezTo>
                <a:cubicBezTo>
                  <a:pt x="14" y="714"/>
                  <a:pt x="0" y="674"/>
                  <a:pt x="18" y="661"/>
                </a:cubicBezTo>
                <a:cubicBezTo>
                  <a:pt x="30" y="653"/>
                  <a:pt x="64" y="632"/>
                  <a:pt x="94" y="613"/>
                </a:cubicBezTo>
                <a:lnTo>
                  <a:pt x="147" y="579"/>
                </a:lnTo>
                <a:lnTo>
                  <a:pt x="138" y="469"/>
                </a:lnTo>
                <a:lnTo>
                  <a:pt x="126" y="360"/>
                </a:lnTo>
                <a:lnTo>
                  <a:pt x="195" y="330"/>
                </a:lnTo>
                <a:cubicBezTo>
                  <a:pt x="290" y="290"/>
                  <a:pt x="432" y="133"/>
                  <a:pt x="432" y="71"/>
                </a:cubicBezTo>
                <a:cubicBezTo>
                  <a:pt x="432" y="47"/>
                  <a:pt x="438" y="21"/>
                  <a:pt x="446" y="16"/>
                </a:cubicBezTo>
                <a:cubicBezTo>
                  <a:pt x="472" y="0"/>
                  <a:pt x="547" y="75"/>
                  <a:pt x="578" y="147"/>
                </a:cubicBezTo>
                <a:cubicBezTo>
                  <a:pt x="616" y="239"/>
                  <a:pt x="616" y="299"/>
                  <a:pt x="578" y="335"/>
                </a:cubicBezTo>
                <a:cubicBezTo>
                  <a:pt x="547" y="362"/>
                  <a:pt x="542" y="362"/>
                  <a:pt x="464" y="335"/>
                </a:cubicBezTo>
                <a:cubicBezTo>
                  <a:pt x="386" y="306"/>
                  <a:pt x="384" y="306"/>
                  <a:pt x="312" y="341"/>
                </a:cubicBezTo>
                <a:cubicBezTo>
                  <a:pt x="272" y="360"/>
                  <a:pt x="235" y="387"/>
                  <a:pt x="229" y="402"/>
                </a:cubicBezTo>
                <a:cubicBezTo>
                  <a:pt x="219" y="429"/>
                  <a:pt x="251" y="679"/>
                  <a:pt x="269" y="707"/>
                </a:cubicBezTo>
                <a:cubicBezTo>
                  <a:pt x="282" y="727"/>
                  <a:pt x="443" y="792"/>
                  <a:pt x="480" y="792"/>
                </a:cubicBezTo>
                <a:cubicBezTo>
                  <a:pt x="494" y="792"/>
                  <a:pt x="544" y="752"/>
                  <a:pt x="592" y="704"/>
                </a:cubicBezTo>
                <a:lnTo>
                  <a:pt x="678" y="616"/>
                </a:lnTo>
                <a:lnTo>
                  <a:pt x="1131" y="616"/>
                </a:lnTo>
                <a:cubicBezTo>
                  <a:pt x="1382" y="616"/>
                  <a:pt x="1586" y="623"/>
                  <a:pt x="1590" y="631"/>
                </a:cubicBezTo>
                <a:cubicBezTo>
                  <a:pt x="1597" y="639"/>
                  <a:pt x="1560" y="667"/>
                  <a:pt x="1512" y="695"/>
                </a:cubicBezTo>
                <a:cubicBezTo>
                  <a:pt x="1462" y="722"/>
                  <a:pt x="1419" y="755"/>
                  <a:pt x="1413" y="770"/>
                </a:cubicBezTo>
                <a:cubicBezTo>
                  <a:pt x="1403" y="795"/>
                  <a:pt x="1507" y="914"/>
                  <a:pt x="1560" y="935"/>
                </a:cubicBezTo>
                <a:cubicBezTo>
                  <a:pt x="1581" y="943"/>
                  <a:pt x="1624" y="936"/>
                  <a:pt x="1678" y="917"/>
                </a:cubicBezTo>
                <a:cubicBezTo>
                  <a:pt x="1787" y="880"/>
                  <a:pt x="1819" y="880"/>
                  <a:pt x="1920" y="920"/>
                </a:cubicBezTo>
                <a:cubicBezTo>
                  <a:pt x="1986" y="946"/>
                  <a:pt x="2021" y="949"/>
                  <a:pt x="2122" y="941"/>
                </a:cubicBezTo>
                <a:lnTo>
                  <a:pt x="2243" y="931"/>
                </a:lnTo>
                <a:lnTo>
                  <a:pt x="2232" y="1005"/>
                </a:lnTo>
                <a:cubicBezTo>
                  <a:pt x="2221" y="1075"/>
                  <a:pt x="2222" y="1080"/>
                  <a:pt x="2266" y="1098"/>
                </a:cubicBezTo>
                <a:cubicBezTo>
                  <a:pt x="2342" y="1130"/>
                  <a:pt x="2421" y="1120"/>
                  <a:pt x="2496" y="1071"/>
                </a:cubicBezTo>
                <a:lnTo>
                  <a:pt x="2565" y="1024"/>
                </a:lnTo>
                <a:lnTo>
                  <a:pt x="2555" y="917"/>
                </a:lnTo>
                <a:cubicBezTo>
                  <a:pt x="2547" y="832"/>
                  <a:pt x="2552" y="803"/>
                  <a:pt x="2571" y="784"/>
                </a:cubicBezTo>
                <a:cubicBezTo>
                  <a:pt x="2597" y="757"/>
                  <a:pt x="2594" y="757"/>
                  <a:pt x="2843" y="899"/>
                </a:cubicBezTo>
                <a:cubicBezTo>
                  <a:pt x="2882" y="922"/>
                  <a:pt x="2931" y="970"/>
                  <a:pt x="2962" y="1018"/>
                </a:cubicBezTo>
                <a:lnTo>
                  <a:pt x="3013" y="1098"/>
                </a:lnTo>
                <a:lnTo>
                  <a:pt x="2979" y="1144"/>
                </a:lnTo>
                <a:cubicBezTo>
                  <a:pt x="2936" y="1202"/>
                  <a:pt x="2936" y="1195"/>
                  <a:pt x="2987" y="1315"/>
                </a:cubicBezTo>
                <a:cubicBezTo>
                  <a:pt x="3010" y="1371"/>
                  <a:pt x="3024" y="1421"/>
                  <a:pt x="3018" y="1427"/>
                </a:cubicBezTo>
                <a:cubicBezTo>
                  <a:pt x="3011" y="1434"/>
                  <a:pt x="2984" y="1429"/>
                  <a:pt x="2955" y="1418"/>
                </a:cubicBezTo>
                <a:cubicBezTo>
                  <a:pt x="2906" y="1399"/>
                  <a:pt x="2902" y="1400"/>
                  <a:pt x="2845" y="1464"/>
                </a:cubicBezTo>
                <a:cubicBezTo>
                  <a:pt x="2803" y="1511"/>
                  <a:pt x="2765" y="1535"/>
                  <a:pt x="2718" y="1546"/>
                </a:cubicBezTo>
                <a:cubicBezTo>
                  <a:pt x="2682" y="1554"/>
                  <a:pt x="2622" y="1586"/>
                  <a:pt x="2586" y="1615"/>
                </a:cubicBezTo>
                <a:cubicBezTo>
                  <a:pt x="2546" y="1648"/>
                  <a:pt x="2483" y="1679"/>
                  <a:pt x="2422" y="1695"/>
                </a:cubicBezTo>
                <a:cubicBezTo>
                  <a:pt x="2368" y="1709"/>
                  <a:pt x="2322" y="1719"/>
                  <a:pt x="2318" y="1719"/>
                </a:cubicBezTo>
                <a:cubicBezTo>
                  <a:pt x="2315" y="1719"/>
                  <a:pt x="2152" y="1647"/>
                  <a:pt x="1957" y="156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5" name="Нижегородская область"/>
          <p:cNvSpPr>
            <a:spLocks/>
          </p:cNvSpPr>
          <p:nvPr/>
        </p:nvSpPr>
        <p:spPr bwMode="auto">
          <a:xfrm>
            <a:off x="1849647" y="3210468"/>
            <a:ext cx="449175" cy="261061"/>
          </a:xfrm>
          <a:custGeom>
            <a:avLst/>
            <a:gdLst/>
            <a:ahLst/>
            <a:cxnLst>
              <a:cxn ang="0">
                <a:pos x="317" y="889"/>
              </a:cxn>
              <a:cxn ang="0">
                <a:pos x="269" y="694"/>
              </a:cxn>
              <a:cxn ang="0">
                <a:pos x="261" y="576"/>
              </a:cxn>
              <a:cxn ang="0">
                <a:pos x="163" y="547"/>
              </a:cxn>
              <a:cxn ang="0">
                <a:pos x="18" y="416"/>
              </a:cxn>
              <a:cxn ang="0">
                <a:pos x="253" y="294"/>
              </a:cxn>
              <a:cxn ang="0">
                <a:pos x="503" y="145"/>
              </a:cxn>
              <a:cxn ang="0">
                <a:pos x="607" y="120"/>
              </a:cxn>
              <a:cxn ang="0">
                <a:pos x="714" y="99"/>
              </a:cxn>
              <a:cxn ang="0">
                <a:pos x="896" y="49"/>
              </a:cxn>
              <a:cxn ang="0">
                <a:pos x="1066" y="19"/>
              </a:cxn>
              <a:cxn ang="0">
                <a:pos x="1175" y="38"/>
              </a:cxn>
              <a:cxn ang="0">
                <a:pos x="1375" y="181"/>
              </a:cxn>
              <a:cxn ang="0">
                <a:pos x="1474" y="313"/>
              </a:cxn>
              <a:cxn ang="0">
                <a:pos x="1319" y="317"/>
              </a:cxn>
              <a:cxn ang="0">
                <a:pos x="1221" y="389"/>
              </a:cxn>
              <a:cxn ang="0">
                <a:pos x="1146" y="469"/>
              </a:cxn>
              <a:cxn ang="0">
                <a:pos x="1103" y="437"/>
              </a:cxn>
              <a:cxn ang="0">
                <a:pos x="957" y="433"/>
              </a:cxn>
              <a:cxn ang="0">
                <a:pos x="853" y="462"/>
              </a:cxn>
              <a:cxn ang="0">
                <a:pos x="848" y="571"/>
              </a:cxn>
              <a:cxn ang="0">
                <a:pos x="797" y="696"/>
              </a:cxn>
              <a:cxn ang="0">
                <a:pos x="749" y="797"/>
              </a:cxn>
              <a:cxn ang="0">
                <a:pos x="707" y="902"/>
              </a:cxn>
              <a:cxn ang="0">
                <a:pos x="645" y="897"/>
              </a:cxn>
              <a:cxn ang="0">
                <a:pos x="490" y="918"/>
              </a:cxn>
              <a:cxn ang="0">
                <a:pos x="373" y="966"/>
              </a:cxn>
              <a:cxn ang="0">
                <a:pos x="317" y="889"/>
              </a:cxn>
            </a:cxnLst>
            <a:rect l="0" t="0" r="r" b="b"/>
            <a:pathLst>
              <a:path w="1501" h="966">
                <a:moveTo>
                  <a:pt x="317" y="889"/>
                </a:moveTo>
                <a:cubicBezTo>
                  <a:pt x="291" y="838"/>
                  <a:pt x="275" y="776"/>
                  <a:pt x="269" y="694"/>
                </a:cubicBezTo>
                <a:lnTo>
                  <a:pt x="261" y="576"/>
                </a:lnTo>
                <a:lnTo>
                  <a:pt x="163" y="547"/>
                </a:lnTo>
                <a:cubicBezTo>
                  <a:pt x="66" y="518"/>
                  <a:pt x="0" y="461"/>
                  <a:pt x="18" y="416"/>
                </a:cubicBezTo>
                <a:cubicBezTo>
                  <a:pt x="23" y="406"/>
                  <a:pt x="128" y="352"/>
                  <a:pt x="253" y="294"/>
                </a:cubicBezTo>
                <a:cubicBezTo>
                  <a:pt x="431" y="213"/>
                  <a:pt x="485" y="181"/>
                  <a:pt x="503" y="145"/>
                </a:cubicBezTo>
                <a:cubicBezTo>
                  <a:pt x="530" y="96"/>
                  <a:pt x="527" y="96"/>
                  <a:pt x="607" y="120"/>
                </a:cubicBezTo>
                <a:cubicBezTo>
                  <a:pt x="663" y="136"/>
                  <a:pt x="671" y="134"/>
                  <a:pt x="714" y="99"/>
                </a:cubicBezTo>
                <a:cubicBezTo>
                  <a:pt x="754" y="65"/>
                  <a:pt x="784" y="57"/>
                  <a:pt x="896" y="49"/>
                </a:cubicBezTo>
                <a:cubicBezTo>
                  <a:pt x="971" y="45"/>
                  <a:pt x="1047" y="32"/>
                  <a:pt x="1066" y="19"/>
                </a:cubicBezTo>
                <a:cubicBezTo>
                  <a:pt x="1098" y="0"/>
                  <a:pt x="1109" y="3"/>
                  <a:pt x="1175" y="38"/>
                </a:cubicBezTo>
                <a:cubicBezTo>
                  <a:pt x="1215" y="61"/>
                  <a:pt x="1304" y="125"/>
                  <a:pt x="1375" y="181"/>
                </a:cubicBezTo>
                <a:cubicBezTo>
                  <a:pt x="1499" y="278"/>
                  <a:pt x="1501" y="283"/>
                  <a:pt x="1474" y="313"/>
                </a:cubicBezTo>
                <a:cubicBezTo>
                  <a:pt x="1447" y="342"/>
                  <a:pt x="1391" y="344"/>
                  <a:pt x="1319" y="317"/>
                </a:cubicBezTo>
                <a:cubicBezTo>
                  <a:pt x="1306" y="312"/>
                  <a:pt x="1263" y="344"/>
                  <a:pt x="1221" y="389"/>
                </a:cubicBezTo>
                <a:lnTo>
                  <a:pt x="1146" y="469"/>
                </a:lnTo>
                <a:lnTo>
                  <a:pt x="1103" y="437"/>
                </a:lnTo>
                <a:cubicBezTo>
                  <a:pt x="1063" y="406"/>
                  <a:pt x="1058" y="406"/>
                  <a:pt x="957" y="433"/>
                </a:cubicBezTo>
                <a:lnTo>
                  <a:pt x="853" y="462"/>
                </a:lnTo>
                <a:lnTo>
                  <a:pt x="848" y="571"/>
                </a:lnTo>
                <a:cubicBezTo>
                  <a:pt x="843" y="675"/>
                  <a:pt x="842" y="680"/>
                  <a:pt x="797" y="696"/>
                </a:cubicBezTo>
                <a:cubicBezTo>
                  <a:pt x="752" y="712"/>
                  <a:pt x="749" y="718"/>
                  <a:pt x="749" y="797"/>
                </a:cubicBezTo>
                <a:cubicBezTo>
                  <a:pt x="749" y="870"/>
                  <a:pt x="744" y="883"/>
                  <a:pt x="707" y="902"/>
                </a:cubicBezTo>
                <a:cubicBezTo>
                  <a:pt x="671" y="923"/>
                  <a:pt x="664" y="921"/>
                  <a:pt x="645" y="897"/>
                </a:cubicBezTo>
                <a:cubicBezTo>
                  <a:pt x="619" y="861"/>
                  <a:pt x="608" y="862"/>
                  <a:pt x="490" y="918"/>
                </a:cubicBezTo>
                <a:cubicBezTo>
                  <a:pt x="435" y="944"/>
                  <a:pt x="381" y="966"/>
                  <a:pt x="373" y="966"/>
                </a:cubicBezTo>
                <a:cubicBezTo>
                  <a:pt x="363" y="966"/>
                  <a:pt x="338" y="931"/>
                  <a:pt x="317" y="889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6" name="Новгородская область"/>
          <p:cNvSpPr>
            <a:spLocks/>
          </p:cNvSpPr>
          <p:nvPr/>
        </p:nvSpPr>
        <p:spPr bwMode="auto">
          <a:xfrm>
            <a:off x="1503659" y="2627431"/>
            <a:ext cx="336467" cy="226253"/>
          </a:xfrm>
          <a:custGeom>
            <a:avLst/>
            <a:gdLst/>
            <a:ahLst/>
            <a:cxnLst>
              <a:cxn ang="0">
                <a:pos x="1046" y="794"/>
              </a:cxn>
              <a:cxn ang="0">
                <a:pos x="926" y="762"/>
              </a:cxn>
              <a:cxn ang="0">
                <a:pos x="779" y="678"/>
              </a:cxn>
              <a:cxn ang="0">
                <a:pos x="686" y="587"/>
              </a:cxn>
              <a:cxn ang="0">
                <a:pos x="619" y="614"/>
              </a:cxn>
              <a:cxn ang="0">
                <a:pos x="500" y="661"/>
              </a:cxn>
              <a:cxn ang="0">
                <a:pos x="396" y="654"/>
              </a:cxn>
              <a:cxn ang="0">
                <a:pos x="222" y="610"/>
              </a:cxn>
              <a:cxn ang="0">
                <a:pos x="51" y="542"/>
              </a:cxn>
              <a:cxn ang="0">
                <a:pos x="0" y="493"/>
              </a:cxn>
              <a:cxn ang="0">
                <a:pos x="105" y="374"/>
              </a:cxn>
              <a:cxn ang="0">
                <a:pos x="211" y="258"/>
              </a:cxn>
              <a:cxn ang="0">
                <a:pos x="192" y="195"/>
              </a:cxn>
              <a:cxn ang="0">
                <a:pos x="174" y="94"/>
              </a:cxn>
              <a:cxn ang="0">
                <a:pos x="235" y="46"/>
              </a:cxn>
              <a:cxn ang="0">
                <a:pos x="344" y="18"/>
              </a:cxn>
              <a:cxn ang="0">
                <a:pos x="428" y="30"/>
              </a:cxn>
              <a:cxn ang="0">
                <a:pos x="673" y="74"/>
              </a:cxn>
              <a:cxn ang="0">
                <a:pos x="782" y="182"/>
              </a:cxn>
              <a:cxn ang="0">
                <a:pos x="846" y="243"/>
              </a:cxn>
              <a:cxn ang="0">
                <a:pos x="910" y="243"/>
              </a:cxn>
              <a:cxn ang="0">
                <a:pos x="976" y="382"/>
              </a:cxn>
              <a:cxn ang="0">
                <a:pos x="1030" y="638"/>
              </a:cxn>
              <a:cxn ang="0">
                <a:pos x="1033" y="706"/>
              </a:cxn>
              <a:cxn ang="0">
                <a:pos x="1094" y="747"/>
              </a:cxn>
              <a:cxn ang="0">
                <a:pos x="1116" y="798"/>
              </a:cxn>
              <a:cxn ang="0">
                <a:pos x="1110" y="832"/>
              </a:cxn>
              <a:cxn ang="0">
                <a:pos x="1046" y="794"/>
              </a:cxn>
            </a:cxnLst>
            <a:rect l="0" t="0" r="r" b="b"/>
            <a:pathLst>
              <a:path w="1120" h="832">
                <a:moveTo>
                  <a:pt x="1046" y="794"/>
                </a:moveTo>
                <a:cubicBezTo>
                  <a:pt x="998" y="763"/>
                  <a:pt x="968" y="755"/>
                  <a:pt x="926" y="762"/>
                </a:cubicBezTo>
                <a:cubicBezTo>
                  <a:pt x="875" y="770"/>
                  <a:pt x="862" y="762"/>
                  <a:pt x="779" y="678"/>
                </a:cubicBezTo>
                <a:lnTo>
                  <a:pt x="686" y="587"/>
                </a:lnTo>
                <a:lnTo>
                  <a:pt x="619" y="614"/>
                </a:lnTo>
                <a:cubicBezTo>
                  <a:pt x="580" y="629"/>
                  <a:pt x="528" y="650"/>
                  <a:pt x="500" y="661"/>
                </a:cubicBezTo>
                <a:cubicBezTo>
                  <a:pt x="459" y="677"/>
                  <a:pt x="441" y="677"/>
                  <a:pt x="396" y="654"/>
                </a:cubicBezTo>
                <a:cubicBezTo>
                  <a:pt x="366" y="642"/>
                  <a:pt x="288" y="621"/>
                  <a:pt x="222" y="610"/>
                </a:cubicBezTo>
                <a:cubicBezTo>
                  <a:pt x="126" y="594"/>
                  <a:pt x="91" y="581"/>
                  <a:pt x="51" y="542"/>
                </a:cubicBezTo>
                <a:lnTo>
                  <a:pt x="0" y="493"/>
                </a:lnTo>
                <a:lnTo>
                  <a:pt x="105" y="374"/>
                </a:lnTo>
                <a:lnTo>
                  <a:pt x="211" y="258"/>
                </a:lnTo>
                <a:lnTo>
                  <a:pt x="192" y="195"/>
                </a:lnTo>
                <a:cubicBezTo>
                  <a:pt x="182" y="163"/>
                  <a:pt x="174" y="117"/>
                  <a:pt x="174" y="94"/>
                </a:cubicBezTo>
                <a:cubicBezTo>
                  <a:pt x="174" y="59"/>
                  <a:pt x="182" y="53"/>
                  <a:pt x="235" y="46"/>
                </a:cubicBezTo>
                <a:cubicBezTo>
                  <a:pt x="267" y="43"/>
                  <a:pt x="316" y="30"/>
                  <a:pt x="344" y="18"/>
                </a:cubicBezTo>
                <a:cubicBezTo>
                  <a:pt x="388" y="0"/>
                  <a:pt x="398" y="0"/>
                  <a:pt x="428" y="30"/>
                </a:cubicBezTo>
                <a:cubicBezTo>
                  <a:pt x="472" y="69"/>
                  <a:pt x="582" y="90"/>
                  <a:pt x="673" y="74"/>
                </a:cubicBezTo>
                <a:cubicBezTo>
                  <a:pt x="750" y="61"/>
                  <a:pt x="780" y="91"/>
                  <a:pt x="782" y="182"/>
                </a:cubicBezTo>
                <a:cubicBezTo>
                  <a:pt x="782" y="242"/>
                  <a:pt x="784" y="243"/>
                  <a:pt x="846" y="243"/>
                </a:cubicBezTo>
                <a:lnTo>
                  <a:pt x="910" y="243"/>
                </a:lnTo>
                <a:lnTo>
                  <a:pt x="976" y="382"/>
                </a:lnTo>
                <a:cubicBezTo>
                  <a:pt x="1059" y="563"/>
                  <a:pt x="1064" y="586"/>
                  <a:pt x="1030" y="638"/>
                </a:cubicBezTo>
                <a:cubicBezTo>
                  <a:pt x="1003" y="678"/>
                  <a:pt x="1003" y="682"/>
                  <a:pt x="1033" y="706"/>
                </a:cubicBezTo>
                <a:cubicBezTo>
                  <a:pt x="1052" y="720"/>
                  <a:pt x="1078" y="738"/>
                  <a:pt x="1094" y="747"/>
                </a:cubicBezTo>
                <a:cubicBezTo>
                  <a:pt x="1110" y="757"/>
                  <a:pt x="1120" y="778"/>
                  <a:pt x="1116" y="798"/>
                </a:cubicBezTo>
                <a:lnTo>
                  <a:pt x="1110" y="832"/>
                </a:lnTo>
                <a:lnTo>
                  <a:pt x="1046" y="794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7" name="Новосибирская область"/>
          <p:cNvSpPr>
            <a:spLocks/>
          </p:cNvSpPr>
          <p:nvPr/>
        </p:nvSpPr>
        <p:spPr bwMode="auto">
          <a:xfrm>
            <a:off x="3716103" y="3958844"/>
            <a:ext cx="592000" cy="400294"/>
          </a:xfrm>
          <a:custGeom>
            <a:avLst/>
            <a:gdLst/>
            <a:ahLst/>
            <a:cxnLst>
              <a:cxn ang="0">
                <a:pos x="357" y="6"/>
              </a:cxn>
              <a:cxn ang="0">
                <a:pos x="354" y="6"/>
              </a:cxn>
              <a:cxn ang="0">
                <a:pos x="338" y="67"/>
              </a:cxn>
              <a:cxn ang="0">
                <a:pos x="298" y="158"/>
              </a:cxn>
              <a:cxn ang="0">
                <a:pos x="256" y="203"/>
              </a:cxn>
              <a:cxn ang="0">
                <a:pos x="290" y="259"/>
              </a:cxn>
              <a:cxn ang="0">
                <a:pos x="176" y="373"/>
              </a:cxn>
              <a:cxn ang="0">
                <a:pos x="71" y="400"/>
              </a:cxn>
              <a:cxn ang="0">
                <a:pos x="36" y="523"/>
              </a:cxn>
              <a:cxn ang="0">
                <a:pos x="0" y="645"/>
              </a:cxn>
              <a:cxn ang="0">
                <a:pos x="55" y="725"/>
              </a:cxn>
              <a:cxn ang="0">
                <a:pos x="58" y="949"/>
              </a:cxn>
              <a:cxn ang="0">
                <a:pos x="32" y="1011"/>
              </a:cxn>
              <a:cxn ang="0">
                <a:pos x="68" y="1003"/>
              </a:cxn>
              <a:cxn ang="0">
                <a:pos x="183" y="973"/>
              </a:cxn>
              <a:cxn ang="0">
                <a:pos x="276" y="973"/>
              </a:cxn>
              <a:cxn ang="0">
                <a:pos x="263" y="1054"/>
              </a:cxn>
              <a:cxn ang="0">
                <a:pos x="226" y="1139"/>
              </a:cxn>
              <a:cxn ang="0">
                <a:pos x="327" y="1278"/>
              </a:cxn>
              <a:cxn ang="0">
                <a:pos x="391" y="1358"/>
              </a:cxn>
              <a:cxn ang="0">
                <a:pos x="616" y="1302"/>
              </a:cxn>
              <a:cxn ang="0">
                <a:pos x="960" y="1205"/>
              </a:cxn>
              <a:cxn ang="0">
                <a:pos x="1128" y="1133"/>
              </a:cxn>
              <a:cxn ang="0">
                <a:pos x="1216" y="1232"/>
              </a:cxn>
              <a:cxn ang="0">
                <a:pos x="1364" y="1397"/>
              </a:cxn>
              <a:cxn ang="0">
                <a:pos x="1423" y="1462"/>
              </a:cxn>
              <a:cxn ang="0">
                <a:pos x="1504" y="1381"/>
              </a:cxn>
              <a:cxn ang="0">
                <a:pos x="1586" y="1296"/>
              </a:cxn>
              <a:cxn ang="0">
                <a:pos x="1730" y="1285"/>
              </a:cxn>
              <a:cxn ang="0">
                <a:pos x="1968" y="1152"/>
              </a:cxn>
              <a:cxn ang="0">
                <a:pos x="1904" y="648"/>
              </a:cxn>
              <a:cxn ang="0">
                <a:pos x="1792" y="686"/>
              </a:cxn>
              <a:cxn ang="0">
                <a:pos x="1679" y="725"/>
              </a:cxn>
              <a:cxn ang="0">
                <a:pos x="1640" y="582"/>
              </a:cxn>
              <a:cxn ang="0">
                <a:pos x="1604" y="445"/>
              </a:cxn>
              <a:cxn ang="0">
                <a:pos x="1458" y="453"/>
              </a:cxn>
              <a:cxn ang="0">
                <a:pos x="1303" y="440"/>
              </a:cxn>
              <a:cxn ang="0">
                <a:pos x="1172" y="397"/>
              </a:cxn>
              <a:cxn ang="0">
                <a:pos x="1060" y="381"/>
              </a:cxn>
              <a:cxn ang="0">
                <a:pos x="1004" y="288"/>
              </a:cxn>
              <a:cxn ang="0">
                <a:pos x="900" y="165"/>
              </a:cxn>
              <a:cxn ang="0">
                <a:pos x="357" y="6"/>
              </a:cxn>
            </a:cxnLst>
            <a:rect l="0" t="0" r="r" b="b"/>
            <a:pathLst>
              <a:path w="1968" h="1462">
                <a:moveTo>
                  <a:pt x="357" y="6"/>
                </a:moveTo>
                <a:cubicBezTo>
                  <a:pt x="356" y="6"/>
                  <a:pt x="354" y="6"/>
                  <a:pt x="354" y="6"/>
                </a:cubicBezTo>
                <a:cubicBezTo>
                  <a:pt x="346" y="11"/>
                  <a:pt x="338" y="40"/>
                  <a:pt x="338" y="67"/>
                </a:cubicBezTo>
                <a:cubicBezTo>
                  <a:pt x="338" y="99"/>
                  <a:pt x="324" y="131"/>
                  <a:pt x="298" y="158"/>
                </a:cubicBezTo>
                <a:lnTo>
                  <a:pt x="256" y="203"/>
                </a:lnTo>
                <a:lnTo>
                  <a:pt x="290" y="259"/>
                </a:lnTo>
                <a:cubicBezTo>
                  <a:pt x="330" y="328"/>
                  <a:pt x="322" y="334"/>
                  <a:pt x="176" y="373"/>
                </a:cubicBezTo>
                <a:lnTo>
                  <a:pt x="71" y="400"/>
                </a:lnTo>
                <a:lnTo>
                  <a:pt x="36" y="523"/>
                </a:lnTo>
                <a:lnTo>
                  <a:pt x="0" y="645"/>
                </a:lnTo>
                <a:lnTo>
                  <a:pt x="55" y="725"/>
                </a:lnTo>
                <a:cubicBezTo>
                  <a:pt x="116" y="809"/>
                  <a:pt x="116" y="817"/>
                  <a:pt x="58" y="949"/>
                </a:cubicBezTo>
                <a:lnTo>
                  <a:pt x="32" y="1011"/>
                </a:lnTo>
                <a:lnTo>
                  <a:pt x="68" y="1003"/>
                </a:lnTo>
                <a:cubicBezTo>
                  <a:pt x="88" y="998"/>
                  <a:pt x="140" y="984"/>
                  <a:pt x="183" y="973"/>
                </a:cubicBezTo>
                <a:cubicBezTo>
                  <a:pt x="244" y="955"/>
                  <a:pt x="260" y="957"/>
                  <a:pt x="276" y="973"/>
                </a:cubicBezTo>
                <a:cubicBezTo>
                  <a:pt x="292" y="989"/>
                  <a:pt x="292" y="1003"/>
                  <a:pt x="263" y="1054"/>
                </a:cubicBezTo>
                <a:cubicBezTo>
                  <a:pt x="242" y="1088"/>
                  <a:pt x="226" y="1128"/>
                  <a:pt x="226" y="1139"/>
                </a:cubicBezTo>
                <a:cubicBezTo>
                  <a:pt x="226" y="1150"/>
                  <a:pt x="272" y="1211"/>
                  <a:pt x="327" y="1278"/>
                </a:cubicBezTo>
                <a:cubicBezTo>
                  <a:pt x="352" y="1310"/>
                  <a:pt x="373" y="1333"/>
                  <a:pt x="391" y="1358"/>
                </a:cubicBezTo>
                <a:cubicBezTo>
                  <a:pt x="463" y="1329"/>
                  <a:pt x="538" y="1315"/>
                  <a:pt x="616" y="1302"/>
                </a:cubicBezTo>
                <a:cubicBezTo>
                  <a:pt x="744" y="1281"/>
                  <a:pt x="839" y="1256"/>
                  <a:pt x="960" y="1205"/>
                </a:cubicBezTo>
                <a:lnTo>
                  <a:pt x="1128" y="1133"/>
                </a:lnTo>
                <a:lnTo>
                  <a:pt x="1216" y="1232"/>
                </a:lnTo>
                <a:cubicBezTo>
                  <a:pt x="1264" y="1286"/>
                  <a:pt x="1330" y="1361"/>
                  <a:pt x="1364" y="1397"/>
                </a:cubicBezTo>
                <a:lnTo>
                  <a:pt x="1423" y="1462"/>
                </a:lnTo>
                <a:lnTo>
                  <a:pt x="1504" y="1381"/>
                </a:lnTo>
                <a:lnTo>
                  <a:pt x="1586" y="1296"/>
                </a:lnTo>
                <a:lnTo>
                  <a:pt x="1730" y="1285"/>
                </a:lnTo>
                <a:cubicBezTo>
                  <a:pt x="1896" y="1272"/>
                  <a:pt x="1968" y="1232"/>
                  <a:pt x="1968" y="1152"/>
                </a:cubicBezTo>
                <a:cubicBezTo>
                  <a:pt x="1968" y="1075"/>
                  <a:pt x="1916" y="662"/>
                  <a:pt x="1904" y="648"/>
                </a:cubicBezTo>
                <a:cubicBezTo>
                  <a:pt x="1898" y="641"/>
                  <a:pt x="1847" y="657"/>
                  <a:pt x="1792" y="686"/>
                </a:cubicBezTo>
                <a:cubicBezTo>
                  <a:pt x="1738" y="713"/>
                  <a:pt x="1687" y="731"/>
                  <a:pt x="1679" y="725"/>
                </a:cubicBezTo>
                <a:cubicBezTo>
                  <a:pt x="1671" y="717"/>
                  <a:pt x="1655" y="653"/>
                  <a:pt x="1640" y="582"/>
                </a:cubicBezTo>
                <a:cubicBezTo>
                  <a:pt x="1628" y="513"/>
                  <a:pt x="1610" y="451"/>
                  <a:pt x="1604" y="445"/>
                </a:cubicBezTo>
                <a:cubicBezTo>
                  <a:pt x="1597" y="438"/>
                  <a:pt x="1532" y="443"/>
                  <a:pt x="1458" y="453"/>
                </a:cubicBezTo>
                <a:cubicBezTo>
                  <a:pt x="1338" y="467"/>
                  <a:pt x="1322" y="464"/>
                  <a:pt x="1303" y="440"/>
                </a:cubicBezTo>
                <a:cubicBezTo>
                  <a:pt x="1290" y="421"/>
                  <a:pt x="1242" y="408"/>
                  <a:pt x="1172" y="397"/>
                </a:cubicBezTo>
                <a:lnTo>
                  <a:pt x="1060" y="381"/>
                </a:lnTo>
                <a:lnTo>
                  <a:pt x="1004" y="288"/>
                </a:lnTo>
                <a:cubicBezTo>
                  <a:pt x="975" y="238"/>
                  <a:pt x="928" y="184"/>
                  <a:pt x="900" y="165"/>
                </a:cubicBezTo>
                <a:cubicBezTo>
                  <a:pt x="845" y="126"/>
                  <a:pt x="405" y="0"/>
                  <a:pt x="357" y="6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8" name="Омская область"/>
          <p:cNvSpPr>
            <a:spLocks/>
          </p:cNvSpPr>
          <p:nvPr/>
        </p:nvSpPr>
        <p:spPr bwMode="auto">
          <a:xfrm>
            <a:off x="3446286" y="3776101"/>
            <a:ext cx="368242" cy="496017"/>
          </a:xfrm>
          <a:custGeom>
            <a:avLst/>
            <a:gdLst/>
            <a:ahLst/>
            <a:cxnLst>
              <a:cxn ang="0">
                <a:pos x="411" y="1782"/>
              </a:cxn>
              <a:cxn ang="0">
                <a:pos x="412" y="1710"/>
              </a:cxn>
              <a:cxn ang="0">
                <a:pos x="283" y="1539"/>
              </a:cxn>
              <a:cxn ang="0">
                <a:pos x="126" y="1481"/>
              </a:cxn>
              <a:cxn ang="0">
                <a:pos x="52" y="1462"/>
              </a:cxn>
              <a:cxn ang="0">
                <a:pos x="19" y="1219"/>
              </a:cxn>
              <a:cxn ang="0">
                <a:pos x="0" y="1000"/>
              </a:cxn>
              <a:cxn ang="0">
                <a:pos x="78" y="843"/>
              </a:cxn>
              <a:cxn ang="0">
                <a:pos x="155" y="686"/>
              </a:cxn>
              <a:cxn ang="0">
                <a:pos x="347" y="638"/>
              </a:cxn>
              <a:cxn ang="0">
                <a:pos x="344" y="542"/>
              </a:cxn>
              <a:cxn ang="0">
                <a:pos x="251" y="336"/>
              </a:cxn>
              <a:cxn ang="0">
                <a:pos x="182" y="246"/>
              </a:cxn>
              <a:cxn ang="0">
                <a:pos x="232" y="86"/>
              </a:cxn>
              <a:cxn ang="0">
                <a:pos x="299" y="3"/>
              </a:cxn>
              <a:cxn ang="0">
                <a:pos x="337" y="70"/>
              </a:cxn>
              <a:cxn ang="0">
                <a:pos x="571" y="188"/>
              </a:cxn>
              <a:cxn ang="0">
                <a:pos x="808" y="222"/>
              </a:cxn>
              <a:cxn ang="0">
                <a:pos x="1019" y="192"/>
              </a:cxn>
              <a:cxn ang="0">
                <a:pos x="1097" y="150"/>
              </a:cxn>
              <a:cxn ang="0">
                <a:pos x="1089" y="208"/>
              </a:cxn>
              <a:cxn ang="0">
                <a:pos x="1139" y="449"/>
              </a:cxn>
              <a:cxn ang="0">
                <a:pos x="1152" y="816"/>
              </a:cxn>
              <a:cxn ang="0">
                <a:pos x="1128" y="921"/>
              </a:cxn>
              <a:cxn ang="0">
                <a:pos x="1148" y="980"/>
              </a:cxn>
              <a:cxn ang="0">
                <a:pos x="1052" y="1012"/>
              </a:cxn>
              <a:cxn ang="0">
                <a:pos x="944" y="1052"/>
              </a:cxn>
              <a:cxn ang="0">
                <a:pos x="886" y="1203"/>
              </a:cxn>
              <a:cxn ang="0">
                <a:pos x="848" y="1334"/>
              </a:cxn>
              <a:cxn ang="0">
                <a:pos x="963" y="1494"/>
              </a:cxn>
              <a:cxn ang="0">
                <a:pos x="931" y="1576"/>
              </a:cxn>
              <a:cxn ang="0">
                <a:pos x="904" y="1681"/>
              </a:cxn>
              <a:cxn ang="0">
                <a:pos x="411" y="1782"/>
              </a:cxn>
            </a:cxnLst>
            <a:rect l="0" t="0" r="r" b="b"/>
            <a:pathLst>
              <a:path w="1222" h="1836">
                <a:moveTo>
                  <a:pt x="411" y="1782"/>
                </a:moveTo>
                <a:cubicBezTo>
                  <a:pt x="406" y="1774"/>
                  <a:pt x="406" y="1742"/>
                  <a:pt x="412" y="1710"/>
                </a:cubicBezTo>
                <a:cubicBezTo>
                  <a:pt x="425" y="1641"/>
                  <a:pt x="411" y="1620"/>
                  <a:pt x="283" y="1539"/>
                </a:cubicBezTo>
                <a:cubicBezTo>
                  <a:pt x="208" y="1489"/>
                  <a:pt x="174" y="1478"/>
                  <a:pt x="126" y="1481"/>
                </a:cubicBezTo>
                <a:cubicBezTo>
                  <a:pt x="84" y="1484"/>
                  <a:pt x="60" y="1478"/>
                  <a:pt x="52" y="1462"/>
                </a:cubicBezTo>
                <a:cubicBezTo>
                  <a:pt x="44" y="1449"/>
                  <a:pt x="30" y="1340"/>
                  <a:pt x="19" y="1219"/>
                </a:cubicBezTo>
                <a:lnTo>
                  <a:pt x="0" y="1000"/>
                </a:lnTo>
                <a:lnTo>
                  <a:pt x="78" y="843"/>
                </a:lnTo>
                <a:lnTo>
                  <a:pt x="155" y="686"/>
                </a:lnTo>
                <a:lnTo>
                  <a:pt x="347" y="638"/>
                </a:lnTo>
                <a:lnTo>
                  <a:pt x="344" y="542"/>
                </a:lnTo>
                <a:cubicBezTo>
                  <a:pt x="336" y="385"/>
                  <a:pt x="323" y="355"/>
                  <a:pt x="251" y="336"/>
                </a:cubicBezTo>
                <a:cubicBezTo>
                  <a:pt x="190" y="318"/>
                  <a:pt x="187" y="315"/>
                  <a:pt x="182" y="246"/>
                </a:cubicBezTo>
                <a:cubicBezTo>
                  <a:pt x="179" y="188"/>
                  <a:pt x="188" y="156"/>
                  <a:pt x="232" y="86"/>
                </a:cubicBezTo>
                <a:cubicBezTo>
                  <a:pt x="260" y="38"/>
                  <a:pt x="291" y="0"/>
                  <a:pt x="299" y="3"/>
                </a:cubicBezTo>
                <a:cubicBezTo>
                  <a:pt x="308" y="4"/>
                  <a:pt x="324" y="35"/>
                  <a:pt x="337" y="70"/>
                </a:cubicBezTo>
                <a:cubicBezTo>
                  <a:pt x="360" y="139"/>
                  <a:pt x="350" y="134"/>
                  <a:pt x="571" y="188"/>
                </a:cubicBezTo>
                <a:cubicBezTo>
                  <a:pt x="624" y="201"/>
                  <a:pt x="731" y="216"/>
                  <a:pt x="808" y="222"/>
                </a:cubicBezTo>
                <a:cubicBezTo>
                  <a:pt x="940" y="232"/>
                  <a:pt x="953" y="230"/>
                  <a:pt x="1019" y="192"/>
                </a:cubicBezTo>
                <a:cubicBezTo>
                  <a:pt x="1057" y="169"/>
                  <a:pt x="1092" y="150"/>
                  <a:pt x="1097" y="150"/>
                </a:cubicBezTo>
                <a:cubicBezTo>
                  <a:pt x="1102" y="150"/>
                  <a:pt x="1097" y="176"/>
                  <a:pt x="1089" y="208"/>
                </a:cubicBezTo>
                <a:cubicBezTo>
                  <a:pt x="1075" y="257"/>
                  <a:pt x="1081" y="289"/>
                  <a:pt x="1139" y="449"/>
                </a:cubicBezTo>
                <a:cubicBezTo>
                  <a:pt x="1219" y="676"/>
                  <a:pt x="1222" y="737"/>
                  <a:pt x="1152" y="816"/>
                </a:cubicBezTo>
                <a:cubicBezTo>
                  <a:pt x="1102" y="873"/>
                  <a:pt x="1100" y="875"/>
                  <a:pt x="1128" y="921"/>
                </a:cubicBezTo>
                <a:cubicBezTo>
                  <a:pt x="1144" y="948"/>
                  <a:pt x="1152" y="974"/>
                  <a:pt x="1148" y="980"/>
                </a:cubicBezTo>
                <a:cubicBezTo>
                  <a:pt x="1144" y="987"/>
                  <a:pt x="1100" y="1001"/>
                  <a:pt x="1052" y="1012"/>
                </a:cubicBezTo>
                <a:cubicBezTo>
                  <a:pt x="1003" y="1024"/>
                  <a:pt x="955" y="1041"/>
                  <a:pt x="944" y="1052"/>
                </a:cubicBezTo>
                <a:cubicBezTo>
                  <a:pt x="932" y="1064"/>
                  <a:pt x="905" y="1131"/>
                  <a:pt x="886" y="1203"/>
                </a:cubicBezTo>
                <a:lnTo>
                  <a:pt x="848" y="1334"/>
                </a:lnTo>
                <a:lnTo>
                  <a:pt x="963" y="1494"/>
                </a:lnTo>
                <a:lnTo>
                  <a:pt x="931" y="1576"/>
                </a:lnTo>
                <a:cubicBezTo>
                  <a:pt x="913" y="1620"/>
                  <a:pt x="900" y="1668"/>
                  <a:pt x="904" y="1681"/>
                </a:cubicBezTo>
                <a:cubicBezTo>
                  <a:pt x="913" y="1740"/>
                  <a:pt x="444" y="1836"/>
                  <a:pt x="411" y="178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8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69" name="Оренбургская область"/>
          <p:cNvSpPr>
            <a:spLocks/>
          </p:cNvSpPr>
          <p:nvPr/>
        </p:nvSpPr>
        <p:spPr bwMode="auto">
          <a:xfrm>
            <a:off x="2119462" y="3741293"/>
            <a:ext cx="601522" cy="539527"/>
          </a:xfrm>
          <a:custGeom>
            <a:avLst/>
            <a:gdLst/>
            <a:ahLst/>
            <a:cxnLst>
              <a:cxn ang="0">
                <a:pos x="1761" y="1920"/>
              </a:cxn>
              <a:cxn ang="0">
                <a:pos x="1641" y="1882"/>
              </a:cxn>
              <a:cxn ang="0">
                <a:pos x="1480" y="1877"/>
              </a:cxn>
              <a:cxn ang="0">
                <a:pos x="1406" y="1736"/>
              </a:cxn>
              <a:cxn ang="0">
                <a:pos x="1184" y="1596"/>
              </a:cxn>
              <a:cxn ang="0">
                <a:pos x="1025" y="1477"/>
              </a:cxn>
              <a:cxn ang="0">
                <a:pos x="985" y="1429"/>
              </a:cxn>
              <a:cxn ang="0">
                <a:pos x="852" y="1456"/>
              </a:cxn>
              <a:cxn ang="0">
                <a:pos x="699" y="1485"/>
              </a:cxn>
              <a:cxn ang="0">
                <a:pos x="662" y="1423"/>
              </a:cxn>
              <a:cxn ang="0">
                <a:pos x="617" y="1324"/>
              </a:cxn>
              <a:cxn ang="0">
                <a:pos x="553" y="1308"/>
              </a:cxn>
              <a:cxn ang="0">
                <a:pos x="504" y="1317"/>
              </a:cxn>
              <a:cxn ang="0">
                <a:pos x="462" y="1160"/>
              </a:cxn>
              <a:cxn ang="0">
                <a:pos x="420" y="986"/>
              </a:cxn>
              <a:cxn ang="0">
                <a:pos x="334" y="927"/>
              </a:cxn>
              <a:cxn ang="0">
                <a:pos x="262" y="816"/>
              </a:cxn>
              <a:cxn ang="0">
                <a:pos x="126" y="712"/>
              </a:cxn>
              <a:cxn ang="0">
                <a:pos x="27" y="720"/>
              </a:cxn>
              <a:cxn ang="0">
                <a:pos x="17" y="669"/>
              </a:cxn>
              <a:cxn ang="0">
                <a:pos x="70" y="575"/>
              </a:cxn>
              <a:cxn ang="0">
                <a:pos x="171" y="506"/>
              </a:cxn>
              <a:cxn ang="0">
                <a:pos x="334" y="397"/>
              </a:cxn>
              <a:cxn ang="0">
                <a:pos x="595" y="192"/>
              </a:cxn>
              <a:cxn ang="0">
                <a:pos x="726" y="18"/>
              </a:cxn>
              <a:cxn ang="0">
                <a:pos x="782" y="72"/>
              </a:cxn>
              <a:cxn ang="0">
                <a:pos x="840" y="272"/>
              </a:cxn>
              <a:cxn ang="0">
                <a:pos x="916" y="580"/>
              </a:cxn>
              <a:cxn ang="0">
                <a:pos x="979" y="842"/>
              </a:cxn>
              <a:cxn ang="0">
                <a:pos x="1046" y="952"/>
              </a:cxn>
              <a:cxn ang="0">
                <a:pos x="1118" y="957"/>
              </a:cxn>
              <a:cxn ang="0">
                <a:pos x="1067" y="1077"/>
              </a:cxn>
              <a:cxn ang="0">
                <a:pos x="1075" y="1151"/>
              </a:cxn>
              <a:cxn ang="0">
                <a:pos x="1086" y="1252"/>
              </a:cxn>
              <a:cxn ang="0">
                <a:pos x="1123" y="1362"/>
              </a:cxn>
              <a:cxn ang="0">
                <a:pos x="1302" y="1352"/>
              </a:cxn>
              <a:cxn ang="0">
                <a:pos x="1396" y="1396"/>
              </a:cxn>
              <a:cxn ang="0">
                <a:pos x="1542" y="1373"/>
              </a:cxn>
              <a:cxn ang="0">
                <a:pos x="1601" y="1309"/>
              </a:cxn>
              <a:cxn ang="0">
                <a:pos x="1830" y="1364"/>
              </a:cxn>
              <a:cxn ang="0">
                <a:pos x="1803" y="1456"/>
              </a:cxn>
              <a:cxn ang="0">
                <a:pos x="1776" y="1532"/>
              </a:cxn>
              <a:cxn ang="0">
                <a:pos x="1865" y="1664"/>
              </a:cxn>
              <a:cxn ang="0">
                <a:pos x="1940" y="1924"/>
              </a:cxn>
              <a:cxn ang="0">
                <a:pos x="1873" y="1980"/>
              </a:cxn>
              <a:cxn ang="0">
                <a:pos x="1761" y="1920"/>
              </a:cxn>
            </a:cxnLst>
            <a:rect l="0" t="0" r="r" b="b"/>
            <a:pathLst>
              <a:path w="2001" h="1981">
                <a:moveTo>
                  <a:pt x="1761" y="1920"/>
                </a:moveTo>
                <a:cubicBezTo>
                  <a:pt x="1684" y="1872"/>
                  <a:pt x="1664" y="1866"/>
                  <a:pt x="1641" y="1882"/>
                </a:cubicBezTo>
                <a:cubicBezTo>
                  <a:pt x="1558" y="1941"/>
                  <a:pt x="1545" y="1941"/>
                  <a:pt x="1480" y="1877"/>
                </a:cubicBezTo>
                <a:cubicBezTo>
                  <a:pt x="1428" y="1829"/>
                  <a:pt x="1414" y="1800"/>
                  <a:pt x="1406" y="1736"/>
                </a:cubicBezTo>
                <a:cubicBezTo>
                  <a:pt x="1387" y="1607"/>
                  <a:pt x="1300" y="1551"/>
                  <a:pt x="1184" y="1596"/>
                </a:cubicBezTo>
                <a:cubicBezTo>
                  <a:pt x="1139" y="1613"/>
                  <a:pt x="1142" y="1615"/>
                  <a:pt x="1025" y="1477"/>
                </a:cubicBezTo>
                <a:lnTo>
                  <a:pt x="985" y="1429"/>
                </a:lnTo>
                <a:lnTo>
                  <a:pt x="852" y="1456"/>
                </a:lnTo>
                <a:cubicBezTo>
                  <a:pt x="779" y="1472"/>
                  <a:pt x="710" y="1485"/>
                  <a:pt x="699" y="1485"/>
                </a:cubicBezTo>
                <a:cubicBezTo>
                  <a:pt x="688" y="1485"/>
                  <a:pt x="672" y="1456"/>
                  <a:pt x="662" y="1423"/>
                </a:cubicBezTo>
                <a:cubicBezTo>
                  <a:pt x="654" y="1388"/>
                  <a:pt x="633" y="1344"/>
                  <a:pt x="617" y="1324"/>
                </a:cubicBezTo>
                <a:cubicBezTo>
                  <a:pt x="592" y="1293"/>
                  <a:pt x="584" y="1292"/>
                  <a:pt x="553" y="1308"/>
                </a:cubicBezTo>
                <a:cubicBezTo>
                  <a:pt x="534" y="1317"/>
                  <a:pt x="512" y="1322"/>
                  <a:pt x="504" y="1317"/>
                </a:cubicBezTo>
                <a:cubicBezTo>
                  <a:pt x="496" y="1312"/>
                  <a:pt x="478" y="1242"/>
                  <a:pt x="462" y="1160"/>
                </a:cubicBezTo>
                <a:cubicBezTo>
                  <a:pt x="446" y="1079"/>
                  <a:pt x="427" y="1000"/>
                  <a:pt x="420" y="986"/>
                </a:cubicBezTo>
                <a:cubicBezTo>
                  <a:pt x="412" y="970"/>
                  <a:pt x="374" y="944"/>
                  <a:pt x="334" y="927"/>
                </a:cubicBezTo>
                <a:cubicBezTo>
                  <a:pt x="264" y="895"/>
                  <a:pt x="262" y="893"/>
                  <a:pt x="262" y="816"/>
                </a:cubicBezTo>
                <a:cubicBezTo>
                  <a:pt x="262" y="712"/>
                  <a:pt x="246" y="700"/>
                  <a:pt x="126" y="712"/>
                </a:cubicBezTo>
                <a:lnTo>
                  <a:pt x="27" y="720"/>
                </a:lnTo>
                <a:lnTo>
                  <a:pt x="17" y="669"/>
                </a:lnTo>
                <a:cubicBezTo>
                  <a:pt x="1" y="594"/>
                  <a:pt x="0" y="596"/>
                  <a:pt x="70" y="575"/>
                </a:cubicBezTo>
                <a:cubicBezTo>
                  <a:pt x="108" y="564"/>
                  <a:pt x="148" y="536"/>
                  <a:pt x="171" y="506"/>
                </a:cubicBezTo>
                <a:cubicBezTo>
                  <a:pt x="193" y="476"/>
                  <a:pt x="254" y="436"/>
                  <a:pt x="334" y="397"/>
                </a:cubicBezTo>
                <a:cubicBezTo>
                  <a:pt x="444" y="344"/>
                  <a:pt x="480" y="319"/>
                  <a:pt x="595" y="192"/>
                </a:cubicBezTo>
                <a:cubicBezTo>
                  <a:pt x="667" y="112"/>
                  <a:pt x="726" y="34"/>
                  <a:pt x="726" y="18"/>
                </a:cubicBezTo>
                <a:cubicBezTo>
                  <a:pt x="726" y="0"/>
                  <a:pt x="748" y="21"/>
                  <a:pt x="782" y="72"/>
                </a:cubicBezTo>
                <a:cubicBezTo>
                  <a:pt x="833" y="148"/>
                  <a:pt x="838" y="165"/>
                  <a:pt x="840" y="272"/>
                </a:cubicBezTo>
                <a:cubicBezTo>
                  <a:pt x="840" y="373"/>
                  <a:pt x="849" y="413"/>
                  <a:pt x="916" y="580"/>
                </a:cubicBezTo>
                <a:cubicBezTo>
                  <a:pt x="987" y="752"/>
                  <a:pt x="992" y="775"/>
                  <a:pt x="979" y="842"/>
                </a:cubicBezTo>
                <a:cubicBezTo>
                  <a:pt x="960" y="946"/>
                  <a:pt x="969" y="962"/>
                  <a:pt x="1046" y="952"/>
                </a:cubicBezTo>
                <a:cubicBezTo>
                  <a:pt x="1081" y="948"/>
                  <a:pt x="1113" y="949"/>
                  <a:pt x="1118" y="957"/>
                </a:cubicBezTo>
                <a:cubicBezTo>
                  <a:pt x="1131" y="976"/>
                  <a:pt x="1097" y="1055"/>
                  <a:pt x="1067" y="1077"/>
                </a:cubicBezTo>
                <a:cubicBezTo>
                  <a:pt x="1043" y="1095"/>
                  <a:pt x="1044" y="1101"/>
                  <a:pt x="1075" y="1151"/>
                </a:cubicBezTo>
                <a:cubicBezTo>
                  <a:pt x="1105" y="1202"/>
                  <a:pt x="1107" y="1210"/>
                  <a:pt x="1086" y="1252"/>
                </a:cubicBezTo>
                <a:cubicBezTo>
                  <a:pt x="1046" y="1327"/>
                  <a:pt x="1056" y="1351"/>
                  <a:pt x="1123" y="1362"/>
                </a:cubicBezTo>
                <a:cubicBezTo>
                  <a:pt x="1214" y="1378"/>
                  <a:pt x="1267" y="1375"/>
                  <a:pt x="1302" y="1352"/>
                </a:cubicBezTo>
                <a:cubicBezTo>
                  <a:pt x="1329" y="1336"/>
                  <a:pt x="1342" y="1341"/>
                  <a:pt x="1396" y="1396"/>
                </a:cubicBezTo>
                <a:cubicBezTo>
                  <a:pt x="1472" y="1468"/>
                  <a:pt x="1496" y="1464"/>
                  <a:pt x="1542" y="1373"/>
                </a:cubicBezTo>
                <a:cubicBezTo>
                  <a:pt x="1560" y="1338"/>
                  <a:pt x="1587" y="1309"/>
                  <a:pt x="1601" y="1309"/>
                </a:cubicBezTo>
                <a:cubicBezTo>
                  <a:pt x="1665" y="1309"/>
                  <a:pt x="1830" y="1348"/>
                  <a:pt x="1830" y="1364"/>
                </a:cubicBezTo>
                <a:cubicBezTo>
                  <a:pt x="1830" y="1373"/>
                  <a:pt x="1819" y="1415"/>
                  <a:pt x="1803" y="1456"/>
                </a:cubicBezTo>
                <a:lnTo>
                  <a:pt x="1776" y="1532"/>
                </a:lnTo>
                <a:lnTo>
                  <a:pt x="1865" y="1664"/>
                </a:lnTo>
                <a:cubicBezTo>
                  <a:pt x="2001" y="1871"/>
                  <a:pt x="1998" y="1858"/>
                  <a:pt x="1940" y="1924"/>
                </a:cubicBezTo>
                <a:cubicBezTo>
                  <a:pt x="1913" y="1956"/>
                  <a:pt x="1883" y="1981"/>
                  <a:pt x="1873" y="1980"/>
                </a:cubicBezTo>
                <a:cubicBezTo>
                  <a:pt x="1862" y="1980"/>
                  <a:pt x="1812" y="1954"/>
                  <a:pt x="1761" y="192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0" name="Орловская область"/>
          <p:cNvSpPr>
            <a:spLocks/>
          </p:cNvSpPr>
          <p:nvPr/>
        </p:nvSpPr>
        <p:spPr bwMode="auto">
          <a:xfrm>
            <a:off x="1319538" y="3201766"/>
            <a:ext cx="169838" cy="169690"/>
          </a:xfrm>
          <a:custGeom>
            <a:avLst/>
            <a:gdLst/>
            <a:ahLst/>
            <a:cxnLst>
              <a:cxn ang="0">
                <a:pos x="243" y="606"/>
              </a:cxn>
              <a:cxn ang="0">
                <a:pos x="210" y="491"/>
              </a:cxn>
              <a:cxn ang="0">
                <a:pos x="93" y="294"/>
              </a:cxn>
              <a:cxn ang="0">
                <a:pos x="8" y="172"/>
              </a:cxn>
              <a:cxn ang="0">
                <a:pos x="136" y="44"/>
              </a:cxn>
              <a:cxn ang="0">
                <a:pos x="183" y="25"/>
              </a:cxn>
              <a:cxn ang="0">
                <a:pos x="315" y="19"/>
              </a:cxn>
              <a:cxn ang="0">
                <a:pos x="427" y="40"/>
              </a:cxn>
              <a:cxn ang="0">
                <a:pos x="437" y="118"/>
              </a:cxn>
              <a:cxn ang="0">
                <a:pos x="495" y="248"/>
              </a:cxn>
              <a:cxn ang="0">
                <a:pos x="480" y="529"/>
              </a:cxn>
              <a:cxn ang="0">
                <a:pos x="338" y="622"/>
              </a:cxn>
              <a:cxn ang="0">
                <a:pos x="243" y="606"/>
              </a:cxn>
            </a:cxnLst>
            <a:rect l="0" t="0" r="r" b="b"/>
            <a:pathLst>
              <a:path w="565" h="625">
                <a:moveTo>
                  <a:pt x="243" y="606"/>
                </a:moveTo>
                <a:cubicBezTo>
                  <a:pt x="235" y="595"/>
                  <a:pt x="221" y="542"/>
                  <a:pt x="210" y="491"/>
                </a:cubicBezTo>
                <a:cubicBezTo>
                  <a:pt x="194" y="412"/>
                  <a:pt x="176" y="384"/>
                  <a:pt x="93" y="294"/>
                </a:cubicBezTo>
                <a:cubicBezTo>
                  <a:pt x="37" y="233"/>
                  <a:pt x="0" y="184"/>
                  <a:pt x="8" y="172"/>
                </a:cubicBezTo>
                <a:cubicBezTo>
                  <a:pt x="50" y="97"/>
                  <a:pt x="114" y="35"/>
                  <a:pt x="136" y="44"/>
                </a:cubicBezTo>
                <a:cubicBezTo>
                  <a:pt x="151" y="49"/>
                  <a:pt x="170" y="43"/>
                  <a:pt x="183" y="25"/>
                </a:cubicBezTo>
                <a:cubicBezTo>
                  <a:pt x="202" y="0"/>
                  <a:pt x="213" y="0"/>
                  <a:pt x="315" y="19"/>
                </a:cubicBezTo>
                <a:lnTo>
                  <a:pt x="427" y="40"/>
                </a:lnTo>
                <a:lnTo>
                  <a:pt x="437" y="118"/>
                </a:lnTo>
                <a:cubicBezTo>
                  <a:pt x="445" y="171"/>
                  <a:pt x="464" y="212"/>
                  <a:pt x="495" y="248"/>
                </a:cubicBezTo>
                <a:cubicBezTo>
                  <a:pt x="565" y="328"/>
                  <a:pt x="560" y="417"/>
                  <a:pt x="480" y="529"/>
                </a:cubicBezTo>
                <a:cubicBezTo>
                  <a:pt x="423" y="614"/>
                  <a:pt x="418" y="617"/>
                  <a:pt x="338" y="622"/>
                </a:cubicBezTo>
                <a:cubicBezTo>
                  <a:pt x="283" y="625"/>
                  <a:pt x="251" y="619"/>
                  <a:pt x="243" y="60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1" name="Пензенская область"/>
          <p:cNvSpPr>
            <a:spLocks/>
          </p:cNvSpPr>
          <p:nvPr/>
        </p:nvSpPr>
        <p:spPr bwMode="auto">
          <a:xfrm>
            <a:off x="1740148" y="3445423"/>
            <a:ext cx="231728" cy="234955"/>
          </a:xfrm>
          <a:custGeom>
            <a:avLst/>
            <a:gdLst/>
            <a:ahLst/>
            <a:cxnLst>
              <a:cxn ang="0">
                <a:pos x="464" y="816"/>
              </a:cxn>
              <a:cxn ang="0">
                <a:pos x="165" y="637"/>
              </a:cxn>
              <a:cxn ang="0">
                <a:pos x="7" y="479"/>
              </a:cxn>
              <a:cxn ang="0">
                <a:pos x="21" y="439"/>
              </a:cxn>
              <a:cxn ang="0">
                <a:pos x="42" y="229"/>
              </a:cxn>
              <a:cxn ang="0">
                <a:pos x="37" y="39"/>
              </a:cxn>
              <a:cxn ang="0">
                <a:pos x="80" y="23"/>
              </a:cxn>
              <a:cxn ang="0">
                <a:pos x="391" y="231"/>
              </a:cxn>
              <a:cxn ang="0">
                <a:pos x="503" y="309"/>
              </a:cxn>
              <a:cxn ang="0">
                <a:pos x="621" y="327"/>
              </a:cxn>
              <a:cxn ang="0">
                <a:pos x="770" y="578"/>
              </a:cxn>
              <a:cxn ang="0">
                <a:pos x="776" y="733"/>
              </a:cxn>
              <a:cxn ang="0">
                <a:pos x="703" y="797"/>
              </a:cxn>
              <a:cxn ang="0">
                <a:pos x="621" y="860"/>
              </a:cxn>
              <a:cxn ang="0">
                <a:pos x="464" y="816"/>
              </a:cxn>
            </a:cxnLst>
            <a:rect l="0" t="0" r="r" b="b"/>
            <a:pathLst>
              <a:path w="776" h="860">
                <a:moveTo>
                  <a:pt x="464" y="816"/>
                </a:moveTo>
                <a:cubicBezTo>
                  <a:pt x="319" y="775"/>
                  <a:pt x="309" y="768"/>
                  <a:pt x="165" y="637"/>
                </a:cubicBezTo>
                <a:cubicBezTo>
                  <a:pt x="83" y="562"/>
                  <a:pt x="11" y="490"/>
                  <a:pt x="7" y="479"/>
                </a:cubicBezTo>
                <a:cubicBezTo>
                  <a:pt x="0" y="466"/>
                  <a:pt x="8" y="448"/>
                  <a:pt x="21" y="439"/>
                </a:cubicBezTo>
                <a:cubicBezTo>
                  <a:pt x="42" y="423"/>
                  <a:pt x="45" y="388"/>
                  <a:pt x="42" y="229"/>
                </a:cubicBezTo>
                <a:lnTo>
                  <a:pt x="37" y="39"/>
                </a:lnTo>
                <a:lnTo>
                  <a:pt x="80" y="23"/>
                </a:lnTo>
                <a:cubicBezTo>
                  <a:pt x="143" y="0"/>
                  <a:pt x="319" y="117"/>
                  <a:pt x="391" y="231"/>
                </a:cubicBezTo>
                <a:cubicBezTo>
                  <a:pt x="456" y="332"/>
                  <a:pt x="464" y="338"/>
                  <a:pt x="503" y="309"/>
                </a:cubicBezTo>
                <a:cubicBezTo>
                  <a:pt x="528" y="292"/>
                  <a:pt x="544" y="293"/>
                  <a:pt x="621" y="327"/>
                </a:cubicBezTo>
                <a:cubicBezTo>
                  <a:pt x="754" y="386"/>
                  <a:pt x="760" y="397"/>
                  <a:pt x="770" y="578"/>
                </a:cubicBezTo>
                <a:lnTo>
                  <a:pt x="776" y="733"/>
                </a:lnTo>
                <a:lnTo>
                  <a:pt x="703" y="797"/>
                </a:lnTo>
                <a:cubicBezTo>
                  <a:pt x="663" y="832"/>
                  <a:pt x="626" y="860"/>
                  <a:pt x="621" y="860"/>
                </a:cubicBezTo>
                <a:cubicBezTo>
                  <a:pt x="616" y="860"/>
                  <a:pt x="546" y="839"/>
                  <a:pt x="464" y="81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2" name="Пермский край"/>
          <p:cNvSpPr>
            <a:spLocks/>
          </p:cNvSpPr>
          <p:nvPr/>
        </p:nvSpPr>
        <p:spPr bwMode="auto">
          <a:xfrm>
            <a:off x="2555906" y="3175660"/>
            <a:ext cx="496783" cy="526474"/>
          </a:xfrm>
          <a:custGeom>
            <a:avLst/>
            <a:gdLst/>
            <a:ahLst/>
            <a:cxnLst>
              <a:cxn ang="0">
                <a:pos x="446" y="1907"/>
              </a:cxn>
              <a:cxn ang="0">
                <a:pos x="376" y="1808"/>
              </a:cxn>
              <a:cxn ang="0">
                <a:pos x="320" y="1715"/>
              </a:cxn>
              <a:cxn ang="0">
                <a:pos x="228" y="1696"/>
              </a:cxn>
              <a:cxn ang="0">
                <a:pos x="97" y="1627"/>
              </a:cxn>
              <a:cxn ang="0">
                <a:pos x="9" y="1463"/>
              </a:cxn>
              <a:cxn ang="0">
                <a:pos x="75" y="1434"/>
              </a:cxn>
              <a:cxn ang="0">
                <a:pos x="134" y="1387"/>
              </a:cxn>
              <a:cxn ang="0">
                <a:pos x="198" y="1234"/>
              </a:cxn>
              <a:cxn ang="0">
                <a:pos x="262" y="1040"/>
              </a:cxn>
              <a:cxn ang="0">
                <a:pos x="318" y="843"/>
              </a:cxn>
              <a:cxn ang="0">
                <a:pos x="377" y="760"/>
              </a:cxn>
              <a:cxn ang="0">
                <a:pos x="379" y="648"/>
              </a:cxn>
              <a:cxn ang="0">
                <a:pos x="393" y="554"/>
              </a:cxn>
              <a:cxn ang="0">
                <a:pos x="574" y="384"/>
              </a:cxn>
              <a:cxn ang="0">
                <a:pos x="494" y="274"/>
              </a:cxn>
              <a:cxn ang="0">
                <a:pos x="409" y="93"/>
              </a:cxn>
              <a:cxn ang="0">
                <a:pos x="460" y="2"/>
              </a:cxn>
              <a:cxn ang="0">
                <a:pos x="561" y="7"/>
              </a:cxn>
              <a:cxn ang="0">
                <a:pos x="651" y="93"/>
              </a:cxn>
              <a:cxn ang="0">
                <a:pos x="819" y="207"/>
              </a:cxn>
              <a:cxn ang="0">
                <a:pos x="950" y="245"/>
              </a:cxn>
              <a:cxn ang="0">
                <a:pos x="1110" y="216"/>
              </a:cxn>
              <a:cxn ang="0">
                <a:pos x="1531" y="266"/>
              </a:cxn>
              <a:cxn ang="0">
                <a:pos x="1654" y="331"/>
              </a:cxn>
              <a:cxn ang="0">
                <a:pos x="1622" y="411"/>
              </a:cxn>
              <a:cxn ang="0">
                <a:pos x="1590" y="514"/>
              </a:cxn>
              <a:cxn ang="0">
                <a:pos x="1262" y="880"/>
              </a:cxn>
              <a:cxn ang="0">
                <a:pos x="1203" y="899"/>
              </a:cxn>
              <a:cxn ang="0">
                <a:pos x="1211" y="975"/>
              </a:cxn>
              <a:cxn ang="0">
                <a:pos x="1248" y="1107"/>
              </a:cxn>
              <a:cxn ang="0">
                <a:pos x="1249" y="1207"/>
              </a:cxn>
              <a:cxn ang="0">
                <a:pos x="1222" y="1295"/>
              </a:cxn>
              <a:cxn ang="0">
                <a:pos x="1131" y="1375"/>
              </a:cxn>
              <a:cxn ang="0">
                <a:pos x="998" y="1501"/>
              </a:cxn>
              <a:cxn ang="0">
                <a:pos x="902" y="1530"/>
              </a:cxn>
              <a:cxn ang="0">
                <a:pos x="808" y="1519"/>
              </a:cxn>
              <a:cxn ang="0">
                <a:pos x="768" y="1599"/>
              </a:cxn>
              <a:cxn ang="0">
                <a:pos x="726" y="1679"/>
              </a:cxn>
              <a:cxn ang="0">
                <a:pos x="635" y="1683"/>
              </a:cxn>
              <a:cxn ang="0">
                <a:pos x="542" y="1688"/>
              </a:cxn>
              <a:cxn ang="0">
                <a:pos x="518" y="1799"/>
              </a:cxn>
              <a:cxn ang="0">
                <a:pos x="446" y="1907"/>
              </a:cxn>
            </a:cxnLst>
            <a:rect l="0" t="0" r="r" b="b"/>
            <a:pathLst>
              <a:path w="1654" h="1931">
                <a:moveTo>
                  <a:pt x="446" y="1907"/>
                </a:moveTo>
                <a:cubicBezTo>
                  <a:pt x="436" y="1901"/>
                  <a:pt x="404" y="1856"/>
                  <a:pt x="376" y="1808"/>
                </a:cubicBezTo>
                <a:cubicBezTo>
                  <a:pt x="347" y="1759"/>
                  <a:pt x="321" y="1719"/>
                  <a:pt x="320" y="1715"/>
                </a:cubicBezTo>
                <a:cubicBezTo>
                  <a:pt x="316" y="1714"/>
                  <a:pt x="276" y="1704"/>
                  <a:pt x="228" y="1696"/>
                </a:cubicBezTo>
                <a:cubicBezTo>
                  <a:pt x="161" y="1683"/>
                  <a:pt x="132" y="1667"/>
                  <a:pt x="97" y="1627"/>
                </a:cubicBezTo>
                <a:cubicBezTo>
                  <a:pt x="57" y="1581"/>
                  <a:pt x="0" y="1472"/>
                  <a:pt x="9" y="1463"/>
                </a:cubicBezTo>
                <a:cubicBezTo>
                  <a:pt x="12" y="1461"/>
                  <a:pt x="41" y="1448"/>
                  <a:pt x="75" y="1434"/>
                </a:cubicBezTo>
                <a:cubicBezTo>
                  <a:pt x="107" y="1421"/>
                  <a:pt x="134" y="1400"/>
                  <a:pt x="134" y="1387"/>
                </a:cubicBezTo>
                <a:cubicBezTo>
                  <a:pt x="134" y="1376"/>
                  <a:pt x="163" y="1306"/>
                  <a:pt x="198" y="1234"/>
                </a:cubicBezTo>
                <a:cubicBezTo>
                  <a:pt x="238" y="1151"/>
                  <a:pt x="262" y="1079"/>
                  <a:pt x="262" y="1040"/>
                </a:cubicBezTo>
                <a:cubicBezTo>
                  <a:pt x="262" y="944"/>
                  <a:pt x="280" y="883"/>
                  <a:pt x="318" y="843"/>
                </a:cubicBezTo>
                <a:cubicBezTo>
                  <a:pt x="337" y="824"/>
                  <a:pt x="364" y="786"/>
                  <a:pt x="377" y="760"/>
                </a:cubicBezTo>
                <a:cubicBezTo>
                  <a:pt x="400" y="719"/>
                  <a:pt x="400" y="706"/>
                  <a:pt x="379" y="648"/>
                </a:cubicBezTo>
                <a:cubicBezTo>
                  <a:pt x="358" y="586"/>
                  <a:pt x="358" y="583"/>
                  <a:pt x="393" y="554"/>
                </a:cubicBezTo>
                <a:cubicBezTo>
                  <a:pt x="454" y="506"/>
                  <a:pt x="561" y="403"/>
                  <a:pt x="574" y="384"/>
                </a:cubicBezTo>
                <a:cubicBezTo>
                  <a:pt x="579" y="375"/>
                  <a:pt x="544" y="325"/>
                  <a:pt x="494" y="274"/>
                </a:cubicBezTo>
                <a:cubicBezTo>
                  <a:pt x="406" y="179"/>
                  <a:pt x="404" y="178"/>
                  <a:pt x="409" y="93"/>
                </a:cubicBezTo>
                <a:cubicBezTo>
                  <a:pt x="414" y="11"/>
                  <a:pt x="417" y="8"/>
                  <a:pt x="460" y="2"/>
                </a:cubicBezTo>
                <a:cubicBezTo>
                  <a:pt x="486" y="0"/>
                  <a:pt x="531" y="2"/>
                  <a:pt x="561" y="7"/>
                </a:cubicBezTo>
                <a:cubicBezTo>
                  <a:pt x="606" y="16"/>
                  <a:pt x="622" y="31"/>
                  <a:pt x="651" y="93"/>
                </a:cubicBezTo>
                <a:cubicBezTo>
                  <a:pt x="686" y="165"/>
                  <a:pt x="689" y="168"/>
                  <a:pt x="819" y="207"/>
                </a:cubicBezTo>
                <a:lnTo>
                  <a:pt x="950" y="245"/>
                </a:lnTo>
                <a:lnTo>
                  <a:pt x="1110" y="216"/>
                </a:lnTo>
                <a:cubicBezTo>
                  <a:pt x="1288" y="183"/>
                  <a:pt x="1310" y="186"/>
                  <a:pt x="1531" y="266"/>
                </a:cubicBezTo>
                <a:cubicBezTo>
                  <a:pt x="1598" y="290"/>
                  <a:pt x="1654" y="320"/>
                  <a:pt x="1654" y="331"/>
                </a:cubicBezTo>
                <a:cubicBezTo>
                  <a:pt x="1654" y="343"/>
                  <a:pt x="1640" y="379"/>
                  <a:pt x="1622" y="411"/>
                </a:cubicBezTo>
                <a:cubicBezTo>
                  <a:pt x="1604" y="445"/>
                  <a:pt x="1590" y="490"/>
                  <a:pt x="1590" y="514"/>
                </a:cubicBezTo>
                <a:cubicBezTo>
                  <a:pt x="1590" y="587"/>
                  <a:pt x="1358" y="848"/>
                  <a:pt x="1262" y="880"/>
                </a:cubicBezTo>
                <a:lnTo>
                  <a:pt x="1203" y="899"/>
                </a:lnTo>
                <a:lnTo>
                  <a:pt x="1211" y="975"/>
                </a:lnTo>
                <a:cubicBezTo>
                  <a:pt x="1216" y="1016"/>
                  <a:pt x="1232" y="1075"/>
                  <a:pt x="1248" y="1107"/>
                </a:cubicBezTo>
                <a:cubicBezTo>
                  <a:pt x="1273" y="1162"/>
                  <a:pt x="1273" y="1168"/>
                  <a:pt x="1249" y="1207"/>
                </a:cubicBezTo>
                <a:cubicBezTo>
                  <a:pt x="1235" y="1229"/>
                  <a:pt x="1222" y="1267"/>
                  <a:pt x="1222" y="1295"/>
                </a:cubicBezTo>
                <a:cubicBezTo>
                  <a:pt x="1222" y="1338"/>
                  <a:pt x="1214" y="1344"/>
                  <a:pt x="1131" y="1375"/>
                </a:cubicBezTo>
                <a:cubicBezTo>
                  <a:pt x="1028" y="1413"/>
                  <a:pt x="998" y="1442"/>
                  <a:pt x="998" y="1501"/>
                </a:cubicBezTo>
                <a:cubicBezTo>
                  <a:pt x="998" y="1539"/>
                  <a:pt x="996" y="1539"/>
                  <a:pt x="902" y="1530"/>
                </a:cubicBezTo>
                <a:lnTo>
                  <a:pt x="808" y="1519"/>
                </a:lnTo>
                <a:lnTo>
                  <a:pt x="768" y="1599"/>
                </a:lnTo>
                <a:lnTo>
                  <a:pt x="726" y="1679"/>
                </a:lnTo>
                <a:lnTo>
                  <a:pt x="635" y="1683"/>
                </a:lnTo>
                <a:lnTo>
                  <a:pt x="542" y="1688"/>
                </a:lnTo>
                <a:lnTo>
                  <a:pt x="518" y="1799"/>
                </a:lnTo>
                <a:cubicBezTo>
                  <a:pt x="494" y="1907"/>
                  <a:pt x="478" y="1931"/>
                  <a:pt x="446" y="190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8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3" name="Приморский край"/>
          <p:cNvSpPr>
            <a:spLocks/>
          </p:cNvSpPr>
          <p:nvPr/>
        </p:nvSpPr>
        <p:spPr bwMode="auto">
          <a:xfrm>
            <a:off x="7714068" y="3845717"/>
            <a:ext cx="331707" cy="796237"/>
          </a:xfrm>
          <a:custGeom>
            <a:avLst/>
            <a:gdLst/>
            <a:ahLst/>
            <a:cxnLst>
              <a:cxn ang="0">
                <a:pos x="277" y="2916"/>
              </a:cxn>
              <a:cxn ang="0">
                <a:pos x="320" y="2784"/>
              </a:cxn>
              <a:cxn ang="0">
                <a:pos x="384" y="2644"/>
              </a:cxn>
              <a:cxn ang="0">
                <a:pos x="280" y="2459"/>
              </a:cxn>
              <a:cxn ang="0">
                <a:pos x="88" y="2224"/>
              </a:cxn>
              <a:cxn ang="0">
                <a:pos x="0" y="2128"/>
              </a:cxn>
              <a:cxn ang="0">
                <a:pos x="68" y="1926"/>
              </a:cxn>
              <a:cxn ang="0">
                <a:pos x="189" y="1889"/>
              </a:cxn>
              <a:cxn ang="0">
                <a:pos x="384" y="1819"/>
              </a:cxn>
              <a:cxn ang="0">
                <a:pos x="362" y="1737"/>
              </a:cxn>
              <a:cxn ang="0">
                <a:pos x="328" y="1505"/>
              </a:cxn>
              <a:cxn ang="0">
                <a:pos x="279" y="1251"/>
              </a:cxn>
              <a:cxn ang="0">
                <a:pos x="253" y="1121"/>
              </a:cxn>
              <a:cxn ang="0">
                <a:pos x="295" y="1099"/>
              </a:cxn>
              <a:cxn ang="0">
                <a:pos x="298" y="1038"/>
              </a:cxn>
              <a:cxn ang="0">
                <a:pos x="314" y="923"/>
              </a:cxn>
              <a:cxn ang="0">
                <a:pos x="356" y="849"/>
              </a:cxn>
              <a:cxn ang="0">
                <a:pos x="602" y="849"/>
              </a:cxn>
              <a:cxn ang="0">
                <a:pos x="690" y="771"/>
              </a:cxn>
              <a:cxn ang="0">
                <a:pos x="776" y="692"/>
              </a:cxn>
              <a:cxn ang="0">
                <a:pos x="733" y="603"/>
              </a:cxn>
              <a:cxn ang="0">
                <a:pos x="690" y="515"/>
              </a:cxn>
              <a:cxn ang="0">
                <a:pos x="749" y="510"/>
              </a:cxn>
              <a:cxn ang="0">
                <a:pos x="818" y="465"/>
              </a:cxn>
              <a:cxn ang="0">
                <a:pos x="816" y="233"/>
              </a:cxn>
              <a:cxn ang="0">
                <a:pos x="743" y="240"/>
              </a:cxn>
              <a:cxn ang="0">
                <a:pos x="639" y="232"/>
              </a:cxn>
              <a:cxn ang="0">
                <a:pos x="592" y="195"/>
              </a:cxn>
              <a:cxn ang="0">
                <a:pos x="658" y="91"/>
              </a:cxn>
              <a:cxn ang="0">
                <a:pos x="724" y="0"/>
              </a:cxn>
              <a:cxn ang="0">
                <a:pos x="797" y="52"/>
              </a:cxn>
              <a:cxn ang="0">
                <a:pos x="877" y="150"/>
              </a:cxn>
              <a:cxn ang="0">
                <a:pos x="935" y="216"/>
              </a:cxn>
              <a:cxn ang="0">
                <a:pos x="997" y="299"/>
              </a:cxn>
              <a:cxn ang="0">
                <a:pos x="1040" y="497"/>
              </a:cxn>
              <a:cxn ang="0">
                <a:pos x="1084" y="1297"/>
              </a:cxn>
              <a:cxn ang="0">
                <a:pos x="1092" y="1961"/>
              </a:cxn>
              <a:cxn ang="0">
                <a:pos x="989" y="2185"/>
              </a:cxn>
              <a:cxn ang="0">
                <a:pos x="887" y="2408"/>
              </a:cxn>
              <a:cxn ang="0">
                <a:pos x="690" y="2467"/>
              </a:cxn>
              <a:cxn ang="0">
                <a:pos x="474" y="2544"/>
              </a:cxn>
              <a:cxn ang="0">
                <a:pos x="445" y="2672"/>
              </a:cxn>
              <a:cxn ang="0">
                <a:pos x="407" y="2856"/>
              </a:cxn>
              <a:cxn ang="0">
                <a:pos x="336" y="2929"/>
              </a:cxn>
              <a:cxn ang="0">
                <a:pos x="277" y="2916"/>
              </a:cxn>
            </a:cxnLst>
            <a:rect l="0" t="0" r="r" b="b"/>
            <a:pathLst>
              <a:path w="1092" h="2929">
                <a:moveTo>
                  <a:pt x="277" y="2916"/>
                </a:moveTo>
                <a:cubicBezTo>
                  <a:pt x="263" y="2907"/>
                  <a:pt x="274" y="2872"/>
                  <a:pt x="320" y="2784"/>
                </a:cubicBezTo>
                <a:cubicBezTo>
                  <a:pt x="356" y="2718"/>
                  <a:pt x="384" y="2656"/>
                  <a:pt x="384" y="2644"/>
                </a:cubicBezTo>
                <a:cubicBezTo>
                  <a:pt x="384" y="2633"/>
                  <a:pt x="338" y="2550"/>
                  <a:pt x="280" y="2459"/>
                </a:cubicBezTo>
                <a:cubicBezTo>
                  <a:pt x="208" y="2342"/>
                  <a:pt x="151" y="2273"/>
                  <a:pt x="88" y="2224"/>
                </a:cubicBezTo>
                <a:cubicBezTo>
                  <a:pt x="40" y="2185"/>
                  <a:pt x="0" y="2142"/>
                  <a:pt x="0" y="2128"/>
                </a:cubicBezTo>
                <a:cubicBezTo>
                  <a:pt x="0" y="2096"/>
                  <a:pt x="48" y="1950"/>
                  <a:pt x="68" y="1926"/>
                </a:cubicBezTo>
                <a:cubicBezTo>
                  <a:pt x="76" y="1916"/>
                  <a:pt x="130" y="1900"/>
                  <a:pt x="189" y="1889"/>
                </a:cubicBezTo>
                <a:cubicBezTo>
                  <a:pt x="317" y="1868"/>
                  <a:pt x="384" y="1844"/>
                  <a:pt x="384" y="1819"/>
                </a:cubicBezTo>
                <a:cubicBezTo>
                  <a:pt x="384" y="1809"/>
                  <a:pt x="375" y="1772"/>
                  <a:pt x="362" y="1737"/>
                </a:cubicBezTo>
                <a:cubicBezTo>
                  <a:pt x="349" y="1702"/>
                  <a:pt x="335" y="1596"/>
                  <a:pt x="328" y="1505"/>
                </a:cubicBezTo>
                <a:cubicBezTo>
                  <a:pt x="320" y="1379"/>
                  <a:pt x="308" y="1315"/>
                  <a:pt x="279" y="1251"/>
                </a:cubicBezTo>
                <a:cubicBezTo>
                  <a:pt x="239" y="1161"/>
                  <a:pt x="231" y="1121"/>
                  <a:pt x="253" y="1121"/>
                </a:cubicBezTo>
                <a:cubicBezTo>
                  <a:pt x="261" y="1121"/>
                  <a:pt x="279" y="1112"/>
                  <a:pt x="295" y="1099"/>
                </a:cubicBezTo>
                <a:cubicBezTo>
                  <a:pt x="324" y="1080"/>
                  <a:pt x="324" y="1075"/>
                  <a:pt x="298" y="1038"/>
                </a:cubicBezTo>
                <a:cubicBezTo>
                  <a:pt x="274" y="1000"/>
                  <a:pt x="274" y="995"/>
                  <a:pt x="314" y="923"/>
                </a:cubicBezTo>
                <a:lnTo>
                  <a:pt x="356" y="849"/>
                </a:lnTo>
                <a:lnTo>
                  <a:pt x="602" y="849"/>
                </a:lnTo>
                <a:lnTo>
                  <a:pt x="690" y="771"/>
                </a:lnTo>
                <a:lnTo>
                  <a:pt x="776" y="692"/>
                </a:lnTo>
                <a:lnTo>
                  <a:pt x="733" y="603"/>
                </a:lnTo>
                <a:lnTo>
                  <a:pt x="690" y="515"/>
                </a:lnTo>
                <a:lnTo>
                  <a:pt x="749" y="510"/>
                </a:lnTo>
                <a:cubicBezTo>
                  <a:pt x="796" y="505"/>
                  <a:pt x="810" y="497"/>
                  <a:pt x="818" y="465"/>
                </a:cubicBezTo>
                <a:cubicBezTo>
                  <a:pt x="836" y="403"/>
                  <a:pt x="834" y="244"/>
                  <a:pt x="816" y="233"/>
                </a:cubicBezTo>
                <a:cubicBezTo>
                  <a:pt x="808" y="227"/>
                  <a:pt x="775" y="230"/>
                  <a:pt x="743" y="240"/>
                </a:cubicBezTo>
                <a:cubicBezTo>
                  <a:pt x="698" y="252"/>
                  <a:pt x="674" y="249"/>
                  <a:pt x="639" y="232"/>
                </a:cubicBezTo>
                <a:cubicBezTo>
                  <a:pt x="613" y="219"/>
                  <a:pt x="592" y="203"/>
                  <a:pt x="592" y="195"/>
                </a:cubicBezTo>
                <a:cubicBezTo>
                  <a:pt x="592" y="188"/>
                  <a:pt x="621" y="140"/>
                  <a:pt x="658" y="91"/>
                </a:cubicBezTo>
                <a:lnTo>
                  <a:pt x="724" y="0"/>
                </a:lnTo>
                <a:lnTo>
                  <a:pt x="797" y="52"/>
                </a:lnTo>
                <a:cubicBezTo>
                  <a:pt x="850" y="91"/>
                  <a:pt x="874" y="120"/>
                  <a:pt x="877" y="150"/>
                </a:cubicBezTo>
                <a:cubicBezTo>
                  <a:pt x="882" y="182"/>
                  <a:pt x="896" y="200"/>
                  <a:pt x="935" y="216"/>
                </a:cubicBezTo>
                <a:cubicBezTo>
                  <a:pt x="978" y="233"/>
                  <a:pt x="989" y="248"/>
                  <a:pt x="997" y="299"/>
                </a:cubicBezTo>
                <a:cubicBezTo>
                  <a:pt x="1004" y="332"/>
                  <a:pt x="1023" y="422"/>
                  <a:pt x="1040" y="497"/>
                </a:cubicBezTo>
                <a:cubicBezTo>
                  <a:pt x="1072" y="620"/>
                  <a:pt x="1076" y="691"/>
                  <a:pt x="1084" y="1297"/>
                </a:cubicBezTo>
                <a:lnTo>
                  <a:pt x="1092" y="1961"/>
                </a:lnTo>
                <a:lnTo>
                  <a:pt x="989" y="2185"/>
                </a:lnTo>
                <a:lnTo>
                  <a:pt x="887" y="2408"/>
                </a:lnTo>
                <a:lnTo>
                  <a:pt x="690" y="2467"/>
                </a:lnTo>
                <a:cubicBezTo>
                  <a:pt x="583" y="2500"/>
                  <a:pt x="485" y="2534"/>
                  <a:pt x="474" y="2544"/>
                </a:cubicBezTo>
                <a:cubicBezTo>
                  <a:pt x="461" y="2553"/>
                  <a:pt x="450" y="2609"/>
                  <a:pt x="445" y="2672"/>
                </a:cubicBezTo>
                <a:cubicBezTo>
                  <a:pt x="440" y="2732"/>
                  <a:pt x="423" y="2814"/>
                  <a:pt x="407" y="2856"/>
                </a:cubicBezTo>
                <a:cubicBezTo>
                  <a:pt x="383" y="2915"/>
                  <a:pt x="368" y="2929"/>
                  <a:pt x="336" y="2929"/>
                </a:cubicBezTo>
                <a:cubicBezTo>
                  <a:pt x="314" y="2928"/>
                  <a:pt x="288" y="2923"/>
                  <a:pt x="277" y="2916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4" name="Псковская область"/>
          <p:cNvSpPr>
            <a:spLocks/>
          </p:cNvSpPr>
          <p:nvPr/>
        </p:nvSpPr>
        <p:spPr bwMode="auto">
          <a:xfrm>
            <a:off x="1341790" y="2518655"/>
            <a:ext cx="233280" cy="335029"/>
          </a:xfrm>
          <a:custGeom>
            <a:avLst/>
            <a:gdLst/>
            <a:ahLst/>
            <a:cxnLst>
              <a:cxn ang="0">
                <a:pos x="193" y="1171"/>
              </a:cxn>
              <a:cxn ang="0">
                <a:pos x="9" y="677"/>
              </a:cxn>
              <a:cxn ang="0">
                <a:pos x="251" y="267"/>
              </a:cxn>
              <a:cxn ang="0">
                <a:pos x="324" y="240"/>
              </a:cxn>
              <a:cxn ang="0">
                <a:pos x="492" y="114"/>
              </a:cxn>
              <a:cxn ang="0">
                <a:pos x="670" y="0"/>
              </a:cxn>
              <a:cxn ang="0">
                <a:pos x="776" y="283"/>
              </a:cxn>
              <a:cxn ang="0">
                <a:pos x="787" y="400"/>
              </a:cxn>
              <a:cxn ang="0">
                <a:pos x="747" y="400"/>
              </a:cxn>
              <a:cxn ang="0">
                <a:pos x="675" y="515"/>
              </a:cxn>
              <a:cxn ang="0">
                <a:pos x="694" y="616"/>
              </a:cxn>
              <a:cxn ang="0">
                <a:pos x="630" y="728"/>
              </a:cxn>
              <a:cxn ang="0">
                <a:pos x="400" y="1063"/>
              </a:cxn>
              <a:cxn ang="0">
                <a:pos x="382" y="1163"/>
              </a:cxn>
              <a:cxn ang="0">
                <a:pos x="252" y="1232"/>
              </a:cxn>
              <a:cxn ang="0">
                <a:pos x="193" y="1171"/>
              </a:cxn>
            </a:cxnLst>
            <a:rect l="0" t="0" r="r" b="b"/>
            <a:pathLst>
              <a:path w="787" h="1232">
                <a:moveTo>
                  <a:pt x="193" y="1171"/>
                </a:moveTo>
                <a:cubicBezTo>
                  <a:pt x="123" y="1034"/>
                  <a:pt x="0" y="704"/>
                  <a:pt x="9" y="677"/>
                </a:cubicBezTo>
                <a:cubicBezTo>
                  <a:pt x="24" y="635"/>
                  <a:pt x="222" y="301"/>
                  <a:pt x="251" y="267"/>
                </a:cubicBezTo>
                <a:cubicBezTo>
                  <a:pt x="264" y="253"/>
                  <a:pt x="297" y="240"/>
                  <a:pt x="324" y="240"/>
                </a:cubicBezTo>
                <a:cubicBezTo>
                  <a:pt x="392" y="240"/>
                  <a:pt x="432" y="210"/>
                  <a:pt x="492" y="114"/>
                </a:cubicBezTo>
                <a:cubicBezTo>
                  <a:pt x="542" y="37"/>
                  <a:pt x="601" y="0"/>
                  <a:pt x="670" y="0"/>
                </a:cubicBezTo>
                <a:cubicBezTo>
                  <a:pt x="708" y="0"/>
                  <a:pt x="763" y="146"/>
                  <a:pt x="776" y="283"/>
                </a:cubicBezTo>
                <a:lnTo>
                  <a:pt x="787" y="400"/>
                </a:lnTo>
                <a:lnTo>
                  <a:pt x="747" y="400"/>
                </a:lnTo>
                <a:cubicBezTo>
                  <a:pt x="688" y="400"/>
                  <a:pt x="665" y="437"/>
                  <a:pt x="675" y="515"/>
                </a:cubicBezTo>
                <a:cubicBezTo>
                  <a:pt x="680" y="554"/>
                  <a:pt x="688" y="599"/>
                  <a:pt x="694" y="616"/>
                </a:cubicBezTo>
                <a:cubicBezTo>
                  <a:pt x="700" y="639"/>
                  <a:pt x="683" y="669"/>
                  <a:pt x="630" y="728"/>
                </a:cubicBezTo>
                <a:cubicBezTo>
                  <a:pt x="435" y="939"/>
                  <a:pt x="417" y="965"/>
                  <a:pt x="400" y="1063"/>
                </a:cubicBezTo>
                <a:cubicBezTo>
                  <a:pt x="390" y="1115"/>
                  <a:pt x="382" y="1160"/>
                  <a:pt x="382" y="1163"/>
                </a:cubicBezTo>
                <a:cubicBezTo>
                  <a:pt x="382" y="1176"/>
                  <a:pt x="276" y="1232"/>
                  <a:pt x="252" y="1232"/>
                </a:cubicBezTo>
                <a:cubicBezTo>
                  <a:pt x="238" y="1232"/>
                  <a:pt x="211" y="1205"/>
                  <a:pt x="193" y="1171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5" name="Республика Адыгея"/>
          <p:cNvSpPr>
            <a:spLocks/>
          </p:cNvSpPr>
          <p:nvPr/>
        </p:nvSpPr>
        <p:spPr bwMode="auto">
          <a:xfrm>
            <a:off x="935463" y="3958844"/>
            <a:ext cx="103186" cy="160988"/>
          </a:xfrm>
          <a:custGeom>
            <a:avLst/>
            <a:gdLst>
              <a:gd name="T0" fmla="*/ 30 w 21"/>
              <a:gd name="T1" fmla="*/ 556 h 37"/>
              <a:gd name="T2" fmla="*/ 3 w 21"/>
              <a:gd name="T3" fmla="*/ 500 h 37"/>
              <a:gd name="T4" fmla="*/ 35 w 21"/>
              <a:gd name="T5" fmla="*/ 489 h 37"/>
              <a:gd name="T6" fmla="*/ 96 w 21"/>
              <a:gd name="T7" fmla="*/ 473 h 37"/>
              <a:gd name="T8" fmla="*/ 101 w 21"/>
              <a:gd name="T9" fmla="*/ 425 h 37"/>
              <a:gd name="T10" fmla="*/ 142 w 21"/>
              <a:gd name="T11" fmla="*/ 321 h 37"/>
              <a:gd name="T12" fmla="*/ 232 w 21"/>
              <a:gd name="T13" fmla="*/ 200 h 37"/>
              <a:gd name="T14" fmla="*/ 168 w 21"/>
              <a:gd name="T15" fmla="*/ 185 h 37"/>
              <a:gd name="T16" fmla="*/ 22 w 21"/>
              <a:gd name="T17" fmla="*/ 60 h 37"/>
              <a:gd name="T18" fmla="*/ 80 w 21"/>
              <a:gd name="T19" fmla="*/ 46 h 37"/>
              <a:gd name="T20" fmla="*/ 194 w 21"/>
              <a:gd name="T21" fmla="*/ 89 h 37"/>
              <a:gd name="T22" fmla="*/ 282 w 21"/>
              <a:gd name="T23" fmla="*/ 145 h 37"/>
              <a:gd name="T24" fmla="*/ 307 w 21"/>
              <a:gd name="T25" fmla="*/ 435 h 37"/>
              <a:gd name="T26" fmla="*/ 272 w 21"/>
              <a:gd name="T27" fmla="*/ 412 h 37"/>
              <a:gd name="T28" fmla="*/ 234 w 21"/>
              <a:gd name="T29" fmla="*/ 361 h 37"/>
              <a:gd name="T30" fmla="*/ 144 w 21"/>
              <a:gd name="T31" fmla="*/ 481 h 37"/>
              <a:gd name="T32" fmla="*/ 62 w 21"/>
              <a:gd name="T33" fmla="*/ 601 h 37"/>
              <a:gd name="T34" fmla="*/ 30 w 21"/>
              <a:gd name="T35" fmla="*/ 556 h 3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1"/>
              <a:gd name="T55" fmla="*/ 0 h 37"/>
              <a:gd name="T56" fmla="*/ 330 w 21"/>
              <a:gd name="T57" fmla="*/ 601 h 3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1" h="37">
                <a:moveTo>
                  <a:pt x="2" y="34"/>
                </a:moveTo>
                <a:cubicBezTo>
                  <a:pt x="1" y="33"/>
                  <a:pt x="0" y="31"/>
                  <a:pt x="0" y="31"/>
                </a:cubicBezTo>
                <a:cubicBezTo>
                  <a:pt x="0" y="30"/>
                  <a:pt x="1" y="30"/>
                  <a:pt x="2" y="30"/>
                </a:cubicBezTo>
                <a:cubicBezTo>
                  <a:pt x="4" y="30"/>
                  <a:pt x="5" y="30"/>
                  <a:pt x="6" y="29"/>
                </a:cubicBezTo>
                <a:cubicBezTo>
                  <a:pt x="7" y="28"/>
                  <a:pt x="7" y="28"/>
                  <a:pt x="6" y="26"/>
                </a:cubicBezTo>
                <a:cubicBezTo>
                  <a:pt x="4" y="23"/>
                  <a:pt x="5" y="22"/>
                  <a:pt x="9" y="20"/>
                </a:cubicBezTo>
                <a:cubicBezTo>
                  <a:pt x="13" y="18"/>
                  <a:pt x="16" y="14"/>
                  <a:pt x="15" y="12"/>
                </a:cubicBezTo>
                <a:cubicBezTo>
                  <a:pt x="14" y="12"/>
                  <a:pt x="13" y="11"/>
                  <a:pt x="11" y="11"/>
                </a:cubicBezTo>
                <a:cubicBezTo>
                  <a:pt x="7" y="11"/>
                  <a:pt x="2" y="8"/>
                  <a:pt x="1" y="4"/>
                </a:cubicBezTo>
                <a:cubicBezTo>
                  <a:pt x="1" y="0"/>
                  <a:pt x="2" y="0"/>
                  <a:pt x="5" y="3"/>
                </a:cubicBezTo>
                <a:cubicBezTo>
                  <a:pt x="7" y="5"/>
                  <a:pt x="9" y="5"/>
                  <a:pt x="12" y="5"/>
                </a:cubicBezTo>
                <a:cubicBezTo>
                  <a:pt x="16" y="5"/>
                  <a:pt x="16" y="6"/>
                  <a:pt x="18" y="9"/>
                </a:cubicBezTo>
                <a:cubicBezTo>
                  <a:pt x="20" y="14"/>
                  <a:pt x="21" y="24"/>
                  <a:pt x="20" y="27"/>
                </a:cubicBezTo>
                <a:cubicBezTo>
                  <a:pt x="19" y="28"/>
                  <a:pt x="18" y="28"/>
                  <a:pt x="17" y="25"/>
                </a:cubicBezTo>
                <a:cubicBezTo>
                  <a:pt x="17" y="24"/>
                  <a:pt x="16" y="22"/>
                  <a:pt x="15" y="22"/>
                </a:cubicBezTo>
                <a:cubicBezTo>
                  <a:pt x="14" y="22"/>
                  <a:pt x="12" y="25"/>
                  <a:pt x="9" y="30"/>
                </a:cubicBezTo>
                <a:cubicBezTo>
                  <a:pt x="7" y="34"/>
                  <a:pt x="4" y="37"/>
                  <a:pt x="4" y="37"/>
                </a:cubicBezTo>
                <a:cubicBezTo>
                  <a:pt x="4" y="37"/>
                  <a:pt x="3" y="36"/>
                  <a:pt x="2" y="34"/>
                </a:cubicBezTo>
                <a:cubicBezTo>
                  <a:pt x="2" y="34"/>
                  <a:pt x="2" y="34"/>
                  <a:pt x="2" y="34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sp>
      <p:sp>
        <p:nvSpPr>
          <p:cNvPr id="176" name="Республика Алтай"/>
          <p:cNvSpPr>
            <a:spLocks/>
          </p:cNvSpPr>
          <p:nvPr/>
        </p:nvSpPr>
        <p:spPr bwMode="auto">
          <a:xfrm>
            <a:off x="4227169" y="4480967"/>
            <a:ext cx="379314" cy="330678"/>
          </a:xfrm>
          <a:custGeom>
            <a:avLst/>
            <a:gdLst/>
            <a:ahLst/>
            <a:cxnLst>
              <a:cxn ang="0">
                <a:pos x="760" y="1204"/>
              </a:cxn>
              <a:cxn ang="0">
                <a:pos x="660" y="1124"/>
              </a:cxn>
              <a:cxn ang="0">
                <a:pos x="604" y="1024"/>
              </a:cxn>
              <a:cxn ang="0">
                <a:pos x="508" y="1001"/>
              </a:cxn>
              <a:cxn ang="0">
                <a:pos x="260" y="1011"/>
              </a:cxn>
              <a:cxn ang="0">
                <a:pos x="14" y="684"/>
              </a:cxn>
              <a:cxn ang="0">
                <a:pos x="60" y="673"/>
              </a:cxn>
              <a:cxn ang="0">
                <a:pos x="120" y="608"/>
              </a:cxn>
              <a:cxn ang="0">
                <a:pos x="115" y="528"/>
              </a:cxn>
              <a:cxn ang="0">
                <a:pos x="169" y="428"/>
              </a:cxn>
              <a:cxn ang="0">
                <a:pos x="371" y="289"/>
              </a:cxn>
              <a:cxn ang="0">
                <a:pos x="552" y="208"/>
              </a:cxn>
              <a:cxn ang="0">
                <a:pos x="652" y="121"/>
              </a:cxn>
              <a:cxn ang="0">
                <a:pos x="819" y="32"/>
              </a:cxn>
              <a:cxn ang="0">
                <a:pos x="961" y="72"/>
              </a:cxn>
              <a:cxn ang="0">
                <a:pos x="913" y="177"/>
              </a:cxn>
              <a:cxn ang="0">
                <a:pos x="872" y="328"/>
              </a:cxn>
              <a:cxn ang="0">
                <a:pos x="876" y="440"/>
              </a:cxn>
              <a:cxn ang="0">
                <a:pos x="947" y="460"/>
              </a:cxn>
              <a:cxn ang="0">
                <a:pos x="1052" y="457"/>
              </a:cxn>
              <a:cxn ang="0">
                <a:pos x="1137" y="542"/>
              </a:cxn>
              <a:cxn ang="0">
                <a:pos x="1222" y="708"/>
              </a:cxn>
              <a:cxn ang="0">
                <a:pos x="1259" y="769"/>
              </a:cxn>
              <a:cxn ang="0">
                <a:pos x="1214" y="816"/>
              </a:cxn>
              <a:cxn ang="0">
                <a:pos x="1168" y="864"/>
              </a:cxn>
              <a:cxn ang="0">
                <a:pos x="1217" y="920"/>
              </a:cxn>
              <a:cxn ang="0">
                <a:pos x="1232" y="1028"/>
              </a:cxn>
              <a:cxn ang="0">
                <a:pos x="1078" y="1067"/>
              </a:cxn>
              <a:cxn ang="0">
                <a:pos x="896" y="1156"/>
              </a:cxn>
              <a:cxn ang="0">
                <a:pos x="830" y="1214"/>
              </a:cxn>
              <a:cxn ang="0">
                <a:pos x="760" y="1204"/>
              </a:cxn>
            </a:cxnLst>
            <a:rect l="0" t="0" r="r" b="b"/>
            <a:pathLst>
              <a:path w="1270" h="1216">
                <a:moveTo>
                  <a:pt x="760" y="1204"/>
                </a:moveTo>
                <a:cubicBezTo>
                  <a:pt x="716" y="1200"/>
                  <a:pt x="697" y="1184"/>
                  <a:pt x="660" y="1124"/>
                </a:cubicBezTo>
                <a:cubicBezTo>
                  <a:pt x="633" y="1084"/>
                  <a:pt x="609" y="1038"/>
                  <a:pt x="604" y="1024"/>
                </a:cubicBezTo>
                <a:cubicBezTo>
                  <a:pt x="592" y="984"/>
                  <a:pt x="558" y="976"/>
                  <a:pt x="508" y="1001"/>
                </a:cubicBezTo>
                <a:cubicBezTo>
                  <a:pt x="464" y="1025"/>
                  <a:pt x="331" y="1030"/>
                  <a:pt x="260" y="1011"/>
                </a:cubicBezTo>
                <a:cubicBezTo>
                  <a:pt x="219" y="1000"/>
                  <a:pt x="0" y="708"/>
                  <a:pt x="14" y="684"/>
                </a:cubicBezTo>
                <a:cubicBezTo>
                  <a:pt x="19" y="678"/>
                  <a:pt x="40" y="673"/>
                  <a:pt x="60" y="673"/>
                </a:cubicBezTo>
                <a:cubicBezTo>
                  <a:pt x="92" y="673"/>
                  <a:pt x="104" y="660"/>
                  <a:pt x="120" y="608"/>
                </a:cubicBezTo>
                <a:cubicBezTo>
                  <a:pt x="136" y="552"/>
                  <a:pt x="136" y="539"/>
                  <a:pt x="115" y="528"/>
                </a:cubicBezTo>
                <a:cubicBezTo>
                  <a:pt x="27" y="476"/>
                  <a:pt x="28" y="475"/>
                  <a:pt x="169" y="428"/>
                </a:cubicBezTo>
                <a:cubicBezTo>
                  <a:pt x="300" y="385"/>
                  <a:pt x="307" y="380"/>
                  <a:pt x="371" y="289"/>
                </a:cubicBezTo>
                <a:cubicBezTo>
                  <a:pt x="441" y="188"/>
                  <a:pt x="452" y="184"/>
                  <a:pt x="552" y="208"/>
                </a:cubicBezTo>
                <a:cubicBezTo>
                  <a:pt x="622" y="224"/>
                  <a:pt x="635" y="212"/>
                  <a:pt x="652" y="121"/>
                </a:cubicBezTo>
                <a:cubicBezTo>
                  <a:pt x="673" y="1"/>
                  <a:pt x="675" y="0"/>
                  <a:pt x="819" y="32"/>
                </a:cubicBezTo>
                <a:cubicBezTo>
                  <a:pt x="888" y="48"/>
                  <a:pt x="952" y="65"/>
                  <a:pt x="961" y="72"/>
                </a:cubicBezTo>
                <a:cubicBezTo>
                  <a:pt x="987" y="86"/>
                  <a:pt x="966" y="131"/>
                  <a:pt x="913" y="177"/>
                </a:cubicBezTo>
                <a:cubicBezTo>
                  <a:pt x="868" y="214"/>
                  <a:pt x="867" y="222"/>
                  <a:pt x="872" y="328"/>
                </a:cubicBezTo>
                <a:lnTo>
                  <a:pt x="876" y="440"/>
                </a:lnTo>
                <a:lnTo>
                  <a:pt x="947" y="460"/>
                </a:lnTo>
                <a:cubicBezTo>
                  <a:pt x="1008" y="476"/>
                  <a:pt x="1024" y="476"/>
                  <a:pt x="1052" y="457"/>
                </a:cubicBezTo>
                <a:cubicBezTo>
                  <a:pt x="1086" y="436"/>
                  <a:pt x="1089" y="440"/>
                  <a:pt x="1137" y="542"/>
                </a:cubicBezTo>
                <a:cubicBezTo>
                  <a:pt x="1164" y="601"/>
                  <a:pt x="1203" y="676"/>
                  <a:pt x="1222" y="708"/>
                </a:cubicBezTo>
                <a:lnTo>
                  <a:pt x="1259" y="769"/>
                </a:lnTo>
                <a:lnTo>
                  <a:pt x="1214" y="816"/>
                </a:lnTo>
                <a:lnTo>
                  <a:pt x="1168" y="864"/>
                </a:lnTo>
                <a:lnTo>
                  <a:pt x="1217" y="920"/>
                </a:lnTo>
                <a:cubicBezTo>
                  <a:pt x="1265" y="974"/>
                  <a:pt x="1270" y="1016"/>
                  <a:pt x="1232" y="1028"/>
                </a:cubicBezTo>
                <a:cubicBezTo>
                  <a:pt x="1220" y="1033"/>
                  <a:pt x="1152" y="1049"/>
                  <a:pt x="1078" y="1067"/>
                </a:cubicBezTo>
                <a:cubicBezTo>
                  <a:pt x="960" y="1094"/>
                  <a:pt x="939" y="1104"/>
                  <a:pt x="896" y="1156"/>
                </a:cubicBezTo>
                <a:cubicBezTo>
                  <a:pt x="868" y="1190"/>
                  <a:pt x="840" y="1216"/>
                  <a:pt x="830" y="1214"/>
                </a:cubicBezTo>
                <a:cubicBezTo>
                  <a:pt x="820" y="1212"/>
                  <a:pt x="788" y="1209"/>
                  <a:pt x="760" y="1204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7" name="Республика Башкортостан"/>
          <p:cNvSpPr>
            <a:spLocks/>
          </p:cNvSpPr>
          <p:nvPr/>
        </p:nvSpPr>
        <p:spPr bwMode="auto">
          <a:xfrm>
            <a:off x="2384517" y="3615113"/>
            <a:ext cx="422161" cy="504718"/>
          </a:xfrm>
          <a:custGeom>
            <a:avLst/>
            <a:gdLst/>
            <a:ahLst/>
            <a:cxnLst>
              <a:cxn ang="0">
                <a:pos x="507" y="1803"/>
              </a:cxn>
              <a:cxn ang="0">
                <a:pos x="406" y="1771"/>
              </a:cxn>
              <a:cxn ang="0">
                <a:pos x="237" y="1781"/>
              </a:cxn>
              <a:cxn ang="0">
                <a:pos x="245" y="1717"/>
              </a:cxn>
              <a:cxn ang="0">
                <a:pos x="246" y="1627"/>
              </a:cxn>
              <a:cxn ang="0">
                <a:pos x="259" y="1505"/>
              </a:cxn>
              <a:cxn ang="0">
                <a:pos x="210" y="1374"/>
              </a:cxn>
              <a:cxn ang="0">
                <a:pos x="131" y="1374"/>
              </a:cxn>
              <a:cxn ang="0">
                <a:pos x="139" y="1289"/>
              </a:cxn>
              <a:cxn ang="0">
                <a:pos x="74" y="1032"/>
              </a:cxn>
              <a:cxn ang="0">
                <a:pos x="0" y="765"/>
              </a:cxn>
              <a:cxn ang="0">
                <a:pos x="75" y="557"/>
              </a:cxn>
              <a:cxn ang="0">
                <a:pos x="160" y="369"/>
              </a:cxn>
              <a:cxn ang="0">
                <a:pos x="168" y="294"/>
              </a:cxn>
              <a:cxn ang="0">
                <a:pos x="288" y="257"/>
              </a:cxn>
              <a:cxn ang="0">
                <a:pos x="418" y="152"/>
              </a:cxn>
              <a:cxn ang="0">
                <a:pos x="507" y="37"/>
              </a:cxn>
              <a:cxn ang="0">
                <a:pos x="606" y="0"/>
              </a:cxn>
              <a:cxn ang="0">
                <a:pos x="646" y="53"/>
              </a:cxn>
              <a:cxn ang="0">
                <a:pos x="766" y="117"/>
              </a:cxn>
              <a:cxn ang="0">
                <a:pos x="944" y="275"/>
              </a:cxn>
              <a:cxn ang="0">
                <a:pos x="1008" y="336"/>
              </a:cxn>
              <a:cxn ang="0">
                <a:pos x="1080" y="381"/>
              </a:cxn>
              <a:cxn ang="0">
                <a:pos x="1360" y="521"/>
              </a:cxn>
              <a:cxn ang="0">
                <a:pos x="1362" y="646"/>
              </a:cxn>
              <a:cxn ang="0">
                <a:pos x="1333" y="726"/>
              </a:cxn>
              <a:cxn ang="0">
                <a:pos x="1242" y="731"/>
              </a:cxn>
              <a:cxn ang="0">
                <a:pos x="1016" y="638"/>
              </a:cxn>
              <a:cxn ang="0">
                <a:pos x="965" y="606"/>
              </a:cxn>
              <a:cxn ang="0">
                <a:pos x="768" y="750"/>
              </a:cxn>
              <a:cxn ang="0">
                <a:pos x="878" y="981"/>
              </a:cxn>
              <a:cxn ang="0">
                <a:pos x="1203" y="1035"/>
              </a:cxn>
              <a:cxn ang="0">
                <a:pos x="1290" y="1041"/>
              </a:cxn>
              <a:cxn ang="0">
                <a:pos x="1258" y="1125"/>
              </a:cxn>
              <a:cxn ang="0">
                <a:pos x="1168" y="1179"/>
              </a:cxn>
              <a:cxn ang="0">
                <a:pos x="1083" y="1171"/>
              </a:cxn>
              <a:cxn ang="0">
                <a:pos x="880" y="1358"/>
              </a:cxn>
              <a:cxn ang="0">
                <a:pos x="806" y="1550"/>
              </a:cxn>
              <a:cxn ang="0">
                <a:pos x="699" y="1729"/>
              </a:cxn>
              <a:cxn ang="0">
                <a:pos x="632" y="1793"/>
              </a:cxn>
              <a:cxn ang="0">
                <a:pos x="584" y="1853"/>
              </a:cxn>
              <a:cxn ang="0">
                <a:pos x="507" y="1803"/>
              </a:cxn>
            </a:cxnLst>
            <a:rect l="0" t="0" r="r" b="b"/>
            <a:pathLst>
              <a:path w="1400" h="1854">
                <a:moveTo>
                  <a:pt x="507" y="1803"/>
                </a:moveTo>
                <a:cubicBezTo>
                  <a:pt x="454" y="1760"/>
                  <a:pt x="442" y="1755"/>
                  <a:pt x="406" y="1771"/>
                </a:cubicBezTo>
                <a:cubicBezTo>
                  <a:pt x="365" y="1790"/>
                  <a:pt x="253" y="1797"/>
                  <a:pt x="237" y="1781"/>
                </a:cubicBezTo>
                <a:cubicBezTo>
                  <a:pt x="232" y="1776"/>
                  <a:pt x="235" y="1747"/>
                  <a:pt x="245" y="1717"/>
                </a:cubicBezTo>
                <a:cubicBezTo>
                  <a:pt x="256" y="1681"/>
                  <a:pt x="256" y="1651"/>
                  <a:pt x="246" y="1627"/>
                </a:cubicBezTo>
                <a:cubicBezTo>
                  <a:pt x="235" y="1601"/>
                  <a:pt x="238" y="1568"/>
                  <a:pt x="259" y="1505"/>
                </a:cubicBezTo>
                <a:cubicBezTo>
                  <a:pt x="301" y="1377"/>
                  <a:pt x="301" y="1374"/>
                  <a:pt x="210" y="1374"/>
                </a:cubicBezTo>
                <a:lnTo>
                  <a:pt x="131" y="1374"/>
                </a:lnTo>
                <a:lnTo>
                  <a:pt x="139" y="1289"/>
                </a:lnTo>
                <a:cubicBezTo>
                  <a:pt x="147" y="1214"/>
                  <a:pt x="139" y="1185"/>
                  <a:pt x="74" y="1032"/>
                </a:cubicBezTo>
                <a:cubicBezTo>
                  <a:pt x="14" y="891"/>
                  <a:pt x="0" y="841"/>
                  <a:pt x="0" y="765"/>
                </a:cubicBezTo>
                <a:cubicBezTo>
                  <a:pt x="0" y="678"/>
                  <a:pt x="6" y="659"/>
                  <a:pt x="75" y="557"/>
                </a:cubicBezTo>
                <a:cubicBezTo>
                  <a:pt x="128" y="477"/>
                  <a:pt x="154" y="421"/>
                  <a:pt x="160" y="369"/>
                </a:cubicBezTo>
                <a:lnTo>
                  <a:pt x="168" y="294"/>
                </a:lnTo>
                <a:lnTo>
                  <a:pt x="288" y="257"/>
                </a:lnTo>
                <a:cubicBezTo>
                  <a:pt x="432" y="213"/>
                  <a:pt x="445" y="203"/>
                  <a:pt x="418" y="152"/>
                </a:cubicBezTo>
                <a:cubicBezTo>
                  <a:pt x="386" y="94"/>
                  <a:pt x="400" y="78"/>
                  <a:pt x="507" y="37"/>
                </a:cubicBezTo>
                <a:lnTo>
                  <a:pt x="606" y="0"/>
                </a:lnTo>
                <a:lnTo>
                  <a:pt x="646" y="53"/>
                </a:lnTo>
                <a:cubicBezTo>
                  <a:pt x="678" y="96"/>
                  <a:pt x="701" y="107"/>
                  <a:pt x="766" y="117"/>
                </a:cubicBezTo>
                <a:cubicBezTo>
                  <a:pt x="851" y="128"/>
                  <a:pt x="886" y="160"/>
                  <a:pt x="944" y="275"/>
                </a:cubicBezTo>
                <a:cubicBezTo>
                  <a:pt x="957" y="301"/>
                  <a:pt x="986" y="328"/>
                  <a:pt x="1008" y="336"/>
                </a:cubicBezTo>
                <a:cubicBezTo>
                  <a:pt x="1030" y="345"/>
                  <a:pt x="1062" y="365"/>
                  <a:pt x="1080" y="381"/>
                </a:cubicBezTo>
                <a:cubicBezTo>
                  <a:pt x="1141" y="435"/>
                  <a:pt x="1328" y="529"/>
                  <a:pt x="1360" y="521"/>
                </a:cubicBezTo>
                <a:cubicBezTo>
                  <a:pt x="1400" y="510"/>
                  <a:pt x="1400" y="536"/>
                  <a:pt x="1362" y="646"/>
                </a:cubicBezTo>
                <a:lnTo>
                  <a:pt x="1333" y="726"/>
                </a:lnTo>
                <a:lnTo>
                  <a:pt x="1242" y="731"/>
                </a:lnTo>
                <a:cubicBezTo>
                  <a:pt x="1146" y="736"/>
                  <a:pt x="1080" y="709"/>
                  <a:pt x="1016" y="638"/>
                </a:cubicBezTo>
                <a:cubicBezTo>
                  <a:pt x="1000" y="621"/>
                  <a:pt x="978" y="606"/>
                  <a:pt x="965" y="606"/>
                </a:cubicBezTo>
                <a:cubicBezTo>
                  <a:pt x="925" y="606"/>
                  <a:pt x="768" y="721"/>
                  <a:pt x="768" y="750"/>
                </a:cubicBezTo>
                <a:cubicBezTo>
                  <a:pt x="768" y="800"/>
                  <a:pt x="851" y="973"/>
                  <a:pt x="878" y="981"/>
                </a:cubicBezTo>
                <a:cubicBezTo>
                  <a:pt x="987" y="1013"/>
                  <a:pt x="1141" y="1038"/>
                  <a:pt x="1203" y="1035"/>
                </a:cubicBezTo>
                <a:cubicBezTo>
                  <a:pt x="1245" y="1033"/>
                  <a:pt x="1285" y="1037"/>
                  <a:pt x="1290" y="1041"/>
                </a:cubicBezTo>
                <a:cubicBezTo>
                  <a:pt x="1296" y="1048"/>
                  <a:pt x="1282" y="1085"/>
                  <a:pt x="1258" y="1125"/>
                </a:cubicBezTo>
                <a:cubicBezTo>
                  <a:pt x="1218" y="1193"/>
                  <a:pt x="1214" y="1195"/>
                  <a:pt x="1168" y="1179"/>
                </a:cubicBezTo>
                <a:cubicBezTo>
                  <a:pt x="1141" y="1169"/>
                  <a:pt x="1104" y="1166"/>
                  <a:pt x="1083" y="1171"/>
                </a:cubicBezTo>
                <a:cubicBezTo>
                  <a:pt x="1042" y="1182"/>
                  <a:pt x="880" y="1331"/>
                  <a:pt x="880" y="1358"/>
                </a:cubicBezTo>
                <a:cubicBezTo>
                  <a:pt x="880" y="1369"/>
                  <a:pt x="848" y="1456"/>
                  <a:pt x="806" y="1550"/>
                </a:cubicBezTo>
                <a:cubicBezTo>
                  <a:pt x="749" y="1688"/>
                  <a:pt x="726" y="1725"/>
                  <a:pt x="699" y="1729"/>
                </a:cubicBezTo>
                <a:cubicBezTo>
                  <a:pt x="678" y="1731"/>
                  <a:pt x="651" y="1757"/>
                  <a:pt x="632" y="1793"/>
                </a:cubicBezTo>
                <a:cubicBezTo>
                  <a:pt x="614" y="1827"/>
                  <a:pt x="594" y="1854"/>
                  <a:pt x="584" y="1853"/>
                </a:cubicBezTo>
                <a:cubicBezTo>
                  <a:pt x="576" y="1853"/>
                  <a:pt x="541" y="1830"/>
                  <a:pt x="507" y="1803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8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8" name="Республика Бурятия"/>
          <p:cNvSpPr>
            <a:spLocks/>
          </p:cNvSpPr>
          <p:nvPr/>
        </p:nvSpPr>
        <p:spPr bwMode="auto">
          <a:xfrm>
            <a:off x="5222287" y="3763048"/>
            <a:ext cx="1069741" cy="870204"/>
          </a:xfrm>
          <a:custGeom>
            <a:avLst/>
            <a:gdLst/>
            <a:ahLst/>
            <a:cxnLst>
              <a:cxn ang="0">
                <a:pos x="940" y="3122"/>
              </a:cxn>
              <a:cxn ang="0">
                <a:pos x="833" y="2834"/>
              </a:cxn>
              <a:cxn ang="0">
                <a:pos x="9" y="2539"/>
              </a:cxn>
              <a:cxn ang="0">
                <a:pos x="174" y="2318"/>
              </a:cxn>
              <a:cxn ang="0">
                <a:pos x="516" y="2454"/>
              </a:cxn>
              <a:cxn ang="0">
                <a:pos x="934" y="2614"/>
              </a:cxn>
              <a:cxn ang="0">
                <a:pos x="1076" y="2776"/>
              </a:cxn>
              <a:cxn ang="0">
                <a:pos x="1203" y="2866"/>
              </a:cxn>
              <a:cxn ang="0">
                <a:pos x="1396" y="2704"/>
              </a:cxn>
              <a:cxn ang="0">
                <a:pos x="1619" y="2378"/>
              </a:cxn>
              <a:cxn ang="0">
                <a:pos x="2003" y="1782"/>
              </a:cxn>
              <a:cxn ang="0">
                <a:pos x="1947" y="1206"/>
              </a:cxn>
              <a:cxn ang="0">
                <a:pos x="1849" y="784"/>
              </a:cxn>
              <a:cxn ang="0">
                <a:pos x="1996" y="557"/>
              </a:cxn>
              <a:cxn ang="0">
                <a:pos x="2276" y="408"/>
              </a:cxn>
              <a:cxn ang="0">
                <a:pos x="2467" y="387"/>
              </a:cxn>
              <a:cxn ang="0">
                <a:pos x="2702" y="426"/>
              </a:cxn>
              <a:cxn ang="0">
                <a:pos x="2958" y="206"/>
              </a:cxn>
              <a:cxn ang="0">
                <a:pos x="3092" y="94"/>
              </a:cxn>
              <a:cxn ang="0">
                <a:pos x="3344" y="658"/>
              </a:cxn>
              <a:cxn ang="0">
                <a:pos x="3556" y="826"/>
              </a:cxn>
              <a:cxn ang="0">
                <a:pos x="3235" y="1218"/>
              </a:cxn>
              <a:cxn ang="0">
                <a:pos x="3201" y="1562"/>
              </a:cxn>
              <a:cxn ang="0">
                <a:pos x="2985" y="1946"/>
              </a:cxn>
              <a:cxn ang="0">
                <a:pos x="2788" y="2186"/>
              </a:cxn>
              <a:cxn ang="0">
                <a:pos x="2592" y="2363"/>
              </a:cxn>
              <a:cxn ang="0">
                <a:pos x="2358" y="2451"/>
              </a:cxn>
              <a:cxn ang="0">
                <a:pos x="2230" y="2592"/>
              </a:cxn>
              <a:cxn ang="0">
                <a:pos x="2238" y="2824"/>
              </a:cxn>
              <a:cxn ang="0">
                <a:pos x="2240" y="2891"/>
              </a:cxn>
              <a:cxn ang="0">
                <a:pos x="1984" y="3024"/>
              </a:cxn>
              <a:cxn ang="0">
                <a:pos x="1553" y="3019"/>
              </a:cxn>
              <a:cxn ang="0">
                <a:pos x="1267" y="3194"/>
              </a:cxn>
            </a:cxnLst>
            <a:rect l="0" t="0" r="r" b="b"/>
            <a:pathLst>
              <a:path w="3556" h="3194">
                <a:moveTo>
                  <a:pt x="1084" y="3157"/>
                </a:moveTo>
                <a:lnTo>
                  <a:pt x="940" y="3122"/>
                </a:lnTo>
                <a:lnTo>
                  <a:pt x="891" y="2981"/>
                </a:lnTo>
                <a:cubicBezTo>
                  <a:pt x="862" y="2904"/>
                  <a:pt x="836" y="2838"/>
                  <a:pt x="833" y="2834"/>
                </a:cubicBezTo>
                <a:cubicBezTo>
                  <a:pt x="820" y="2822"/>
                  <a:pt x="161" y="2680"/>
                  <a:pt x="104" y="2677"/>
                </a:cubicBezTo>
                <a:cubicBezTo>
                  <a:pt x="28" y="2672"/>
                  <a:pt x="0" y="2629"/>
                  <a:pt x="9" y="2539"/>
                </a:cubicBezTo>
                <a:cubicBezTo>
                  <a:pt x="16" y="2490"/>
                  <a:pt x="28" y="2459"/>
                  <a:pt x="56" y="2440"/>
                </a:cubicBezTo>
                <a:cubicBezTo>
                  <a:pt x="99" y="2406"/>
                  <a:pt x="96" y="2410"/>
                  <a:pt x="174" y="2318"/>
                </a:cubicBezTo>
                <a:cubicBezTo>
                  <a:pt x="246" y="2235"/>
                  <a:pt x="296" y="2232"/>
                  <a:pt x="308" y="2307"/>
                </a:cubicBezTo>
                <a:cubicBezTo>
                  <a:pt x="316" y="2350"/>
                  <a:pt x="336" y="2365"/>
                  <a:pt x="516" y="2454"/>
                </a:cubicBezTo>
                <a:cubicBezTo>
                  <a:pt x="654" y="2522"/>
                  <a:pt x="736" y="2554"/>
                  <a:pt x="779" y="2554"/>
                </a:cubicBezTo>
                <a:cubicBezTo>
                  <a:pt x="824" y="2554"/>
                  <a:pt x="870" y="2573"/>
                  <a:pt x="934" y="2614"/>
                </a:cubicBezTo>
                <a:cubicBezTo>
                  <a:pt x="1017" y="2667"/>
                  <a:pt x="1027" y="2680"/>
                  <a:pt x="1024" y="2723"/>
                </a:cubicBezTo>
                <a:cubicBezTo>
                  <a:pt x="1020" y="2766"/>
                  <a:pt x="1025" y="2771"/>
                  <a:pt x="1076" y="2776"/>
                </a:cubicBezTo>
                <a:cubicBezTo>
                  <a:pt x="1113" y="2779"/>
                  <a:pt x="1144" y="2794"/>
                  <a:pt x="1168" y="2822"/>
                </a:cubicBezTo>
                <a:lnTo>
                  <a:pt x="1203" y="2866"/>
                </a:lnTo>
                <a:lnTo>
                  <a:pt x="1276" y="2829"/>
                </a:lnTo>
                <a:cubicBezTo>
                  <a:pt x="1369" y="2782"/>
                  <a:pt x="1396" y="2754"/>
                  <a:pt x="1396" y="2704"/>
                </a:cubicBezTo>
                <a:cubicBezTo>
                  <a:pt x="1396" y="2677"/>
                  <a:pt x="1430" y="2626"/>
                  <a:pt x="1499" y="2549"/>
                </a:cubicBezTo>
                <a:cubicBezTo>
                  <a:pt x="1555" y="2486"/>
                  <a:pt x="1609" y="2408"/>
                  <a:pt x="1619" y="2378"/>
                </a:cubicBezTo>
                <a:cubicBezTo>
                  <a:pt x="1635" y="2330"/>
                  <a:pt x="1758" y="2176"/>
                  <a:pt x="1958" y="1958"/>
                </a:cubicBezTo>
                <a:cubicBezTo>
                  <a:pt x="1976" y="1939"/>
                  <a:pt x="1992" y="1877"/>
                  <a:pt x="2003" y="1782"/>
                </a:cubicBezTo>
                <a:cubicBezTo>
                  <a:pt x="2040" y="1462"/>
                  <a:pt x="2041" y="1424"/>
                  <a:pt x="2016" y="1384"/>
                </a:cubicBezTo>
                <a:cubicBezTo>
                  <a:pt x="2003" y="1363"/>
                  <a:pt x="1971" y="1283"/>
                  <a:pt x="1947" y="1206"/>
                </a:cubicBezTo>
                <a:cubicBezTo>
                  <a:pt x="1902" y="1067"/>
                  <a:pt x="1902" y="1066"/>
                  <a:pt x="1928" y="970"/>
                </a:cubicBezTo>
                <a:cubicBezTo>
                  <a:pt x="1956" y="862"/>
                  <a:pt x="1963" y="877"/>
                  <a:pt x="1849" y="784"/>
                </a:cubicBezTo>
                <a:cubicBezTo>
                  <a:pt x="1795" y="741"/>
                  <a:pt x="1817" y="690"/>
                  <a:pt x="1910" y="642"/>
                </a:cubicBezTo>
                <a:cubicBezTo>
                  <a:pt x="1966" y="613"/>
                  <a:pt x="1988" y="592"/>
                  <a:pt x="1996" y="557"/>
                </a:cubicBezTo>
                <a:cubicBezTo>
                  <a:pt x="2006" y="514"/>
                  <a:pt x="2011" y="510"/>
                  <a:pt x="2121" y="501"/>
                </a:cubicBezTo>
                <a:cubicBezTo>
                  <a:pt x="2240" y="491"/>
                  <a:pt x="2276" y="469"/>
                  <a:pt x="2276" y="408"/>
                </a:cubicBezTo>
                <a:cubicBezTo>
                  <a:pt x="2276" y="374"/>
                  <a:pt x="2292" y="373"/>
                  <a:pt x="2377" y="395"/>
                </a:cubicBezTo>
                <a:cubicBezTo>
                  <a:pt x="2428" y="410"/>
                  <a:pt x="2444" y="408"/>
                  <a:pt x="2467" y="387"/>
                </a:cubicBezTo>
                <a:cubicBezTo>
                  <a:pt x="2505" y="354"/>
                  <a:pt x="2524" y="357"/>
                  <a:pt x="2545" y="403"/>
                </a:cubicBezTo>
                <a:cubicBezTo>
                  <a:pt x="2566" y="448"/>
                  <a:pt x="2568" y="448"/>
                  <a:pt x="2702" y="426"/>
                </a:cubicBezTo>
                <a:cubicBezTo>
                  <a:pt x="2784" y="411"/>
                  <a:pt x="2817" y="395"/>
                  <a:pt x="2875" y="344"/>
                </a:cubicBezTo>
                <a:cubicBezTo>
                  <a:pt x="2934" y="293"/>
                  <a:pt x="2948" y="269"/>
                  <a:pt x="2958" y="206"/>
                </a:cubicBezTo>
                <a:cubicBezTo>
                  <a:pt x="2966" y="149"/>
                  <a:pt x="2982" y="118"/>
                  <a:pt x="3027" y="78"/>
                </a:cubicBezTo>
                <a:cubicBezTo>
                  <a:pt x="3112" y="0"/>
                  <a:pt x="3158" y="11"/>
                  <a:pt x="3092" y="94"/>
                </a:cubicBezTo>
                <a:cubicBezTo>
                  <a:pt x="3046" y="155"/>
                  <a:pt x="3052" y="219"/>
                  <a:pt x="3121" y="350"/>
                </a:cubicBezTo>
                <a:cubicBezTo>
                  <a:pt x="3228" y="557"/>
                  <a:pt x="3294" y="646"/>
                  <a:pt x="3344" y="658"/>
                </a:cubicBezTo>
                <a:cubicBezTo>
                  <a:pt x="3368" y="662"/>
                  <a:pt x="3427" y="690"/>
                  <a:pt x="3473" y="715"/>
                </a:cubicBezTo>
                <a:cubicBezTo>
                  <a:pt x="3552" y="760"/>
                  <a:pt x="3556" y="768"/>
                  <a:pt x="3556" y="826"/>
                </a:cubicBezTo>
                <a:cubicBezTo>
                  <a:pt x="3556" y="878"/>
                  <a:pt x="3550" y="890"/>
                  <a:pt x="3508" y="907"/>
                </a:cubicBezTo>
                <a:cubicBezTo>
                  <a:pt x="3452" y="930"/>
                  <a:pt x="3360" y="1035"/>
                  <a:pt x="3235" y="1218"/>
                </a:cubicBezTo>
                <a:cubicBezTo>
                  <a:pt x="3187" y="1286"/>
                  <a:pt x="3140" y="1355"/>
                  <a:pt x="3129" y="1370"/>
                </a:cubicBezTo>
                <a:cubicBezTo>
                  <a:pt x="3096" y="1414"/>
                  <a:pt x="3140" y="1534"/>
                  <a:pt x="3201" y="1562"/>
                </a:cubicBezTo>
                <a:cubicBezTo>
                  <a:pt x="3291" y="1602"/>
                  <a:pt x="3283" y="1662"/>
                  <a:pt x="3166" y="1802"/>
                </a:cubicBezTo>
                <a:cubicBezTo>
                  <a:pt x="3118" y="1861"/>
                  <a:pt x="3059" y="1907"/>
                  <a:pt x="2985" y="1946"/>
                </a:cubicBezTo>
                <a:cubicBezTo>
                  <a:pt x="2884" y="1998"/>
                  <a:pt x="2876" y="2008"/>
                  <a:pt x="2864" y="2069"/>
                </a:cubicBezTo>
                <a:cubicBezTo>
                  <a:pt x="2854" y="2118"/>
                  <a:pt x="2835" y="2147"/>
                  <a:pt x="2788" y="2186"/>
                </a:cubicBezTo>
                <a:cubicBezTo>
                  <a:pt x="2753" y="2213"/>
                  <a:pt x="2710" y="2266"/>
                  <a:pt x="2692" y="2299"/>
                </a:cubicBezTo>
                <a:cubicBezTo>
                  <a:pt x="2662" y="2358"/>
                  <a:pt x="2656" y="2363"/>
                  <a:pt x="2592" y="2363"/>
                </a:cubicBezTo>
                <a:cubicBezTo>
                  <a:pt x="2540" y="2363"/>
                  <a:pt x="2507" y="2374"/>
                  <a:pt x="2456" y="2411"/>
                </a:cubicBezTo>
                <a:cubicBezTo>
                  <a:pt x="2412" y="2445"/>
                  <a:pt x="2379" y="2458"/>
                  <a:pt x="2358" y="2451"/>
                </a:cubicBezTo>
                <a:cubicBezTo>
                  <a:pt x="2316" y="2438"/>
                  <a:pt x="2212" y="2490"/>
                  <a:pt x="2212" y="2525"/>
                </a:cubicBezTo>
                <a:cubicBezTo>
                  <a:pt x="2212" y="2541"/>
                  <a:pt x="2220" y="2571"/>
                  <a:pt x="2230" y="2592"/>
                </a:cubicBezTo>
                <a:cubicBezTo>
                  <a:pt x="2246" y="2626"/>
                  <a:pt x="2243" y="2640"/>
                  <a:pt x="2214" y="2680"/>
                </a:cubicBezTo>
                <a:cubicBezTo>
                  <a:pt x="2164" y="2750"/>
                  <a:pt x="2171" y="2789"/>
                  <a:pt x="2238" y="2824"/>
                </a:cubicBezTo>
                <a:lnTo>
                  <a:pt x="2296" y="2853"/>
                </a:lnTo>
                <a:lnTo>
                  <a:pt x="2240" y="2891"/>
                </a:lnTo>
                <a:cubicBezTo>
                  <a:pt x="2198" y="2920"/>
                  <a:pt x="2180" y="2944"/>
                  <a:pt x="2174" y="2990"/>
                </a:cubicBezTo>
                <a:cubicBezTo>
                  <a:pt x="2163" y="3061"/>
                  <a:pt x="2153" y="3062"/>
                  <a:pt x="1984" y="3024"/>
                </a:cubicBezTo>
                <a:cubicBezTo>
                  <a:pt x="1897" y="3005"/>
                  <a:pt x="1830" y="3002"/>
                  <a:pt x="1712" y="3008"/>
                </a:cubicBezTo>
                <a:lnTo>
                  <a:pt x="1553" y="3019"/>
                </a:lnTo>
                <a:lnTo>
                  <a:pt x="1428" y="3107"/>
                </a:lnTo>
                <a:cubicBezTo>
                  <a:pt x="1355" y="3158"/>
                  <a:pt x="1288" y="3194"/>
                  <a:pt x="1267" y="3194"/>
                </a:cubicBezTo>
                <a:cubicBezTo>
                  <a:pt x="1246" y="3192"/>
                  <a:pt x="1164" y="3176"/>
                  <a:pt x="1084" y="3157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9" name="Республика Дагестан"/>
          <p:cNvSpPr>
            <a:spLocks/>
          </p:cNvSpPr>
          <p:nvPr/>
        </p:nvSpPr>
        <p:spPr bwMode="auto">
          <a:xfrm>
            <a:off x="1195756" y="4280819"/>
            <a:ext cx="226968" cy="382890"/>
          </a:xfrm>
          <a:custGeom>
            <a:avLst/>
            <a:gdLst/>
            <a:ahLst/>
            <a:cxnLst>
              <a:cxn ang="0">
                <a:pos x="170" y="1376"/>
              </a:cxn>
              <a:cxn ang="0">
                <a:pos x="160" y="1229"/>
              </a:cxn>
              <a:cxn ang="0">
                <a:pos x="78" y="996"/>
              </a:cxn>
              <a:cxn ang="0">
                <a:pos x="10" y="813"/>
              </a:cxn>
              <a:cxn ang="0">
                <a:pos x="208" y="725"/>
              </a:cxn>
              <a:cxn ang="0">
                <a:pos x="368" y="621"/>
              </a:cxn>
              <a:cxn ang="0">
                <a:pos x="427" y="540"/>
              </a:cxn>
              <a:cxn ang="0">
                <a:pos x="509" y="423"/>
              </a:cxn>
              <a:cxn ang="0">
                <a:pos x="461" y="360"/>
              </a:cxn>
              <a:cxn ang="0">
                <a:pos x="323" y="210"/>
              </a:cxn>
              <a:cxn ang="0">
                <a:pos x="288" y="152"/>
              </a:cxn>
              <a:cxn ang="0">
                <a:pos x="426" y="77"/>
              </a:cxn>
              <a:cxn ang="0">
                <a:pos x="563" y="0"/>
              </a:cxn>
              <a:cxn ang="0">
                <a:pos x="650" y="87"/>
              </a:cxn>
              <a:cxn ang="0">
                <a:pos x="709" y="208"/>
              </a:cxn>
              <a:cxn ang="0">
                <a:pos x="635" y="437"/>
              </a:cxn>
              <a:cxn ang="0">
                <a:pos x="526" y="781"/>
              </a:cxn>
              <a:cxn ang="0">
                <a:pos x="466" y="863"/>
              </a:cxn>
              <a:cxn ang="0">
                <a:pos x="461" y="1117"/>
              </a:cxn>
              <a:cxn ang="0">
                <a:pos x="456" y="1373"/>
              </a:cxn>
              <a:cxn ang="0">
                <a:pos x="376" y="1391"/>
              </a:cxn>
              <a:cxn ang="0">
                <a:pos x="238" y="1412"/>
              </a:cxn>
              <a:cxn ang="0">
                <a:pos x="170" y="1376"/>
              </a:cxn>
            </a:cxnLst>
            <a:rect l="0" t="0" r="r" b="b"/>
            <a:pathLst>
              <a:path w="750" h="1413">
                <a:moveTo>
                  <a:pt x="170" y="1376"/>
                </a:moveTo>
                <a:cubicBezTo>
                  <a:pt x="165" y="1357"/>
                  <a:pt x="160" y="1290"/>
                  <a:pt x="160" y="1229"/>
                </a:cubicBezTo>
                <a:cubicBezTo>
                  <a:pt x="160" y="1124"/>
                  <a:pt x="157" y="1114"/>
                  <a:pt x="78" y="996"/>
                </a:cubicBezTo>
                <a:cubicBezTo>
                  <a:pt x="6" y="885"/>
                  <a:pt x="0" y="866"/>
                  <a:pt x="10" y="813"/>
                </a:cubicBezTo>
                <a:cubicBezTo>
                  <a:pt x="22" y="741"/>
                  <a:pt x="58" y="725"/>
                  <a:pt x="208" y="725"/>
                </a:cubicBezTo>
                <a:cubicBezTo>
                  <a:pt x="328" y="725"/>
                  <a:pt x="330" y="724"/>
                  <a:pt x="368" y="621"/>
                </a:cubicBezTo>
                <a:cubicBezTo>
                  <a:pt x="382" y="586"/>
                  <a:pt x="408" y="549"/>
                  <a:pt x="427" y="540"/>
                </a:cubicBezTo>
                <a:cubicBezTo>
                  <a:pt x="498" y="506"/>
                  <a:pt x="514" y="480"/>
                  <a:pt x="509" y="423"/>
                </a:cubicBezTo>
                <a:cubicBezTo>
                  <a:pt x="506" y="373"/>
                  <a:pt x="498" y="364"/>
                  <a:pt x="461" y="360"/>
                </a:cubicBezTo>
                <a:cubicBezTo>
                  <a:pt x="418" y="354"/>
                  <a:pt x="395" y="330"/>
                  <a:pt x="323" y="210"/>
                </a:cubicBezTo>
                <a:lnTo>
                  <a:pt x="288" y="152"/>
                </a:lnTo>
                <a:lnTo>
                  <a:pt x="426" y="77"/>
                </a:lnTo>
                <a:lnTo>
                  <a:pt x="563" y="0"/>
                </a:lnTo>
                <a:lnTo>
                  <a:pt x="650" y="87"/>
                </a:lnTo>
                <a:cubicBezTo>
                  <a:pt x="744" y="180"/>
                  <a:pt x="750" y="192"/>
                  <a:pt x="709" y="208"/>
                </a:cubicBezTo>
                <a:cubicBezTo>
                  <a:pt x="630" y="236"/>
                  <a:pt x="624" y="255"/>
                  <a:pt x="635" y="437"/>
                </a:cubicBezTo>
                <a:cubicBezTo>
                  <a:pt x="646" y="629"/>
                  <a:pt x="648" y="621"/>
                  <a:pt x="526" y="781"/>
                </a:cubicBezTo>
                <a:lnTo>
                  <a:pt x="466" y="863"/>
                </a:lnTo>
                <a:lnTo>
                  <a:pt x="461" y="1117"/>
                </a:lnTo>
                <a:lnTo>
                  <a:pt x="456" y="1373"/>
                </a:lnTo>
                <a:lnTo>
                  <a:pt x="376" y="1391"/>
                </a:lnTo>
                <a:cubicBezTo>
                  <a:pt x="333" y="1402"/>
                  <a:pt x="270" y="1410"/>
                  <a:pt x="238" y="1412"/>
                </a:cubicBezTo>
                <a:cubicBezTo>
                  <a:pt x="190" y="1413"/>
                  <a:pt x="178" y="1407"/>
                  <a:pt x="170" y="137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0" name="Республика Ингушетия"/>
          <p:cNvSpPr>
            <a:spLocks/>
          </p:cNvSpPr>
          <p:nvPr/>
        </p:nvSpPr>
        <p:spPr bwMode="auto">
          <a:xfrm>
            <a:off x="1171952" y="4346085"/>
            <a:ext cx="119021" cy="82670"/>
          </a:xfrm>
          <a:custGeom>
            <a:avLst/>
            <a:gdLst/>
            <a:ahLst/>
            <a:cxnLst>
              <a:cxn ang="0">
                <a:pos x="6" y="280"/>
              </a:cxn>
              <a:cxn ang="0">
                <a:pos x="32" y="216"/>
              </a:cxn>
              <a:cxn ang="0">
                <a:pos x="58" y="88"/>
              </a:cxn>
              <a:cxn ang="0">
                <a:pos x="46" y="0"/>
              </a:cxn>
              <a:cxn ang="0">
                <a:pos x="165" y="0"/>
              </a:cxn>
              <a:cxn ang="0">
                <a:pos x="390" y="40"/>
              </a:cxn>
              <a:cxn ang="0">
                <a:pos x="53" y="285"/>
              </a:cxn>
              <a:cxn ang="0">
                <a:pos x="6" y="280"/>
              </a:cxn>
            </a:cxnLst>
            <a:rect l="0" t="0" r="r" b="b"/>
            <a:pathLst>
              <a:path w="397" h="304">
                <a:moveTo>
                  <a:pt x="6" y="280"/>
                </a:moveTo>
                <a:cubicBezTo>
                  <a:pt x="0" y="264"/>
                  <a:pt x="10" y="239"/>
                  <a:pt x="32" y="216"/>
                </a:cubicBezTo>
                <a:cubicBezTo>
                  <a:pt x="64" y="183"/>
                  <a:pt x="67" y="167"/>
                  <a:pt x="58" y="88"/>
                </a:cubicBezTo>
                <a:lnTo>
                  <a:pt x="46" y="0"/>
                </a:lnTo>
                <a:lnTo>
                  <a:pt x="165" y="0"/>
                </a:lnTo>
                <a:cubicBezTo>
                  <a:pt x="309" y="0"/>
                  <a:pt x="379" y="13"/>
                  <a:pt x="390" y="40"/>
                </a:cubicBezTo>
                <a:cubicBezTo>
                  <a:pt x="397" y="58"/>
                  <a:pt x="331" y="104"/>
                  <a:pt x="53" y="285"/>
                </a:cubicBezTo>
                <a:cubicBezTo>
                  <a:pt x="21" y="304"/>
                  <a:pt x="16" y="304"/>
                  <a:pt x="6" y="28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1" name="Республика Калмыкия"/>
          <p:cNvSpPr>
            <a:spLocks/>
          </p:cNvSpPr>
          <p:nvPr/>
        </p:nvSpPr>
        <p:spPr bwMode="auto">
          <a:xfrm>
            <a:off x="1195756" y="3967546"/>
            <a:ext cx="388835" cy="361135"/>
          </a:xfrm>
          <a:custGeom>
            <a:avLst/>
            <a:gdLst/>
            <a:ahLst/>
            <a:cxnLst>
              <a:cxn ang="0">
                <a:pos x="712" y="1232"/>
              </a:cxn>
              <a:cxn ang="0">
                <a:pos x="587" y="1045"/>
              </a:cxn>
              <a:cxn ang="0">
                <a:pos x="501" y="824"/>
              </a:cxn>
              <a:cxn ang="0">
                <a:pos x="435" y="639"/>
              </a:cxn>
              <a:cxn ang="0">
                <a:pos x="282" y="338"/>
              </a:cxn>
              <a:cxn ang="0">
                <a:pos x="199" y="309"/>
              </a:cxn>
              <a:cxn ang="0">
                <a:pos x="138" y="272"/>
              </a:cxn>
              <a:cxn ang="0">
                <a:pos x="83" y="242"/>
              </a:cxn>
              <a:cxn ang="0">
                <a:pos x="16" y="223"/>
              </a:cxn>
              <a:cxn ang="0">
                <a:pos x="80" y="189"/>
              </a:cxn>
              <a:cxn ang="0">
                <a:pos x="192" y="154"/>
              </a:cxn>
              <a:cxn ang="0">
                <a:pos x="261" y="197"/>
              </a:cxn>
              <a:cxn ang="0">
                <a:pos x="323" y="316"/>
              </a:cxn>
              <a:cxn ang="0">
                <a:pos x="464" y="432"/>
              </a:cxn>
              <a:cxn ang="0">
                <a:pos x="573" y="389"/>
              </a:cxn>
              <a:cxn ang="0">
                <a:pos x="669" y="349"/>
              </a:cxn>
              <a:cxn ang="0">
                <a:pos x="746" y="359"/>
              </a:cxn>
              <a:cxn ang="0">
                <a:pos x="805" y="263"/>
              </a:cxn>
              <a:cxn ang="0">
                <a:pos x="853" y="149"/>
              </a:cxn>
              <a:cxn ang="0">
                <a:pos x="779" y="133"/>
              </a:cxn>
              <a:cxn ang="0">
                <a:pos x="720" y="104"/>
              </a:cxn>
              <a:cxn ang="0">
                <a:pos x="845" y="72"/>
              </a:cxn>
              <a:cxn ang="0">
                <a:pos x="999" y="36"/>
              </a:cxn>
              <a:cxn ang="0">
                <a:pos x="1053" y="60"/>
              </a:cxn>
              <a:cxn ang="0">
                <a:pos x="1122" y="114"/>
              </a:cxn>
              <a:cxn ang="0">
                <a:pos x="1189" y="314"/>
              </a:cxn>
              <a:cxn ang="0">
                <a:pos x="1189" y="493"/>
              </a:cxn>
              <a:cxn ang="0">
                <a:pos x="1250" y="498"/>
              </a:cxn>
              <a:cxn ang="0">
                <a:pos x="1309" y="517"/>
              </a:cxn>
              <a:cxn ang="0">
                <a:pos x="1269" y="589"/>
              </a:cxn>
              <a:cxn ang="0">
                <a:pos x="1239" y="690"/>
              </a:cxn>
              <a:cxn ang="0">
                <a:pos x="1149" y="816"/>
              </a:cxn>
              <a:cxn ang="0">
                <a:pos x="1031" y="853"/>
              </a:cxn>
              <a:cxn ang="0">
                <a:pos x="1045" y="933"/>
              </a:cxn>
              <a:cxn ang="0">
                <a:pos x="1075" y="999"/>
              </a:cxn>
              <a:cxn ang="0">
                <a:pos x="999" y="1072"/>
              </a:cxn>
              <a:cxn ang="0">
                <a:pos x="955" y="1175"/>
              </a:cxn>
              <a:cxn ang="0">
                <a:pos x="938" y="1264"/>
              </a:cxn>
              <a:cxn ang="0">
                <a:pos x="712" y="1232"/>
              </a:cxn>
            </a:cxnLst>
            <a:rect l="0" t="0" r="r" b="b"/>
            <a:pathLst>
              <a:path w="1309" h="1330">
                <a:moveTo>
                  <a:pt x="712" y="1232"/>
                </a:moveTo>
                <a:cubicBezTo>
                  <a:pt x="634" y="1160"/>
                  <a:pt x="615" y="1130"/>
                  <a:pt x="587" y="1045"/>
                </a:cubicBezTo>
                <a:cubicBezTo>
                  <a:pt x="570" y="989"/>
                  <a:pt x="531" y="890"/>
                  <a:pt x="501" y="824"/>
                </a:cubicBezTo>
                <a:cubicBezTo>
                  <a:pt x="471" y="759"/>
                  <a:pt x="440" y="676"/>
                  <a:pt x="435" y="639"/>
                </a:cubicBezTo>
                <a:cubicBezTo>
                  <a:pt x="424" y="570"/>
                  <a:pt x="331" y="388"/>
                  <a:pt x="282" y="338"/>
                </a:cubicBezTo>
                <a:cubicBezTo>
                  <a:pt x="266" y="320"/>
                  <a:pt x="231" y="309"/>
                  <a:pt x="199" y="309"/>
                </a:cubicBezTo>
                <a:cubicBezTo>
                  <a:pt x="154" y="309"/>
                  <a:pt x="143" y="303"/>
                  <a:pt x="138" y="272"/>
                </a:cubicBezTo>
                <a:cubicBezTo>
                  <a:pt x="135" y="244"/>
                  <a:pt x="125" y="237"/>
                  <a:pt x="83" y="242"/>
                </a:cubicBezTo>
                <a:cubicBezTo>
                  <a:pt x="55" y="244"/>
                  <a:pt x="26" y="236"/>
                  <a:pt x="16" y="223"/>
                </a:cubicBezTo>
                <a:cubicBezTo>
                  <a:pt x="0" y="205"/>
                  <a:pt x="11" y="199"/>
                  <a:pt x="80" y="189"/>
                </a:cubicBezTo>
                <a:cubicBezTo>
                  <a:pt x="127" y="183"/>
                  <a:pt x="178" y="167"/>
                  <a:pt x="192" y="154"/>
                </a:cubicBezTo>
                <a:cubicBezTo>
                  <a:pt x="216" y="132"/>
                  <a:pt x="223" y="136"/>
                  <a:pt x="261" y="197"/>
                </a:cubicBezTo>
                <a:cubicBezTo>
                  <a:pt x="285" y="234"/>
                  <a:pt x="312" y="287"/>
                  <a:pt x="323" y="316"/>
                </a:cubicBezTo>
                <a:cubicBezTo>
                  <a:pt x="360" y="415"/>
                  <a:pt x="373" y="426"/>
                  <a:pt x="464" y="432"/>
                </a:cubicBezTo>
                <a:cubicBezTo>
                  <a:pt x="551" y="440"/>
                  <a:pt x="552" y="439"/>
                  <a:pt x="573" y="389"/>
                </a:cubicBezTo>
                <a:cubicBezTo>
                  <a:pt x="594" y="340"/>
                  <a:pt x="595" y="338"/>
                  <a:pt x="669" y="349"/>
                </a:cubicBezTo>
                <a:lnTo>
                  <a:pt x="746" y="359"/>
                </a:lnTo>
                <a:lnTo>
                  <a:pt x="805" y="263"/>
                </a:lnTo>
                <a:cubicBezTo>
                  <a:pt x="837" y="208"/>
                  <a:pt x="859" y="157"/>
                  <a:pt x="853" y="149"/>
                </a:cubicBezTo>
                <a:cubicBezTo>
                  <a:pt x="848" y="140"/>
                  <a:pt x="815" y="133"/>
                  <a:pt x="779" y="133"/>
                </a:cubicBezTo>
                <a:cubicBezTo>
                  <a:pt x="727" y="133"/>
                  <a:pt x="715" y="128"/>
                  <a:pt x="720" y="104"/>
                </a:cubicBezTo>
                <a:cubicBezTo>
                  <a:pt x="725" y="82"/>
                  <a:pt x="746" y="76"/>
                  <a:pt x="845" y="72"/>
                </a:cubicBezTo>
                <a:cubicBezTo>
                  <a:pt x="938" y="68"/>
                  <a:pt x="973" y="60"/>
                  <a:pt x="999" y="36"/>
                </a:cubicBezTo>
                <a:cubicBezTo>
                  <a:pt x="1035" y="0"/>
                  <a:pt x="1053" y="8"/>
                  <a:pt x="1053" y="60"/>
                </a:cubicBezTo>
                <a:cubicBezTo>
                  <a:pt x="1053" y="111"/>
                  <a:pt x="1083" y="135"/>
                  <a:pt x="1122" y="114"/>
                </a:cubicBezTo>
                <a:cubicBezTo>
                  <a:pt x="1176" y="85"/>
                  <a:pt x="1189" y="122"/>
                  <a:pt x="1189" y="314"/>
                </a:cubicBezTo>
                <a:lnTo>
                  <a:pt x="1189" y="493"/>
                </a:lnTo>
                <a:lnTo>
                  <a:pt x="1250" y="498"/>
                </a:lnTo>
                <a:cubicBezTo>
                  <a:pt x="1282" y="501"/>
                  <a:pt x="1309" y="509"/>
                  <a:pt x="1309" y="517"/>
                </a:cubicBezTo>
                <a:cubicBezTo>
                  <a:pt x="1309" y="525"/>
                  <a:pt x="1291" y="557"/>
                  <a:pt x="1269" y="589"/>
                </a:cubicBezTo>
                <a:cubicBezTo>
                  <a:pt x="1243" y="629"/>
                  <a:pt x="1234" y="661"/>
                  <a:pt x="1239" y="690"/>
                </a:cubicBezTo>
                <a:cubicBezTo>
                  <a:pt x="1259" y="796"/>
                  <a:pt x="1261" y="796"/>
                  <a:pt x="1149" y="816"/>
                </a:cubicBezTo>
                <a:cubicBezTo>
                  <a:pt x="1093" y="829"/>
                  <a:pt x="1039" y="845"/>
                  <a:pt x="1031" y="853"/>
                </a:cubicBezTo>
                <a:cubicBezTo>
                  <a:pt x="1021" y="861"/>
                  <a:pt x="1027" y="893"/>
                  <a:pt x="1045" y="933"/>
                </a:cubicBezTo>
                <a:lnTo>
                  <a:pt x="1075" y="999"/>
                </a:lnTo>
                <a:lnTo>
                  <a:pt x="999" y="1072"/>
                </a:lnTo>
                <a:cubicBezTo>
                  <a:pt x="922" y="1148"/>
                  <a:pt x="922" y="1148"/>
                  <a:pt x="955" y="1175"/>
                </a:cubicBezTo>
                <a:cubicBezTo>
                  <a:pt x="1000" y="1212"/>
                  <a:pt x="999" y="1223"/>
                  <a:pt x="938" y="1264"/>
                </a:cubicBezTo>
                <a:cubicBezTo>
                  <a:pt x="839" y="1330"/>
                  <a:pt x="815" y="1325"/>
                  <a:pt x="712" y="123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2" name="Республика Карелия"/>
          <p:cNvSpPr>
            <a:spLocks/>
          </p:cNvSpPr>
          <p:nvPr/>
        </p:nvSpPr>
        <p:spPr bwMode="auto">
          <a:xfrm>
            <a:off x="1806800" y="2100957"/>
            <a:ext cx="553913" cy="587388"/>
          </a:xfrm>
          <a:custGeom>
            <a:avLst/>
            <a:gdLst/>
            <a:ahLst/>
            <a:cxnLst>
              <a:cxn ang="0">
                <a:pos x="1010" y="2106"/>
              </a:cxn>
              <a:cxn ang="0">
                <a:pos x="842" y="2040"/>
              </a:cxn>
              <a:cxn ang="0">
                <a:pos x="725" y="2029"/>
              </a:cxn>
              <a:cxn ang="0">
                <a:pos x="614" y="1879"/>
              </a:cxn>
              <a:cxn ang="0">
                <a:pos x="485" y="1728"/>
              </a:cxn>
              <a:cxn ang="0">
                <a:pos x="429" y="1768"/>
              </a:cxn>
              <a:cxn ang="0">
                <a:pos x="278" y="1799"/>
              </a:cxn>
              <a:cxn ang="0">
                <a:pos x="122" y="1514"/>
              </a:cxn>
              <a:cxn ang="0">
                <a:pos x="0" y="1219"/>
              </a:cxn>
              <a:cxn ang="0">
                <a:pos x="109" y="1200"/>
              </a:cxn>
              <a:cxn ang="0">
                <a:pos x="682" y="1099"/>
              </a:cxn>
              <a:cxn ang="0">
                <a:pos x="726" y="912"/>
              </a:cxn>
              <a:cxn ang="0">
                <a:pos x="765" y="731"/>
              </a:cxn>
              <a:cxn ang="0">
                <a:pos x="850" y="699"/>
              </a:cxn>
              <a:cxn ang="0">
                <a:pos x="1008" y="522"/>
              </a:cxn>
              <a:cxn ang="0">
                <a:pos x="1192" y="309"/>
              </a:cxn>
              <a:cxn ang="0">
                <a:pos x="1427" y="91"/>
              </a:cxn>
              <a:cxn ang="0">
                <a:pos x="1504" y="0"/>
              </a:cxn>
              <a:cxn ang="0">
                <a:pos x="1602" y="58"/>
              </a:cxn>
              <a:cxn ang="0">
                <a:pos x="1672" y="167"/>
              </a:cxn>
              <a:cxn ang="0">
                <a:pos x="1738" y="320"/>
              </a:cxn>
              <a:cxn ang="0">
                <a:pos x="1810" y="519"/>
              </a:cxn>
              <a:cxn ang="0">
                <a:pos x="1829" y="663"/>
              </a:cxn>
              <a:cxn ang="0">
                <a:pos x="1784" y="695"/>
              </a:cxn>
              <a:cxn ang="0">
                <a:pos x="1528" y="954"/>
              </a:cxn>
              <a:cxn ang="0">
                <a:pos x="1434" y="1075"/>
              </a:cxn>
              <a:cxn ang="0">
                <a:pos x="1464" y="1221"/>
              </a:cxn>
              <a:cxn ang="0">
                <a:pos x="1501" y="1395"/>
              </a:cxn>
              <a:cxn ang="0">
                <a:pos x="1435" y="1424"/>
              </a:cxn>
              <a:cxn ang="0">
                <a:pos x="1298" y="1509"/>
              </a:cxn>
              <a:cxn ang="0">
                <a:pos x="1234" y="1698"/>
              </a:cxn>
              <a:cxn ang="0">
                <a:pos x="1246" y="1840"/>
              </a:cxn>
              <a:cxn ang="0">
                <a:pos x="1224" y="1922"/>
              </a:cxn>
              <a:cxn ang="0">
                <a:pos x="1178" y="2039"/>
              </a:cxn>
              <a:cxn ang="0">
                <a:pos x="1120" y="2136"/>
              </a:cxn>
              <a:cxn ang="0">
                <a:pos x="1069" y="2160"/>
              </a:cxn>
              <a:cxn ang="0">
                <a:pos x="1010" y="2106"/>
              </a:cxn>
            </a:cxnLst>
            <a:rect l="0" t="0" r="r" b="b"/>
            <a:pathLst>
              <a:path w="1829" h="2160">
                <a:moveTo>
                  <a:pt x="1010" y="2106"/>
                </a:moveTo>
                <a:cubicBezTo>
                  <a:pt x="963" y="2056"/>
                  <a:pt x="946" y="2050"/>
                  <a:pt x="842" y="2040"/>
                </a:cubicBezTo>
                <a:lnTo>
                  <a:pt x="725" y="2029"/>
                </a:lnTo>
                <a:lnTo>
                  <a:pt x="614" y="1879"/>
                </a:lnTo>
                <a:cubicBezTo>
                  <a:pt x="554" y="1797"/>
                  <a:pt x="494" y="1728"/>
                  <a:pt x="485" y="1728"/>
                </a:cubicBezTo>
                <a:cubicBezTo>
                  <a:pt x="474" y="1728"/>
                  <a:pt x="448" y="1746"/>
                  <a:pt x="429" y="1768"/>
                </a:cubicBezTo>
                <a:cubicBezTo>
                  <a:pt x="395" y="1807"/>
                  <a:pt x="347" y="1816"/>
                  <a:pt x="278" y="1799"/>
                </a:cubicBezTo>
                <a:cubicBezTo>
                  <a:pt x="251" y="1791"/>
                  <a:pt x="214" y="1725"/>
                  <a:pt x="122" y="1514"/>
                </a:cubicBezTo>
                <a:cubicBezTo>
                  <a:pt x="54" y="1363"/>
                  <a:pt x="0" y="1231"/>
                  <a:pt x="0" y="1219"/>
                </a:cubicBezTo>
                <a:cubicBezTo>
                  <a:pt x="0" y="1205"/>
                  <a:pt x="32" y="1200"/>
                  <a:pt x="109" y="1200"/>
                </a:cubicBezTo>
                <a:cubicBezTo>
                  <a:pt x="240" y="1200"/>
                  <a:pt x="656" y="1127"/>
                  <a:pt x="682" y="1099"/>
                </a:cubicBezTo>
                <a:cubicBezTo>
                  <a:pt x="693" y="1088"/>
                  <a:pt x="712" y="1005"/>
                  <a:pt x="726" y="912"/>
                </a:cubicBezTo>
                <a:cubicBezTo>
                  <a:pt x="741" y="819"/>
                  <a:pt x="758" y="739"/>
                  <a:pt x="765" y="731"/>
                </a:cubicBezTo>
                <a:cubicBezTo>
                  <a:pt x="773" y="725"/>
                  <a:pt x="810" y="711"/>
                  <a:pt x="850" y="699"/>
                </a:cubicBezTo>
                <a:cubicBezTo>
                  <a:pt x="917" y="680"/>
                  <a:pt x="925" y="671"/>
                  <a:pt x="1008" y="522"/>
                </a:cubicBezTo>
                <a:cubicBezTo>
                  <a:pt x="1088" y="379"/>
                  <a:pt x="1104" y="360"/>
                  <a:pt x="1192" y="309"/>
                </a:cubicBezTo>
                <a:cubicBezTo>
                  <a:pt x="1315" y="237"/>
                  <a:pt x="1349" y="205"/>
                  <a:pt x="1427" y="91"/>
                </a:cubicBezTo>
                <a:cubicBezTo>
                  <a:pt x="1461" y="42"/>
                  <a:pt x="1496" y="0"/>
                  <a:pt x="1504" y="0"/>
                </a:cubicBezTo>
                <a:cubicBezTo>
                  <a:pt x="1514" y="0"/>
                  <a:pt x="1557" y="26"/>
                  <a:pt x="1602" y="58"/>
                </a:cubicBezTo>
                <a:cubicBezTo>
                  <a:pt x="1677" y="112"/>
                  <a:pt x="1682" y="120"/>
                  <a:pt x="1672" y="167"/>
                </a:cubicBezTo>
                <a:cubicBezTo>
                  <a:pt x="1648" y="267"/>
                  <a:pt x="1670" y="320"/>
                  <a:pt x="1738" y="320"/>
                </a:cubicBezTo>
                <a:cubicBezTo>
                  <a:pt x="1781" y="320"/>
                  <a:pt x="1782" y="328"/>
                  <a:pt x="1810" y="519"/>
                </a:cubicBezTo>
                <a:lnTo>
                  <a:pt x="1829" y="663"/>
                </a:lnTo>
                <a:lnTo>
                  <a:pt x="1784" y="695"/>
                </a:lnTo>
                <a:cubicBezTo>
                  <a:pt x="1690" y="762"/>
                  <a:pt x="1619" y="834"/>
                  <a:pt x="1528" y="954"/>
                </a:cubicBezTo>
                <a:lnTo>
                  <a:pt x="1434" y="1075"/>
                </a:lnTo>
                <a:lnTo>
                  <a:pt x="1464" y="1221"/>
                </a:lnTo>
                <a:cubicBezTo>
                  <a:pt x="1480" y="1301"/>
                  <a:pt x="1496" y="1379"/>
                  <a:pt x="1501" y="1395"/>
                </a:cubicBezTo>
                <a:cubicBezTo>
                  <a:pt x="1507" y="1419"/>
                  <a:pt x="1498" y="1424"/>
                  <a:pt x="1435" y="1424"/>
                </a:cubicBezTo>
                <a:cubicBezTo>
                  <a:pt x="1368" y="1424"/>
                  <a:pt x="1360" y="1429"/>
                  <a:pt x="1298" y="1509"/>
                </a:cubicBezTo>
                <a:cubicBezTo>
                  <a:pt x="1235" y="1589"/>
                  <a:pt x="1232" y="1600"/>
                  <a:pt x="1234" y="1698"/>
                </a:cubicBezTo>
                <a:cubicBezTo>
                  <a:pt x="1235" y="1754"/>
                  <a:pt x="1240" y="1818"/>
                  <a:pt x="1246" y="1840"/>
                </a:cubicBezTo>
                <a:cubicBezTo>
                  <a:pt x="1256" y="1869"/>
                  <a:pt x="1250" y="1891"/>
                  <a:pt x="1224" y="1922"/>
                </a:cubicBezTo>
                <a:cubicBezTo>
                  <a:pt x="1203" y="1946"/>
                  <a:pt x="1182" y="1999"/>
                  <a:pt x="1178" y="2039"/>
                </a:cubicBezTo>
                <a:cubicBezTo>
                  <a:pt x="1168" y="2098"/>
                  <a:pt x="1157" y="2117"/>
                  <a:pt x="1120" y="2136"/>
                </a:cubicBezTo>
                <a:cubicBezTo>
                  <a:pt x="1094" y="2149"/>
                  <a:pt x="1070" y="2160"/>
                  <a:pt x="1069" y="2160"/>
                </a:cubicBezTo>
                <a:cubicBezTo>
                  <a:pt x="1066" y="2160"/>
                  <a:pt x="1038" y="2135"/>
                  <a:pt x="1010" y="210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3" name="Республика Коми"/>
          <p:cNvSpPr>
            <a:spLocks/>
          </p:cNvSpPr>
          <p:nvPr/>
        </p:nvSpPr>
        <p:spPr bwMode="auto">
          <a:xfrm>
            <a:off x="2474973" y="2640484"/>
            <a:ext cx="1155435" cy="604792"/>
          </a:xfrm>
          <a:custGeom>
            <a:avLst/>
            <a:gdLst/>
            <a:ahLst/>
            <a:cxnLst>
              <a:cxn ang="0">
                <a:pos x="1341" y="2124"/>
              </a:cxn>
              <a:cxn ang="0">
                <a:pos x="958" y="2005"/>
              </a:cxn>
              <a:cxn ang="0">
                <a:pos x="798" y="1914"/>
              </a:cxn>
              <a:cxn ang="0">
                <a:pos x="381" y="2069"/>
              </a:cxn>
              <a:cxn ang="0">
                <a:pos x="72" y="2141"/>
              </a:cxn>
              <a:cxn ang="0">
                <a:pos x="54" y="1837"/>
              </a:cxn>
              <a:cxn ang="0">
                <a:pos x="166" y="1530"/>
              </a:cxn>
              <a:cxn ang="0">
                <a:pos x="453" y="1514"/>
              </a:cxn>
              <a:cxn ang="0">
                <a:pos x="616" y="1245"/>
              </a:cxn>
              <a:cxn ang="0">
                <a:pos x="709" y="1028"/>
              </a:cxn>
              <a:cxn ang="0">
                <a:pos x="461" y="1039"/>
              </a:cxn>
              <a:cxn ang="0">
                <a:pos x="366" y="949"/>
              </a:cxn>
              <a:cxn ang="0">
                <a:pos x="536" y="834"/>
              </a:cxn>
              <a:cxn ang="0">
                <a:pos x="544" y="597"/>
              </a:cxn>
              <a:cxn ang="0">
                <a:pos x="483" y="330"/>
              </a:cxn>
              <a:cxn ang="0">
                <a:pos x="834" y="519"/>
              </a:cxn>
              <a:cxn ang="0">
                <a:pos x="1091" y="589"/>
              </a:cxn>
              <a:cxn ang="0">
                <a:pos x="1238" y="564"/>
              </a:cxn>
              <a:cxn ang="0">
                <a:pos x="1238" y="394"/>
              </a:cxn>
              <a:cxn ang="0">
                <a:pos x="1243" y="199"/>
              </a:cxn>
              <a:cxn ang="0">
                <a:pos x="1358" y="0"/>
              </a:cxn>
              <a:cxn ang="0">
                <a:pos x="1947" y="5"/>
              </a:cxn>
              <a:cxn ang="0">
                <a:pos x="2656" y="420"/>
              </a:cxn>
              <a:cxn ang="0">
                <a:pos x="3264" y="605"/>
              </a:cxn>
              <a:cxn ang="0">
                <a:pos x="3568" y="456"/>
              </a:cxn>
              <a:cxn ang="0">
                <a:pos x="3768" y="405"/>
              </a:cxn>
              <a:cxn ang="0">
                <a:pos x="3826" y="565"/>
              </a:cxn>
              <a:cxn ang="0">
                <a:pos x="3664" y="760"/>
              </a:cxn>
              <a:cxn ang="0">
                <a:pos x="3142" y="991"/>
              </a:cxn>
              <a:cxn ang="0">
                <a:pos x="2800" y="1152"/>
              </a:cxn>
              <a:cxn ang="0">
                <a:pos x="2530" y="1266"/>
              </a:cxn>
              <a:cxn ang="0">
                <a:pos x="2413" y="1508"/>
              </a:cxn>
              <a:cxn ang="0">
                <a:pos x="2138" y="1848"/>
              </a:cxn>
              <a:cxn ang="0">
                <a:pos x="1768" y="2160"/>
              </a:cxn>
            </a:cxnLst>
            <a:rect l="0" t="0" r="r" b="b"/>
            <a:pathLst>
              <a:path w="3834" h="2216">
                <a:moveTo>
                  <a:pt x="1768" y="2160"/>
                </a:moveTo>
                <a:cubicBezTo>
                  <a:pt x="1605" y="2095"/>
                  <a:pt x="1530" y="2088"/>
                  <a:pt x="1341" y="2124"/>
                </a:cubicBezTo>
                <a:cubicBezTo>
                  <a:pt x="1226" y="2144"/>
                  <a:pt x="1210" y="2144"/>
                  <a:pt x="1109" y="2116"/>
                </a:cubicBezTo>
                <a:cubicBezTo>
                  <a:pt x="1005" y="2087"/>
                  <a:pt x="998" y="2082"/>
                  <a:pt x="958" y="2005"/>
                </a:cubicBezTo>
                <a:lnTo>
                  <a:pt x="918" y="1925"/>
                </a:lnTo>
                <a:lnTo>
                  <a:pt x="798" y="1914"/>
                </a:lnTo>
                <a:cubicBezTo>
                  <a:pt x="632" y="1900"/>
                  <a:pt x="624" y="1903"/>
                  <a:pt x="624" y="1999"/>
                </a:cubicBezTo>
                <a:cubicBezTo>
                  <a:pt x="624" y="2112"/>
                  <a:pt x="590" y="2122"/>
                  <a:pt x="381" y="2069"/>
                </a:cubicBezTo>
                <a:cubicBezTo>
                  <a:pt x="210" y="2028"/>
                  <a:pt x="195" y="2029"/>
                  <a:pt x="130" y="2100"/>
                </a:cubicBezTo>
                <a:cubicBezTo>
                  <a:pt x="107" y="2122"/>
                  <a:pt x="82" y="2141"/>
                  <a:pt x="72" y="2141"/>
                </a:cubicBezTo>
                <a:cubicBezTo>
                  <a:pt x="53" y="2141"/>
                  <a:pt x="0" y="1983"/>
                  <a:pt x="0" y="1925"/>
                </a:cubicBezTo>
                <a:cubicBezTo>
                  <a:pt x="0" y="1909"/>
                  <a:pt x="24" y="1869"/>
                  <a:pt x="54" y="1837"/>
                </a:cubicBezTo>
                <a:cubicBezTo>
                  <a:pt x="96" y="1791"/>
                  <a:pt x="115" y="1746"/>
                  <a:pt x="138" y="1653"/>
                </a:cubicBezTo>
                <a:lnTo>
                  <a:pt x="166" y="1530"/>
                </a:lnTo>
                <a:lnTo>
                  <a:pt x="224" y="1540"/>
                </a:lnTo>
                <a:cubicBezTo>
                  <a:pt x="400" y="1573"/>
                  <a:pt x="410" y="1572"/>
                  <a:pt x="453" y="1514"/>
                </a:cubicBezTo>
                <a:cubicBezTo>
                  <a:pt x="480" y="1479"/>
                  <a:pt x="491" y="1447"/>
                  <a:pt x="486" y="1421"/>
                </a:cubicBezTo>
                <a:cubicBezTo>
                  <a:pt x="480" y="1388"/>
                  <a:pt x="501" y="1357"/>
                  <a:pt x="616" y="1245"/>
                </a:cubicBezTo>
                <a:cubicBezTo>
                  <a:pt x="691" y="1170"/>
                  <a:pt x="752" y="1103"/>
                  <a:pt x="752" y="1096"/>
                </a:cubicBezTo>
                <a:cubicBezTo>
                  <a:pt x="752" y="1088"/>
                  <a:pt x="733" y="1058"/>
                  <a:pt x="709" y="1028"/>
                </a:cubicBezTo>
                <a:cubicBezTo>
                  <a:pt x="669" y="980"/>
                  <a:pt x="656" y="973"/>
                  <a:pt x="589" y="973"/>
                </a:cubicBezTo>
                <a:cubicBezTo>
                  <a:pt x="522" y="973"/>
                  <a:pt x="510" y="978"/>
                  <a:pt x="461" y="1039"/>
                </a:cubicBezTo>
                <a:cubicBezTo>
                  <a:pt x="411" y="1098"/>
                  <a:pt x="402" y="1103"/>
                  <a:pt x="371" y="1087"/>
                </a:cubicBezTo>
                <a:cubicBezTo>
                  <a:pt x="330" y="1064"/>
                  <a:pt x="330" y="1055"/>
                  <a:pt x="366" y="949"/>
                </a:cubicBezTo>
                <a:cubicBezTo>
                  <a:pt x="392" y="874"/>
                  <a:pt x="400" y="868"/>
                  <a:pt x="466" y="852"/>
                </a:cubicBezTo>
                <a:lnTo>
                  <a:pt x="536" y="834"/>
                </a:lnTo>
                <a:lnTo>
                  <a:pt x="531" y="738"/>
                </a:lnTo>
                <a:cubicBezTo>
                  <a:pt x="528" y="687"/>
                  <a:pt x="534" y="623"/>
                  <a:pt x="544" y="597"/>
                </a:cubicBezTo>
                <a:cubicBezTo>
                  <a:pt x="558" y="559"/>
                  <a:pt x="554" y="536"/>
                  <a:pt x="512" y="448"/>
                </a:cubicBezTo>
                <a:cubicBezTo>
                  <a:pt x="474" y="367"/>
                  <a:pt x="467" y="340"/>
                  <a:pt x="483" y="330"/>
                </a:cubicBezTo>
                <a:cubicBezTo>
                  <a:pt x="520" y="308"/>
                  <a:pt x="557" y="316"/>
                  <a:pt x="643" y="367"/>
                </a:cubicBezTo>
                <a:cubicBezTo>
                  <a:pt x="776" y="445"/>
                  <a:pt x="818" y="477"/>
                  <a:pt x="834" y="519"/>
                </a:cubicBezTo>
                <a:cubicBezTo>
                  <a:pt x="845" y="551"/>
                  <a:pt x="858" y="557"/>
                  <a:pt x="918" y="557"/>
                </a:cubicBezTo>
                <a:cubicBezTo>
                  <a:pt x="957" y="557"/>
                  <a:pt x="1035" y="572"/>
                  <a:pt x="1091" y="589"/>
                </a:cubicBezTo>
                <a:cubicBezTo>
                  <a:pt x="1147" y="605"/>
                  <a:pt x="1194" y="620"/>
                  <a:pt x="1195" y="621"/>
                </a:cubicBezTo>
                <a:cubicBezTo>
                  <a:pt x="1197" y="621"/>
                  <a:pt x="1216" y="596"/>
                  <a:pt x="1238" y="564"/>
                </a:cubicBezTo>
                <a:lnTo>
                  <a:pt x="1277" y="506"/>
                </a:lnTo>
                <a:lnTo>
                  <a:pt x="1238" y="394"/>
                </a:lnTo>
                <a:lnTo>
                  <a:pt x="1202" y="282"/>
                </a:lnTo>
                <a:lnTo>
                  <a:pt x="1243" y="199"/>
                </a:lnTo>
                <a:cubicBezTo>
                  <a:pt x="1266" y="154"/>
                  <a:pt x="1301" y="92"/>
                  <a:pt x="1322" y="60"/>
                </a:cubicBezTo>
                <a:lnTo>
                  <a:pt x="1358" y="0"/>
                </a:lnTo>
                <a:lnTo>
                  <a:pt x="1653" y="4"/>
                </a:lnTo>
                <a:lnTo>
                  <a:pt x="1947" y="5"/>
                </a:lnTo>
                <a:lnTo>
                  <a:pt x="2194" y="167"/>
                </a:lnTo>
                <a:cubicBezTo>
                  <a:pt x="2368" y="280"/>
                  <a:pt x="2504" y="356"/>
                  <a:pt x="2656" y="420"/>
                </a:cubicBezTo>
                <a:cubicBezTo>
                  <a:pt x="2774" y="471"/>
                  <a:pt x="2901" y="525"/>
                  <a:pt x="2936" y="540"/>
                </a:cubicBezTo>
                <a:cubicBezTo>
                  <a:pt x="3168" y="644"/>
                  <a:pt x="3141" y="639"/>
                  <a:pt x="3264" y="605"/>
                </a:cubicBezTo>
                <a:cubicBezTo>
                  <a:pt x="3339" y="586"/>
                  <a:pt x="3395" y="559"/>
                  <a:pt x="3440" y="520"/>
                </a:cubicBezTo>
                <a:cubicBezTo>
                  <a:pt x="3482" y="485"/>
                  <a:pt x="3528" y="461"/>
                  <a:pt x="3568" y="456"/>
                </a:cubicBezTo>
                <a:cubicBezTo>
                  <a:pt x="3613" y="450"/>
                  <a:pt x="3643" y="432"/>
                  <a:pt x="3682" y="391"/>
                </a:cubicBezTo>
                <a:cubicBezTo>
                  <a:pt x="3755" y="306"/>
                  <a:pt x="3834" y="319"/>
                  <a:pt x="3768" y="405"/>
                </a:cubicBezTo>
                <a:cubicBezTo>
                  <a:pt x="3734" y="452"/>
                  <a:pt x="3739" y="490"/>
                  <a:pt x="3786" y="530"/>
                </a:cubicBezTo>
                <a:lnTo>
                  <a:pt x="3826" y="565"/>
                </a:lnTo>
                <a:lnTo>
                  <a:pt x="3781" y="629"/>
                </a:lnTo>
                <a:cubicBezTo>
                  <a:pt x="3757" y="666"/>
                  <a:pt x="3704" y="725"/>
                  <a:pt x="3664" y="760"/>
                </a:cubicBezTo>
                <a:cubicBezTo>
                  <a:pt x="3597" y="821"/>
                  <a:pt x="3578" y="829"/>
                  <a:pt x="3440" y="853"/>
                </a:cubicBezTo>
                <a:cubicBezTo>
                  <a:pt x="3290" y="879"/>
                  <a:pt x="3211" y="914"/>
                  <a:pt x="3142" y="991"/>
                </a:cubicBezTo>
                <a:cubicBezTo>
                  <a:pt x="3128" y="1007"/>
                  <a:pt x="3066" y="1036"/>
                  <a:pt x="3006" y="1053"/>
                </a:cubicBezTo>
                <a:cubicBezTo>
                  <a:pt x="2946" y="1071"/>
                  <a:pt x="2853" y="1116"/>
                  <a:pt x="2800" y="1152"/>
                </a:cubicBezTo>
                <a:cubicBezTo>
                  <a:pt x="2712" y="1213"/>
                  <a:pt x="2701" y="1218"/>
                  <a:pt x="2686" y="1192"/>
                </a:cubicBezTo>
                <a:cubicBezTo>
                  <a:pt x="2661" y="1148"/>
                  <a:pt x="2637" y="1159"/>
                  <a:pt x="2530" y="1266"/>
                </a:cubicBezTo>
                <a:cubicBezTo>
                  <a:pt x="2443" y="1354"/>
                  <a:pt x="2429" y="1378"/>
                  <a:pt x="2422" y="1437"/>
                </a:cubicBezTo>
                <a:cubicBezTo>
                  <a:pt x="2419" y="1476"/>
                  <a:pt x="2414" y="1508"/>
                  <a:pt x="2413" y="1508"/>
                </a:cubicBezTo>
                <a:cubicBezTo>
                  <a:pt x="2410" y="1509"/>
                  <a:pt x="2365" y="1544"/>
                  <a:pt x="2310" y="1586"/>
                </a:cubicBezTo>
                <a:cubicBezTo>
                  <a:pt x="2216" y="1658"/>
                  <a:pt x="2210" y="1668"/>
                  <a:pt x="2138" y="1848"/>
                </a:cubicBezTo>
                <a:cubicBezTo>
                  <a:pt x="2022" y="2132"/>
                  <a:pt x="1981" y="2212"/>
                  <a:pt x="1944" y="2215"/>
                </a:cubicBezTo>
                <a:cubicBezTo>
                  <a:pt x="1926" y="2216"/>
                  <a:pt x="1848" y="2192"/>
                  <a:pt x="1768" y="216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4" name="Республика Марий Эл"/>
          <p:cNvSpPr>
            <a:spLocks/>
          </p:cNvSpPr>
          <p:nvPr/>
        </p:nvSpPr>
        <p:spPr bwMode="auto">
          <a:xfrm>
            <a:off x="2114701" y="3332297"/>
            <a:ext cx="236490" cy="147935"/>
          </a:xfrm>
          <a:custGeom>
            <a:avLst/>
            <a:gdLst/>
            <a:ahLst/>
            <a:cxnLst>
              <a:cxn ang="0">
                <a:pos x="317" y="530"/>
              </a:cxn>
              <a:cxn ang="0">
                <a:pos x="274" y="392"/>
              </a:cxn>
              <a:cxn ang="0">
                <a:pos x="212" y="263"/>
              </a:cxn>
              <a:cxn ang="0">
                <a:pos x="93" y="237"/>
              </a:cxn>
              <a:cxn ang="0">
                <a:pos x="0" y="218"/>
              </a:cxn>
              <a:cxn ang="0">
                <a:pos x="5" y="128"/>
              </a:cxn>
              <a:cxn ang="0">
                <a:pos x="10" y="40"/>
              </a:cxn>
              <a:cxn ang="0">
                <a:pos x="82" y="20"/>
              </a:cxn>
              <a:cxn ang="0">
                <a:pos x="189" y="21"/>
              </a:cxn>
              <a:cxn ang="0">
                <a:pos x="247" y="45"/>
              </a:cxn>
              <a:cxn ang="0">
                <a:pos x="280" y="141"/>
              </a:cxn>
              <a:cxn ang="0">
                <a:pos x="402" y="191"/>
              </a:cxn>
              <a:cxn ang="0">
                <a:pos x="466" y="144"/>
              </a:cxn>
              <a:cxn ang="0">
                <a:pos x="597" y="175"/>
              </a:cxn>
              <a:cxn ang="0">
                <a:pos x="733" y="212"/>
              </a:cxn>
              <a:cxn ang="0">
                <a:pos x="762" y="349"/>
              </a:cxn>
              <a:cxn ang="0">
                <a:pos x="762" y="508"/>
              </a:cxn>
              <a:cxn ang="0">
                <a:pos x="693" y="496"/>
              </a:cxn>
              <a:cxn ang="0">
                <a:pos x="624" y="458"/>
              </a:cxn>
              <a:cxn ang="0">
                <a:pos x="348" y="535"/>
              </a:cxn>
              <a:cxn ang="0">
                <a:pos x="317" y="530"/>
              </a:cxn>
            </a:cxnLst>
            <a:rect l="0" t="0" r="r" b="b"/>
            <a:pathLst>
              <a:path w="783" h="540">
                <a:moveTo>
                  <a:pt x="317" y="530"/>
                </a:moveTo>
                <a:cubicBezTo>
                  <a:pt x="314" y="522"/>
                  <a:pt x="293" y="461"/>
                  <a:pt x="274" y="392"/>
                </a:cubicBezTo>
                <a:cubicBezTo>
                  <a:pt x="252" y="316"/>
                  <a:pt x="228" y="266"/>
                  <a:pt x="212" y="263"/>
                </a:cubicBezTo>
                <a:cubicBezTo>
                  <a:pt x="197" y="258"/>
                  <a:pt x="144" y="247"/>
                  <a:pt x="93" y="237"/>
                </a:cubicBezTo>
                <a:lnTo>
                  <a:pt x="0" y="218"/>
                </a:lnTo>
                <a:lnTo>
                  <a:pt x="5" y="128"/>
                </a:lnTo>
                <a:lnTo>
                  <a:pt x="10" y="40"/>
                </a:lnTo>
                <a:lnTo>
                  <a:pt x="82" y="20"/>
                </a:lnTo>
                <a:cubicBezTo>
                  <a:pt x="143" y="0"/>
                  <a:pt x="159" y="2"/>
                  <a:pt x="189" y="21"/>
                </a:cubicBezTo>
                <a:cubicBezTo>
                  <a:pt x="208" y="34"/>
                  <a:pt x="236" y="45"/>
                  <a:pt x="247" y="45"/>
                </a:cubicBezTo>
                <a:cubicBezTo>
                  <a:pt x="263" y="45"/>
                  <a:pt x="274" y="74"/>
                  <a:pt x="280" y="141"/>
                </a:cubicBezTo>
                <a:cubicBezTo>
                  <a:pt x="293" y="253"/>
                  <a:pt x="308" y="258"/>
                  <a:pt x="402" y="191"/>
                </a:cubicBezTo>
                <a:lnTo>
                  <a:pt x="466" y="144"/>
                </a:lnTo>
                <a:lnTo>
                  <a:pt x="597" y="175"/>
                </a:lnTo>
                <a:cubicBezTo>
                  <a:pt x="669" y="192"/>
                  <a:pt x="732" y="208"/>
                  <a:pt x="733" y="212"/>
                </a:cubicBezTo>
                <a:cubicBezTo>
                  <a:pt x="736" y="213"/>
                  <a:pt x="749" y="276"/>
                  <a:pt x="762" y="349"/>
                </a:cubicBezTo>
                <a:cubicBezTo>
                  <a:pt x="783" y="468"/>
                  <a:pt x="783" y="487"/>
                  <a:pt x="762" y="508"/>
                </a:cubicBezTo>
                <a:cubicBezTo>
                  <a:pt x="741" y="528"/>
                  <a:pt x="733" y="527"/>
                  <a:pt x="693" y="496"/>
                </a:cubicBezTo>
                <a:cubicBezTo>
                  <a:pt x="668" y="479"/>
                  <a:pt x="637" y="461"/>
                  <a:pt x="624" y="458"/>
                </a:cubicBezTo>
                <a:cubicBezTo>
                  <a:pt x="605" y="455"/>
                  <a:pt x="429" y="503"/>
                  <a:pt x="348" y="535"/>
                </a:cubicBezTo>
                <a:cubicBezTo>
                  <a:pt x="336" y="540"/>
                  <a:pt x="322" y="536"/>
                  <a:pt x="317" y="53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5" name="Республика Мордовия"/>
          <p:cNvSpPr>
            <a:spLocks/>
          </p:cNvSpPr>
          <p:nvPr/>
        </p:nvSpPr>
        <p:spPr bwMode="auto">
          <a:xfrm>
            <a:off x="1782996" y="3362754"/>
            <a:ext cx="265055" cy="182743"/>
          </a:xfrm>
          <a:custGeom>
            <a:avLst/>
            <a:gdLst/>
            <a:ahLst/>
            <a:cxnLst>
              <a:cxn ang="0">
                <a:pos x="499" y="609"/>
              </a:cxn>
              <a:cxn ang="0">
                <a:pos x="349" y="563"/>
              </a:cxn>
              <a:cxn ang="0">
                <a:pos x="264" y="509"/>
              </a:cxn>
              <a:cxn ang="0">
                <a:pos x="112" y="363"/>
              </a:cxn>
              <a:cxn ang="0">
                <a:pos x="0" y="289"/>
              </a:cxn>
              <a:cxn ang="0">
                <a:pos x="61" y="224"/>
              </a:cxn>
              <a:cxn ang="0">
                <a:pos x="176" y="96"/>
              </a:cxn>
              <a:cxn ang="0">
                <a:pos x="370" y="30"/>
              </a:cxn>
              <a:cxn ang="0">
                <a:pos x="448" y="56"/>
              </a:cxn>
              <a:cxn ang="0">
                <a:pos x="448" y="168"/>
              </a:cxn>
              <a:cxn ang="0">
                <a:pos x="498" y="366"/>
              </a:cxn>
              <a:cxn ang="0">
                <a:pos x="560" y="461"/>
              </a:cxn>
              <a:cxn ang="0">
                <a:pos x="686" y="413"/>
              </a:cxn>
              <a:cxn ang="0">
                <a:pos x="808" y="358"/>
              </a:cxn>
              <a:cxn ang="0">
                <a:pos x="846" y="422"/>
              </a:cxn>
              <a:cxn ang="0">
                <a:pos x="880" y="486"/>
              </a:cxn>
              <a:cxn ang="0">
                <a:pos x="784" y="678"/>
              </a:cxn>
              <a:cxn ang="0">
                <a:pos x="707" y="677"/>
              </a:cxn>
              <a:cxn ang="0">
                <a:pos x="499" y="609"/>
              </a:cxn>
            </a:cxnLst>
            <a:rect l="0" t="0" r="r" b="b"/>
            <a:pathLst>
              <a:path w="880" h="678">
                <a:moveTo>
                  <a:pt x="499" y="609"/>
                </a:moveTo>
                <a:cubicBezTo>
                  <a:pt x="400" y="561"/>
                  <a:pt x="362" y="550"/>
                  <a:pt x="349" y="563"/>
                </a:cubicBezTo>
                <a:cubicBezTo>
                  <a:pt x="318" y="592"/>
                  <a:pt x="310" y="587"/>
                  <a:pt x="264" y="509"/>
                </a:cubicBezTo>
                <a:cubicBezTo>
                  <a:pt x="235" y="459"/>
                  <a:pt x="187" y="413"/>
                  <a:pt x="112" y="363"/>
                </a:cubicBezTo>
                <a:lnTo>
                  <a:pt x="0" y="289"/>
                </a:lnTo>
                <a:lnTo>
                  <a:pt x="61" y="224"/>
                </a:lnTo>
                <a:cubicBezTo>
                  <a:pt x="94" y="187"/>
                  <a:pt x="146" y="129"/>
                  <a:pt x="176" y="96"/>
                </a:cubicBezTo>
                <a:cubicBezTo>
                  <a:pt x="258" y="6"/>
                  <a:pt x="277" y="0"/>
                  <a:pt x="370" y="30"/>
                </a:cubicBezTo>
                <a:lnTo>
                  <a:pt x="448" y="56"/>
                </a:lnTo>
                <a:lnTo>
                  <a:pt x="448" y="168"/>
                </a:lnTo>
                <a:cubicBezTo>
                  <a:pt x="448" y="262"/>
                  <a:pt x="456" y="291"/>
                  <a:pt x="498" y="366"/>
                </a:cubicBezTo>
                <a:cubicBezTo>
                  <a:pt x="525" y="414"/>
                  <a:pt x="552" y="457"/>
                  <a:pt x="560" y="461"/>
                </a:cubicBezTo>
                <a:cubicBezTo>
                  <a:pt x="566" y="465"/>
                  <a:pt x="624" y="443"/>
                  <a:pt x="686" y="413"/>
                </a:cubicBezTo>
                <a:cubicBezTo>
                  <a:pt x="750" y="382"/>
                  <a:pt x="805" y="358"/>
                  <a:pt x="808" y="358"/>
                </a:cubicBezTo>
                <a:cubicBezTo>
                  <a:pt x="811" y="358"/>
                  <a:pt x="829" y="387"/>
                  <a:pt x="846" y="422"/>
                </a:cubicBezTo>
                <a:lnTo>
                  <a:pt x="880" y="486"/>
                </a:lnTo>
                <a:lnTo>
                  <a:pt x="784" y="678"/>
                </a:lnTo>
                <a:lnTo>
                  <a:pt x="707" y="677"/>
                </a:lnTo>
                <a:cubicBezTo>
                  <a:pt x="653" y="675"/>
                  <a:pt x="595" y="657"/>
                  <a:pt x="499" y="609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6" name="Республика Саха (Якутия)"/>
          <p:cNvSpPr>
            <a:spLocks/>
          </p:cNvSpPr>
          <p:nvPr/>
        </p:nvSpPr>
        <p:spPr bwMode="auto">
          <a:xfrm>
            <a:off x="5293699" y="1552728"/>
            <a:ext cx="1993446" cy="2158107"/>
          </a:xfrm>
          <a:custGeom>
            <a:avLst/>
            <a:gdLst/>
            <a:ahLst/>
            <a:cxnLst>
              <a:cxn ang="0">
                <a:pos x="3029" y="7176"/>
              </a:cxn>
              <a:cxn ang="0">
                <a:pos x="2683" y="7111"/>
              </a:cxn>
              <a:cxn ang="0">
                <a:pos x="2322" y="7042"/>
              </a:cxn>
              <a:cxn ang="0">
                <a:pos x="2064" y="7651"/>
              </a:cxn>
              <a:cxn ang="0">
                <a:pos x="1586" y="7811"/>
              </a:cxn>
              <a:cxn ang="0">
                <a:pos x="1453" y="7397"/>
              </a:cxn>
              <a:cxn ang="0">
                <a:pos x="1298" y="6989"/>
              </a:cxn>
              <a:cxn ang="0">
                <a:pos x="1197" y="6683"/>
              </a:cxn>
              <a:cxn ang="0">
                <a:pos x="898" y="6317"/>
              </a:cxn>
              <a:cxn ang="0">
                <a:pos x="579" y="6083"/>
              </a:cxn>
              <a:cxn ang="0">
                <a:pos x="387" y="5855"/>
              </a:cxn>
              <a:cxn ang="0">
                <a:pos x="259" y="5410"/>
              </a:cxn>
              <a:cxn ang="0">
                <a:pos x="280" y="5066"/>
              </a:cxn>
              <a:cxn ang="0">
                <a:pos x="82" y="4383"/>
              </a:cxn>
              <a:cxn ang="0">
                <a:pos x="245" y="4123"/>
              </a:cxn>
              <a:cxn ang="0">
                <a:pos x="509" y="3603"/>
              </a:cxn>
              <a:cxn ang="0">
                <a:pos x="187" y="2779"/>
              </a:cxn>
              <a:cxn ang="0">
                <a:pos x="339" y="2568"/>
              </a:cxn>
              <a:cxn ang="0">
                <a:pos x="867" y="2415"/>
              </a:cxn>
              <a:cxn ang="0">
                <a:pos x="1455" y="2354"/>
              </a:cxn>
              <a:cxn ang="0">
                <a:pos x="1594" y="2005"/>
              </a:cxn>
              <a:cxn ang="0">
                <a:pos x="2021" y="2059"/>
              </a:cxn>
              <a:cxn ang="0">
                <a:pos x="2207" y="2368"/>
              </a:cxn>
              <a:cxn ang="0">
                <a:pos x="2691" y="2163"/>
              </a:cxn>
              <a:cxn ang="0">
                <a:pos x="3019" y="2051"/>
              </a:cxn>
              <a:cxn ang="0">
                <a:pos x="3339" y="1859"/>
              </a:cxn>
              <a:cxn ang="0">
                <a:pos x="3363" y="1573"/>
              </a:cxn>
              <a:cxn ang="0">
                <a:pos x="3931" y="815"/>
              </a:cxn>
              <a:cxn ang="0">
                <a:pos x="4167" y="891"/>
              </a:cxn>
              <a:cxn ang="0">
                <a:pos x="5027" y="221"/>
              </a:cxn>
              <a:cxn ang="0">
                <a:pos x="5503" y="165"/>
              </a:cxn>
              <a:cxn ang="0">
                <a:pos x="5821" y="63"/>
              </a:cxn>
              <a:cxn ang="0">
                <a:pos x="6195" y="277"/>
              </a:cxn>
              <a:cxn ang="0">
                <a:pos x="6035" y="701"/>
              </a:cxn>
              <a:cxn ang="0">
                <a:pos x="6344" y="976"/>
              </a:cxn>
              <a:cxn ang="0">
                <a:pos x="6624" y="1162"/>
              </a:cxn>
              <a:cxn ang="0">
                <a:pos x="6467" y="1383"/>
              </a:cxn>
              <a:cxn ang="0">
                <a:pos x="6269" y="1669"/>
              </a:cxn>
              <a:cxn ang="0">
                <a:pos x="6395" y="1992"/>
              </a:cxn>
              <a:cxn ang="0">
                <a:pos x="6498" y="2367"/>
              </a:cxn>
              <a:cxn ang="0">
                <a:pos x="6227" y="2632"/>
              </a:cxn>
              <a:cxn ang="0">
                <a:pos x="6223" y="2893"/>
              </a:cxn>
              <a:cxn ang="0">
                <a:pos x="6023" y="3112"/>
              </a:cxn>
              <a:cxn ang="0">
                <a:pos x="6341" y="3754"/>
              </a:cxn>
              <a:cxn ang="0">
                <a:pos x="5893" y="4122"/>
              </a:cxn>
              <a:cxn ang="0">
                <a:pos x="5789" y="4397"/>
              </a:cxn>
              <a:cxn ang="0">
                <a:pos x="5760" y="4661"/>
              </a:cxn>
              <a:cxn ang="0">
                <a:pos x="5994" y="5256"/>
              </a:cxn>
              <a:cxn ang="0">
                <a:pos x="5840" y="5536"/>
              </a:cxn>
              <a:cxn ang="0">
                <a:pos x="5592" y="5843"/>
              </a:cxn>
              <a:cxn ang="0">
                <a:pos x="5413" y="6407"/>
              </a:cxn>
              <a:cxn ang="0">
                <a:pos x="5490" y="6725"/>
              </a:cxn>
              <a:cxn ang="0">
                <a:pos x="5696" y="6947"/>
              </a:cxn>
              <a:cxn ang="0">
                <a:pos x="5515" y="7445"/>
              </a:cxn>
              <a:cxn ang="0">
                <a:pos x="4925" y="7760"/>
              </a:cxn>
              <a:cxn ang="0">
                <a:pos x="4450" y="7730"/>
              </a:cxn>
              <a:cxn ang="0">
                <a:pos x="3731" y="7853"/>
              </a:cxn>
            </a:cxnLst>
            <a:rect l="0" t="0" r="r" b="b"/>
            <a:pathLst>
              <a:path w="6624" h="7927">
                <a:moveTo>
                  <a:pt x="3507" y="7845"/>
                </a:moveTo>
                <a:cubicBezTo>
                  <a:pt x="3395" y="7760"/>
                  <a:pt x="3384" y="7744"/>
                  <a:pt x="3333" y="7607"/>
                </a:cubicBezTo>
                <a:cubicBezTo>
                  <a:pt x="3303" y="7530"/>
                  <a:pt x="3245" y="7447"/>
                  <a:pt x="3029" y="7176"/>
                </a:cubicBezTo>
                <a:lnTo>
                  <a:pt x="2986" y="7122"/>
                </a:lnTo>
                <a:lnTo>
                  <a:pt x="2784" y="7208"/>
                </a:lnTo>
                <a:lnTo>
                  <a:pt x="2683" y="7111"/>
                </a:lnTo>
                <a:lnTo>
                  <a:pt x="2581" y="7013"/>
                </a:lnTo>
                <a:lnTo>
                  <a:pt x="2464" y="7023"/>
                </a:lnTo>
                <a:cubicBezTo>
                  <a:pt x="2400" y="7029"/>
                  <a:pt x="2336" y="7037"/>
                  <a:pt x="2322" y="7042"/>
                </a:cubicBezTo>
                <a:cubicBezTo>
                  <a:pt x="2309" y="7045"/>
                  <a:pt x="2256" y="7133"/>
                  <a:pt x="2207" y="7235"/>
                </a:cubicBezTo>
                <a:cubicBezTo>
                  <a:pt x="2138" y="7378"/>
                  <a:pt x="2112" y="7448"/>
                  <a:pt x="2106" y="7523"/>
                </a:cubicBezTo>
                <a:cubicBezTo>
                  <a:pt x="2098" y="7592"/>
                  <a:pt x="2085" y="7632"/>
                  <a:pt x="2064" y="7651"/>
                </a:cubicBezTo>
                <a:cubicBezTo>
                  <a:pt x="2034" y="7679"/>
                  <a:pt x="2031" y="7677"/>
                  <a:pt x="1989" y="7624"/>
                </a:cubicBezTo>
                <a:cubicBezTo>
                  <a:pt x="1959" y="7587"/>
                  <a:pt x="1936" y="7573"/>
                  <a:pt x="1919" y="7581"/>
                </a:cubicBezTo>
                <a:cubicBezTo>
                  <a:pt x="1869" y="7599"/>
                  <a:pt x="1643" y="7755"/>
                  <a:pt x="1586" y="7811"/>
                </a:cubicBezTo>
                <a:lnTo>
                  <a:pt x="1528" y="7866"/>
                </a:lnTo>
                <a:lnTo>
                  <a:pt x="1479" y="7823"/>
                </a:lnTo>
                <a:cubicBezTo>
                  <a:pt x="1418" y="7773"/>
                  <a:pt x="1416" y="7760"/>
                  <a:pt x="1453" y="7397"/>
                </a:cubicBezTo>
                <a:cubicBezTo>
                  <a:pt x="1467" y="7256"/>
                  <a:pt x="1474" y="7131"/>
                  <a:pt x="1471" y="7120"/>
                </a:cubicBezTo>
                <a:cubicBezTo>
                  <a:pt x="1466" y="7109"/>
                  <a:pt x="1439" y="7095"/>
                  <a:pt x="1411" y="7088"/>
                </a:cubicBezTo>
                <a:cubicBezTo>
                  <a:pt x="1376" y="7080"/>
                  <a:pt x="1344" y="7051"/>
                  <a:pt x="1298" y="6989"/>
                </a:cubicBezTo>
                <a:cubicBezTo>
                  <a:pt x="1240" y="6911"/>
                  <a:pt x="1234" y="6893"/>
                  <a:pt x="1242" y="6839"/>
                </a:cubicBezTo>
                <a:cubicBezTo>
                  <a:pt x="1247" y="6807"/>
                  <a:pt x="1256" y="6767"/>
                  <a:pt x="1261" y="6754"/>
                </a:cubicBezTo>
                <a:cubicBezTo>
                  <a:pt x="1267" y="6736"/>
                  <a:pt x="1250" y="6715"/>
                  <a:pt x="1197" y="6683"/>
                </a:cubicBezTo>
                <a:cubicBezTo>
                  <a:pt x="1152" y="6656"/>
                  <a:pt x="1125" y="6627"/>
                  <a:pt x="1123" y="6610"/>
                </a:cubicBezTo>
                <a:cubicBezTo>
                  <a:pt x="1123" y="6576"/>
                  <a:pt x="1063" y="6464"/>
                  <a:pt x="1000" y="6379"/>
                </a:cubicBezTo>
                <a:cubicBezTo>
                  <a:pt x="973" y="6341"/>
                  <a:pt x="944" y="6325"/>
                  <a:pt x="898" y="6317"/>
                </a:cubicBezTo>
                <a:cubicBezTo>
                  <a:pt x="839" y="6307"/>
                  <a:pt x="835" y="6306"/>
                  <a:pt x="861" y="6279"/>
                </a:cubicBezTo>
                <a:cubicBezTo>
                  <a:pt x="882" y="6255"/>
                  <a:pt x="883" y="6240"/>
                  <a:pt x="869" y="6195"/>
                </a:cubicBezTo>
                <a:cubicBezTo>
                  <a:pt x="835" y="6096"/>
                  <a:pt x="818" y="6090"/>
                  <a:pt x="579" y="6083"/>
                </a:cubicBezTo>
                <a:lnTo>
                  <a:pt x="363" y="6080"/>
                </a:lnTo>
                <a:lnTo>
                  <a:pt x="359" y="6003"/>
                </a:lnTo>
                <a:cubicBezTo>
                  <a:pt x="355" y="5954"/>
                  <a:pt x="365" y="5904"/>
                  <a:pt x="387" y="5855"/>
                </a:cubicBezTo>
                <a:cubicBezTo>
                  <a:pt x="405" y="5813"/>
                  <a:pt x="419" y="5765"/>
                  <a:pt x="419" y="5749"/>
                </a:cubicBezTo>
                <a:cubicBezTo>
                  <a:pt x="419" y="5731"/>
                  <a:pt x="386" y="5671"/>
                  <a:pt x="346" y="5615"/>
                </a:cubicBezTo>
                <a:cubicBezTo>
                  <a:pt x="287" y="5531"/>
                  <a:pt x="271" y="5493"/>
                  <a:pt x="259" y="5410"/>
                </a:cubicBezTo>
                <a:cubicBezTo>
                  <a:pt x="242" y="5293"/>
                  <a:pt x="231" y="5256"/>
                  <a:pt x="210" y="5256"/>
                </a:cubicBezTo>
                <a:cubicBezTo>
                  <a:pt x="173" y="5256"/>
                  <a:pt x="181" y="5205"/>
                  <a:pt x="229" y="5139"/>
                </a:cubicBezTo>
                <a:lnTo>
                  <a:pt x="280" y="5066"/>
                </a:lnTo>
                <a:lnTo>
                  <a:pt x="221" y="4765"/>
                </a:lnTo>
                <a:lnTo>
                  <a:pt x="163" y="4464"/>
                </a:lnTo>
                <a:lnTo>
                  <a:pt x="82" y="4383"/>
                </a:lnTo>
                <a:lnTo>
                  <a:pt x="0" y="4299"/>
                </a:lnTo>
                <a:lnTo>
                  <a:pt x="91" y="4208"/>
                </a:lnTo>
                <a:cubicBezTo>
                  <a:pt x="178" y="4122"/>
                  <a:pt x="187" y="4117"/>
                  <a:pt x="245" y="4123"/>
                </a:cubicBezTo>
                <a:cubicBezTo>
                  <a:pt x="330" y="4136"/>
                  <a:pt x="347" y="4107"/>
                  <a:pt x="370" y="3928"/>
                </a:cubicBezTo>
                <a:cubicBezTo>
                  <a:pt x="381" y="3843"/>
                  <a:pt x="394" y="3763"/>
                  <a:pt x="399" y="3747"/>
                </a:cubicBezTo>
                <a:cubicBezTo>
                  <a:pt x="402" y="3731"/>
                  <a:pt x="453" y="3666"/>
                  <a:pt x="509" y="3603"/>
                </a:cubicBezTo>
                <a:cubicBezTo>
                  <a:pt x="565" y="3539"/>
                  <a:pt x="611" y="3475"/>
                  <a:pt x="611" y="3461"/>
                </a:cubicBezTo>
                <a:cubicBezTo>
                  <a:pt x="611" y="3416"/>
                  <a:pt x="365" y="3059"/>
                  <a:pt x="291" y="2995"/>
                </a:cubicBezTo>
                <a:cubicBezTo>
                  <a:pt x="226" y="2939"/>
                  <a:pt x="219" y="2927"/>
                  <a:pt x="187" y="2779"/>
                </a:cubicBezTo>
                <a:cubicBezTo>
                  <a:pt x="168" y="2695"/>
                  <a:pt x="155" y="2613"/>
                  <a:pt x="159" y="2600"/>
                </a:cubicBezTo>
                <a:cubicBezTo>
                  <a:pt x="165" y="2575"/>
                  <a:pt x="263" y="2504"/>
                  <a:pt x="291" y="2504"/>
                </a:cubicBezTo>
                <a:cubicBezTo>
                  <a:pt x="299" y="2504"/>
                  <a:pt x="322" y="2533"/>
                  <a:pt x="339" y="2568"/>
                </a:cubicBezTo>
                <a:cubicBezTo>
                  <a:pt x="383" y="2653"/>
                  <a:pt x="419" y="2651"/>
                  <a:pt x="464" y="2560"/>
                </a:cubicBezTo>
                <a:cubicBezTo>
                  <a:pt x="507" y="2471"/>
                  <a:pt x="541" y="2450"/>
                  <a:pt x="706" y="2408"/>
                </a:cubicBezTo>
                <a:cubicBezTo>
                  <a:pt x="840" y="2376"/>
                  <a:pt x="867" y="2376"/>
                  <a:pt x="867" y="2415"/>
                </a:cubicBezTo>
                <a:cubicBezTo>
                  <a:pt x="867" y="2448"/>
                  <a:pt x="962" y="2520"/>
                  <a:pt x="1005" y="2520"/>
                </a:cubicBezTo>
                <a:cubicBezTo>
                  <a:pt x="1026" y="2520"/>
                  <a:pt x="1128" y="2485"/>
                  <a:pt x="1232" y="2442"/>
                </a:cubicBezTo>
                <a:cubicBezTo>
                  <a:pt x="1335" y="2399"/>
                  <a:pt x="1435" y="2359"/>
                  <a:pt x="1455" y="2354"/>
                </a:cubicBezTo>
                <a:cubicBezTo>
                  <a:pt x="1507" y="2336"/>
                  <a:pt x="1511" y="2303"/>
                  <a:pt x="1467" y="2205"/>
                </a:cubicBezTo>
                <a:cubicBezTo>
                  <a:pt x="1421" y="2103"/>
                  <a:pt x="1419" y="2074"/>
                  <a:pt x="1450" y="2031"/>
                </a:cubicBezTo>
                <a:cubicBezTo>
                  <a:pt x="1469" y="2005"/>
                  <a:pt x="1490" y="2002"/>
                  <a:pt x="1594" y="2005"/>
                </a:cubicBezTo>
                <a:cubicBezTo>
                  <a:pt x="1711" y="2010"/>
                  <a:pt x="1719" y="2008"/>
                  <a:pt x="1773" y="1960"/>
                </a:cubicBezTo>
                <a:cubicBezTo>
                  <a:pt x="1803" y="1935"/>
                  <a:pt x="1835" y="1912"/>
                  <a:pt x="1842" y="1912"/>
                </a:cubicBezTo>
                <a:cubicBezTo>
                  <a:pt x="1850" y="1912"/>
                  <a:pt x="1930" y="1978"/>
                  <a:pt x="2021" y="2059"/>
                </a:cubicBezTo>
                <a:cubicBezTo>
                  <a:pt x="2147" y="2175"/>
                  <a:pt x="2178" y="2208"/>
                  <a:pt x="2154" y="2213"/>
                </a:cubicBezTo>
                <a:cubicBezTo>
                  <a:pt x="2120" y="2219"/>
                  <a:pt x="2083" y="2245"/>
                  <a:pt x="2083" y="2264"/>
                </a:cubicBezTo>
                <a:cubicBezTo>
                  <a:pt x="2083" y="2271"/>
                  <a:pt x="2139" y="2317"/>
                  <a:pt x="2207" y="2368"/>
                </a:cubicBezTo>
                <a:cubicBezTo>
                  <a:pt x="2315" y="2450"/>
                  <a:pt x="2359" y="2471"/>
                  <a:pt x="2546" y="2531"/>
                </a:cubicBezTo>
                <a:cubicBezTo>
                  <a:pt x="2832" y="2623"/>
                  <a:pt x="2834" y="2621"/>
                  <a:pt x="2751" y="2371"/>
                </a:cubicBezTo>
                <a:cubicBezTo>
                  <a:pt x="2719" y="2272"/>
                  <a:pt x="2691" y="2178"/>
                  <a:pt x="2691" y="2163"/>
                </a:cubicBezTo>
                <a:cubicBezTo>
                  <a:pt x="2691" y="2141"/>
                  <a:pt x="2712" y="2138"/>
                  <a:pt x="2840" y="2141"/>
                </a:cubicBezTo>
                <a:lnTo>
                  <a:pt x="2987" y="2144"/>
                </a:lnTo>
                <a:lnTo>
                  <a:pt x="3019" y="2051"/>
                </a:lnTo>
                <a:cubicBezTo>
                  <a:pt x="3037" y="2002"/>
                  <a:pt x="3061" y="1957"/>
                  <a:pt x="3074" y="1952"/>
                </a:cubicBezTo>
                <a:cubicBezTo>
                  <a:pt x="3087" y="1947"/>
                  <a:pt x="3141" y="1938"/>
                  <a:pt x="3194" y="1933"/>
                </a:cubicBezTo>
                <a:cubicBezTo>
                  <a:pt x="3320" y="1920"/>
                  <a:pt x="3351" y="1904"/>
                  <a:pt x="3339" y="1859"/>
                </a:cubicBezTo>
                <a:cubicBezTo>
                  <a:pt x="3331" y="1832"/>
                  <a:pt x="3347" y="1808"/>
                  <a:pt x="3403" y="1754"/>
                </a:cubicBezTo>
                <a:cubicBezTo>
                  <a:pt x="3443" y="1715"/>
                  <a:pt x="3475" y="1679"/>
                  <a:pt x="3475" y="1671"/>
                </a:cubicBezTo>
                <a:cubicBezTo>
                  <a:pt x="3475" y="1663"/>
                  <a:pt x="3426" y="1618"/>
                  <a:pt x="3363" y="1573"/>
                </a:cubicBezTo>
                <a:cubicBezTo>
                  <a:pt x="3248" y="1490"/>
                  <a:pt x="3242" y="1480"/>
                  <a:pt x="3231" y="1347"/>
                </a:cubicBezTo>
                <a:cubicBezTo>
                  <a:pt x="3223" y="1258"/>
                  <a:pt x="3229" y="1248"/>
                  <a:pt x="3360" y="1175"/>
                </a:cubicBezTo>
                <a:cubicBezTo>
                  <a:pt x="3648" y="1011"/>
                  <a:pt x="3835" y="895"/>
                  <a:pt x="3931" y="815"/>
                </a:cubicBezTo>
                <a:cubicBezTo>
                  <a:pt x="4029" y="735"/>
                  <a:pt x="4047" y="727"/>
                  <a:pt x="4106" y="731"/>
                </a:cubicBezTo>
                <a:cubicBezTo>
                  <a:pt x="4176" y="736"/>
                  <a:pt x="4175" y="733"/>
                  <a:pt x="4152" y="842"/>
                </a:cubicBezTo>
                <a:cubicBezTo>
                  <a:pt x="4147" y="867"/>
                  <a:pt x="4152" y="887"/>
                  <a:pt x="4167" y="891"/>
                </a:cubicBezTo>
                <a:cubicBezTo>
                  <a:pt x="4189" y="899"/>
                  <a:pt x="4704" y="791"/>
                  <a:pt x="4736" y="770"/>
                </a:cubicBezTo>
                <a:cubicBezTo>
                  <a:pt x="4747" y="763"/>
                  <a:pt x="4816" y="637"/>
                  <a:pt x="4891" y="490"/>
                </a:cubicBezTo>
                <a:lnTo>
                  <a:pt x="5027" y="221"/>
                </a:lnTo>
                <a:lnTo>
                  <a:pt x="5155" y="154"/>
                </a:lnTo>
                <a:cubicBezTo>
                  <a:pt x="5282" y="88"/>
                  <a:pt x="5285" y="88"/>
                  <a:pt x="5375" y="104"/>
                </a:cubicBezTo>
                <a:cubicBezTo>
                  <a:pt x="5443" y="117"/>
                  <a:pt x="5475" y="133"/>
                  <a:pt x="5503" y="165"/>
                </a:cubicBezTo>
                <a:cubicBezTo>
                  <a:pt x="5522" y="189"/>
                  <a:pt x="5539" y="215"/>
                  <a:pt x="5539" y="221"/>
                </a:cubicBezTo>
                <a:cubicBezTo>
                  <a:pt x="5539" y="226"/>
                  <a:pt x="5554" y="235"/>
                  <a:pt x="5571" y="242"/>
                </a:cubicBezTo>
                <a:cubicBezTo>
                  <a:pt x="5619" y="256"/>
                  <a:pt x="5792" y="133"/>
                  <a:pt x="5821" y="63"/>
                </a:cubicBezTo>
                <a:cubicBezTo>
                  <a:pt x="5848" y="0"/>
                  <a:pt x="5845" y="0"/>
                  <a:pt x="6008" y="66"/>
                </a:cubicBezTo>
                <a:cubicBezTo>
                  <a:pt x="6104" y="104"/>
                  <a:pt x="6227" y="192"/>
                  <a:pt x="6227" y="219"/>
                </a:cubicBezTo>
                <a:cubicBezTo>
                  <a:pt x="6227" y="229"/>
                  <a:pt x="6213" y="255"/>
                  <a:pt x="6195" y="277"/>
                </a:cubicBezTo>
                <a:cubicBezTo>
                  <a:pt x="6178" y="299"/>
                  <a:pt x="6163" y="339"/>
                  <a:pt x="6163" y="365"/>
                </a:cubicBezTo>
                <a:cubicBezTo>
                  <a:pt x="6163" y="421"/>
                  <a:pt x="6143" y="463"/>
                  <a:pt x="6082" y="535"/>
                </a:cubicBezTo>
                <a:cubicBezTo>
                  <a:pt x="6040" y="581"/>
                  <a:pt x="6035" y="597"/>
                  <a:pt x="6035" y="701"/>
                </a:cubicBezTo>
                <a:cubicBezTo>
                  <a:pt x="6035" y="799"/>
                  <a:pt x="6042" y="824"/>
                  <a:pt x="6067" y="847"/>
                </a:cubicBezTo>
                <a:cubicBezTo>
                  <a:pt x="6085" y="863"/>
                  <a:pt x="6103" y="888"/>
                  <a:pt x="6107" y="904"/>
                </a:cubicBezTo>
                <a:cubicBezTo>
                  <a:pt x="6123" y="955"/>
                  <a:pt x="6231" y="989"/>
                  <a:pt x="6344" y="976"/>
                </a:cubicBezTo>
                <a:lnTo>
                  <a:pt x="6447" y="965"/>
                </a:lnTo>
                <a:lnTo>
                  <a:pt x="6535" y="1063"/>
                </a:lnTo>
                <a:lnTo>
                  <a:pt x="6624" y="1162"/>
                </a:lnTo>
                <a:lnTo>
                  <a:pt x="6605" y="1245"/>
                </a:lnTo>
                <a:cubicBezTo>
                  <a:pt x="6587" y="1322"/>
                  <a:pt x="6583" y="1328"/>
                  <a:pt x="6531" y="1336"/>
                </a:cubicBezTo>
                <a:cubicBezTo>
                  <a:pt x="6490" y="1343"/>
                  <a:pt x="6475" y="1354"/>
                  <a:pt x="6467" y="1383"/>
                </a:cubicBezTo>
                <a:cubicBezTo>
                  <a:pt x="6461" y="1410"/>
                  <a:pt x="6418" y="1448"/>
                  <a:pt x="6336" y="1503"/>
                </a:cubicBezTo>
                <a:cubicBezTo>
                  <a:pt x="6267" y="1547"/>
                  <a:pt x="6213" y="1594"/>
                  <a:pt x="6213" y="1608"/>
                </a:cubicBezTo>
                <a:cubicBezTo>
                  <a:pt x="6211" y="1621"/>
                  <a:pt x="6237" y="1648"/>
                  <a:pt x="6269" y="1669"/>
                </a:cubicBezTo>
                <a:cubicBezTo>
                  <a:pt x="6315" y="1699"/>
                  <a:pt x="6325" y="1712"/>
                  <a:pt x="6315" y="1741"/>
                </a:cubicBezTo>
                <a:cubicBezTo>
                  <a:pt x="6285" y="1839"/>
                  <a:pt x="6287" y="1845"/>
                  <a:pt x="6346" y="1882"/>
                </a:cubicBezTo>
                <a:cubicBezTo>
                  <a:pt x="6402" y="1919"/>
                  <a:pt x="6405" y="1922"/>
                  <a:pt x="6395" y="1992"/>
                </a:cubicBezTo>
                <a:cubicBezTo>
                  <a:pt x="6386" y="2064"/>
                  <a:pt x="6387" y="2067"/>
                  <a:pt x="6474" y="2160"/>
                </a:cubicBezTo>
                <a:cubicBezTo>
                  <a:pt x="6523" y="2213"/>
                  <a:pt x="6563" y="2264"/>
                  <a:pt x="6563" y="2274"/>
                </a:cubicBezTo>
                <a:cubicBezTo>
                  <a:pt x="6563" y="2283"/>
                  <a:pt x="6535" y="2325"/>
                  <a:pt x="6498" y="2367"/>
                </a:cubicBezTo>
                <a:cubicBezTo>
                  <a:pt x="6442" y="2429"/>
                  <a:pt x="6434" y="2448"/>
                  <a:pt x="6439" y="2498"/>
                </a:cubicBezTo>
                <a:cubicBezTo>
                  <a:pt x="6445" y="2554"/>
                  <a:pt x="6445" y="2554"/>
                  <a:pt x="6392" y="2544"/>
                </a:cubicBezTo>
                <a:cubicBezTo>
                  <a:pt x="6343" y="2535"/>
                  <a:pt x="6328" y="2543"/>
                  <a:pt x="6227" y="2632"/>
                </a:cubicBezTo>
                <a:cubicBezTo>
                  <a:pt x="6165" y="2687"/>
                  <a:pt x="6115" y="2739"/>
                  <a:pt x="6115" y="2751"/>
                </a:cubicBezTo>
                <a:cubicBezTo>
                  <a:pt x="6115" y="2760"/>
                  <a:pt x="6141" y="2794"/>
                  <a:pt x="6171" y="2824"/>
                </a:cubicBezTo>
                <a:cubicBezTo>
                  <a:pt x="6203" y="2855"/>
                  <a:pt x="6226" y="2885"/>
                  <a:pt x="6223" y="2893"/>
                </a:cubicBezTo>
                <a:cubicBezTo>
                  <a:pt x="6221" y="2899"/>
                  <a:pt x="6176" y="2930"/>
                  <a:pt x="6123" y="2957"/>
                </a:cubicBezTo>
                <a:lnTo>
                  <a:pt x="6027" y="3008"/>
                </a:lnTo>
                <a:lnTo>
                  <a:pt x="6023" y="3112"/>
                </a:lnTo>
                <a:cubicBezTo>
                  <a:pt x="6016" y="3259"/>
                  <a:pt x="6079" y="3391"/>
                  <a:pt x="6218" y="3523"/>
                </a:cubicBezTo>
                <a:lnTo>
                  <a:pt x="6319" y="3621"/>
                </a:lnTo>
                <a:lnTo>
                  <a:pt x="6341" y="3754"/>
                </a:lnTo>
                <a:cubicBezTo>
                  <a:pt x="6373" y="3944"/>
                  <a:pt x="6376" y="3936"/>
                  <a:pt x="6285" y="3936"/>
                </a:cubicBezTo>
                <a:cubicBezTo>
                  <a:pt x="6207" y="3936"/>
                  <a:pt x="6205" y="3936"/>
                  <a:pt x="6168" y="4010"/>
                </a:cubicBezTo>
                <a:cubicBezTo>
                  <a:pt x="6122" y="4103"/>
                  <a:pt x="6067" y="4125"/>
                  <a:pt x="5893" y="4122"/>
                </a:cubicBezTo>
                <a:cubicBezTo>
                  <a:pt x="5775" y="4119"/>
                  <a:pt x="5770" y="4120"/>
                  <a:pt x="5743" y="4165"/>
                </a:cubicBezTo>
                <a:cubicBezTo>
                  <a:pt x="5728" y="4192"/>
                  <a:pt x="5715" y="4223"/>
                  <a:pt x="5715" y="4235"/>
                </a:cubicBezTo>
                <a:cubicBezTo>
                  <a:pt x="5715" y="4248"/>
                  <a:pt x="5749" y="4320"/>
                  <a:pt x="5789" y="4397"/>
                </a:cubicBezTo>
                <a:lnTo>
                  <a:pt x="5861" y="4536"/>
                </a:lnTo>
                <a:lnTo>
                  <a:pt x="5811" y="4599"/>
                </a:lnTo>
                <a:lnTo>
                  <a:pt x="5760" y="4661"/>
                </a:lnTo>
                <a:lnTo>
                  <a:pt x="5786" y="4781"/>
                </a:lnTo>
                <a:cubicBezTo>
                  <a:pt x="5808" y="4895"/>
                  <a:pt x="5819" y="4914"/>
                  <a:pt x="5939" y="5066"/>
                </a:cubicBezTo>
                <a:cubicBezTo>
                  <a:pt x="6071" y="5232"/>
                  <a:pt x="6077" y="5255"/>
                  <a:pt x="5994" y="5256"/>
                </a:cubicBezTo>
                <a:cubicBezTo>
                  <a:pt x="5957" y="5256"/>
                  <a:pt x="5939" y="5312"/>
                  <a:pt x="5939" y="5440"/>
                </a:cubicBezTo>
                <a:lnTo>
                  <a:pt x="5939" y="5504"/>
                </a:lnTo>
                <a:lnTo>
                  <a:pt x="5840" y="5536"/>
                </a:lnTo>
                <a:lnTo>
                  <a:pt x="5739" y="5568"/>
                </a:lnTo>
                <a:lnTo>
                  <a:pt x="5749" y="5760"/>
                </a:lnTo>
                <a:lnTo>
                  <a:pt x="5592" y="5843"/>
                </a:lnTo>
                <a:lnTo>
                  <a:pt x="5435" y="5925"/>
                </a:lnTo>
                <a:lnTo>
                  <a:pt x="5442" y="6157"/>
                </a:lnTo>
                <a:cubicBezTo>
                  <a:pt x="5447" y="6379"/>
                  <a:pt x="5445" y="6389"/>
                  <a:pt x="5413" y="6407"/>
                </a:cubicBezTo>
                <a:cubicBezTo>
                  <a:pt x="5362" y="6434"/>
                  <a:pt x="5373" y="6466"/>
                  <a:pt x="5448" y="6507"/>
                </a:cubicBezTo>
                <a:cubicBezTo>
                  <a:pt x="5519" y="6547"/>
                  <a:pt x="5519" y="6549"/>
                  <a:pt x="5501" y="6659"/>
                </a:cubicBezTo>
                <a:lnTo>
                  <a:pt x="5490" y="6725"/>
                </a:lnTo>
                <a:lnTo>
                  <a:pt x="5594" y="6786"/>
                </a:lnTo>
                <a:cubicBezTo>
                  <a:pt x="5651" y="6819"/>
                  <a:pt x="5703" y="6856"/>
                  <a:pt x="5707" y="6869"/>
                </a:cubicBezTo>
                <a:cubicBezTo>
                  <a:pt x="5712" y="6882"/>
                  <a:pt x="5707" y="6917"/>
                  <a:pt x="5696" y="6947"/>
                </a:cubicBezTo>
                <a:cubicBezTo>
                  <a:pt x="5679" y="6994"/>
                  <a:pt x="5682" y="7021"/>
                  <a:pt x="5712" y="7139"/>
                </a:cubicBezTo>
                <a:cubicBezTo>
                  <a:pt x="5752" y="7296"/>
                  <a:pt x="5749" y="7307"/>
                  <a:pt x="5643" y="7335"/>
                </a:cubicBezTo>
                <a:cubicBezTo>
                  <a:pt x="5583" y="7349"/>
                  <a:pt x="5567" y="7363"/>
                  <a:pt x="5515" y="7445"/>
                </a:cubicBezTo>
                <a:cubicBezTo>
                  <a:pt x="5461" y="7533"/>
                  <a:pt x="5453" y="7541"/>
                  <a:pt x="5367" y="7560"/>
                </a:cubicBezTo>
                <a:cubicBezTo>
                  <a:pt x="5307" y="7575"/>
                  <a:pt x="5229" y="7615"/>
                  <a:pt x="5136" y="7677"/>
                </a:cubicBezTo>
                <a:cubicBezTo>
                  <a:pt x="5003" y="7767"/>
                  <a:pt x="4991" y="7771"/>
                  <a:pt x="4925" y="7760"/>
                </a:cubicBezTo>
                <a:cubicBezTo>
                  <a:pt x="4871" y="7752"/>
                  <a:pt x="4837" y="7759"/>
                  <a:pt x="4763" y="7791"/>
                </a:cubicBezTo>
                <a:cubicBezTo>
                  <a:pt x="4647" y="7843"/>
                  <a:pt x="4631" y="7842"/>
                  <a:pt x="4531" y="7781"/>
                </a:cubicBezTo>
                <a:lnTo>
                  <a:pt x="4450" y="7730"/>
                </a:lnTo>
                <a:lnTo>
                  <a:pt x="4317" y="7773"/>
                </a:lnTo>
                <a:cubicBezTo>
                  <a:pt x="4173" y="7819"/>
                  <a:pt x="4021" y="7829"/>
                  <a:pt x="3903" y="7797"/>
                </a:cubicBezTo>
                <a:cubicBezTo>
                  <a:pt x="3835" y="7779"/>
                  <a:pt x="3832" y="7779"/>
                  <a:pt x="3731" y="7853"/>
                </a:cubicBezTo>
                <a:cubicBezTo>
                  <a:pt x="3675" y="7895"/>
                  <a:pt x="3626" y="7927"/>
                  <a:pt x="3621" y="7927"/>
                </a:cubicBezTo>
                <a:cubicBezTo>
                  <a:pt x="3616" y="7927"/>
                  <a:pt x="3565" y="7890"/>
                  <a:pt x="3507" y="7845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7" name="Северная Осетия-Алания"/>
          <p:cNvSpPr>
            <a:spLocks/>
          </p:cNvSpPr>
          <p:nvPr/>
        </p:nvSpPr>
        <p:spPr bwMode="auto">
          <a:xfrm>
            <a:off x="1086257" y="4337383"/>
            <a:ext cx="95216" cy="65265"/>
          </a:xfrm>
          <a:custGeom>
            <a:avLst/>
            <a:gdLst/>
            <a:ahLst/>
            <a:cxnLst>
              <a:cxn ang="0">
                <a:pos x="158" y="210"/>
              </a:cxn>
              <a:cxn ang="0">
                <a:pos x="8" y="71"/>
              </a:cxn>
              <a:cxn ang="0">
                <a:pos x="81" y="16"/>
              </a:cxn>
              <a:cxn ang="0">
                <a:pos x="238" y="2"/>
              </a:cxn>
              <a:cxn ang="0">
                <a:pos x="310" y="8"/>
              </a:cxn>
              <a:cxn ang="0">
                <a:pos x="315" y="101"/>
              </a:cxn>
              <a:cxn ang="0">
                <a:pos x="272" y="239"/>
              </a:cxn>
              <a:cxn ang="0">
                <a:pos x="158" y="210"/>
              </a:cxn>
            </a:cxnLst>
            <a:rect l="0" t="0" r="r" b="b"/>
            <a:pathLst>
              <a:path w="320" h="243">
                <a:moveTo>
                  <a:pt x="158" y="210"/>
                </a:moveTo>
                <a:cubicBezTo>
                  <a:pt x="52" y="183"/>
                  <a:pt x="36" y="167"/>
                  <a:pt x="8" y="71"/>
                </a:cubicBezTo>
                <a:cubicBezTo>
                  <a:pt x="0" y="40"/>
                  <a:pt x="8" y="34"/>
                  <a:pt x="81" y="16"/>
                </a:cubicBezTo>
                <a:cubicBezTo>
                  <a:pt x="128" y="7"/>
                  <a:pt x="198" y="0"/>
                  <a:pt x="238" y="2"/>
                </a:cubicBezTo>
                <a:lnTo>
                  <a:pt x="310" y="8"/>
                </a:lnTo>
                <a:lnTo>
                  <a:pt x="315" y="101"/>
                </a:lnTo>
                <a:cubicBezTo>
                  <a:pt x="320" y="186"/>
                  <a:pt x="302" y="243"/>
                  <a:pt x="272" y="239"/>
                </a:cubicBezTo>
                <a:cubicBezTo>
                  <a:pt x="267" y="237"/>
                  <a:pt x="216" y="224"/>
                  <a:pt x="158" y="21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8" name="Республика Татарстан"/>
          <p:cNvSpPr>
            <a:spLocks/>
          </p:cNvSpPr>
          <p:nvPr/>
        </p:nvSpPr>
        <p:spPr bwMode="auto">
          <a:xfrm>
            <a:off x="2086137" y="3467178"/>
            <a:ext cx="417402" cy="308923"/>
          </a:xfrm>
          <a:custGeom>
            <a:avLst/>
            <a:gdLst/>
            <a:ahLst/>
            <a:cxnLst>
              <a:cxn ang="0">
                <a:pos x="912" y="1036"/>
              </a:cxn>
              <a:cxn ang="0">
                <a:pos x="832" y="949"/>
              </a:cxn>
              <a:cxn ang="0">
                <a:pos x="784" y="818"/>
              </a:cxn>
              <a:cxn ang="0">
                <a:pos x="656" y="717"/>
              </a:cxn>
              <a:cxn ang="0">
                <a:pos x="595" y="749"/>
              </a:cxn>
              <a:cxn ang="0">
                <a:pos x="552" y="783"/>
              </a:cxn>
              <a:cxn ang="0">
                <a:pos x="517" y="738"/>
              </a:cxn>
              <a:cxn ang="0">
                <a:pos x="480" y="676"/>
              </a:cxn>
              <a:cxn ang="0">
                <a:pos x="443" y="623"/>
              </a:cxn>
              <a:cxn ang="0">
                <a:pos x="386" y="524"/>
              </a:cxn>
              <a:cxn ang="0">
                <a:pos x="315" y="461"/>
              </a:cxn>
              <a:cxn ang="0">
                <a:pos x="203" y="394"/>
              </a:cxn>
              <a:cxn ang="0">
                <a:pos x="93" y="346"/>
              </a:cxn>
              <a:cxn ang="0">
                <a:pos x="3" y="317"/>
              </a:cxn>
              <a:cxn ang="0">
                <a:pos x="43" y="292"/>
              </a:cxn>
              <a:cxn ang="0">
                <a:pos x="165" y="288"/>
              </a:cxn>
              <a:cxn ang="0">
                <a:pos x="243" y="285"/>
              </a:cxn>
              <a:cxn ang="0">
                <a:pos x="237" y="218"/>
              </a:cxn>
              <a:cxn ang="0">
                <a:pos x="232" y="151"/>
              </a:cxn>
              <a:cxn ang="0">
                <a:pos x="320" y="122"/>
              </a:cxn>
              <a:cxn ang="0">
                <a:pos x="555" y="47"/>
              </a:cxn>
              <a:cxn ang="0">
                <a:pos x="701" y="0"/>
              </a:cxn>
              <a:cxn ang="0">
                <a:pos x="758" y="39"/>
              </a:cxn>
              <a:cxn ang="0">
                <a:pos x="854" y="68"/>
              </a:cxn>
              <a:cxn ang="0">
                <a:pos x="938" y="276"/>
              </a:cxn>
              <a:cxn ang="0">
                <a:pos x="1022" y="484"/>
              </a:cxn>
              <a:cxn ang="0">
                <a:pos x="1176" y="445"/>
              </a:cxn>
              <a:cxn ang="0">
                <a:pos x="1330" y="405"/>
              </a:cxn>
              <a:cxn ang="0">
                <a:pos x="1296" y="530"/>
              </a:cxn>
              <a:cxn ang="0">
                <a:pos x="1288" y="628"/>
              </a:cxn>
              <a:cxn ang="0">
                <a:pos x="1344" y="730"/>
              </a:cxn>
              <a:cxn ang="0">
                <a:pos x="1224" y="772"/>
              </a:cxn>
              <a:cxn ang="0">
                <a:pos x="1128" y="805"/>
              </a:cxn>
              <a:cxn ang="0">
                <a:pos x="1120" y="879"/>
              </a:cxn>
              <a:cxn ang="0">
                <a:pos x="1051" y="1044"/>
              </a:cxn>
              <a:cxn ang="0">
                <a:pos x="984" y="1133"/>
              </a:cxn>
              <a:cxn ang="0">
                <a:pos x="912" y="1036"/>
              </a:cxn>
            </a:cxnLst>
            <a:rect l="0" t="0" r="r" b="b"/>
            <a:pathLst>
              <a:path w="1381" h="1133">
                <a:moveTo>
                  <a:pt x="912" y="1036"/>
                </a:moveTo>
                <a:cubicBezTo>
                  <a:pt x="875" y="983"/>
                  <a:pt x="840" y="944"/>
                  <a:pt x="832" y="949"/>
                </a:cubicBezTo>
                <a:cubicBezTo>
                  <a:pt x="819" y="957"/>
                  <a:pt x="784" y="863"/>
                  <a:pt x="784" y="818"/>
                </a:cubicBezTo>
                <a:cubicBezTo>
                  <a:pt x="784" y="797"/>
                  <a:pt x="683" y="717"/>
                  <a:pt x="656" y="717"/>
                </a:cubicBezTo>
                <a:cubicBezTo>
                  <a:pt x="645" y="717"/>
                  <a:pt x="618" y="732"/>
                  <a:pt x="595" y="749"/>
                </a:cubicBezTo>
                <a:lnTo>
                  <a:pt x="552" y="783"/>
                </a:lnTo>
                <a:lnTo>
                  <a:pt x="517" y="738"/>
                </a:lnTo>
                <a:cubicBezTo>
                  <a:pt x="496" y="712"/>
                  <a:pt x="480" y="685"/>
                  <a:pt x="480" y="676"/>
                </a:cubicBezTo>
                <a:cubicBezTo>
                  <a:pt x="480" y="666"/>
                  <a:pt x="462" y="642"/>
                  <a:pt x="443" y="623"/>
                </a:cubicBezTo>
                <a:cubicBezTo>
                  <a:pt x="422" y="604"/>
                  <a:pt x="397" y="559"/>
                  <a:pt x="386" y="524"/>
                </a:cubicBezTo>
                <a:cubicBezTo>
                  <a:pt x="370" y="468"/>
                  <a:pt x="362" y="461"/>
                  <a:pt x="315" y="461"/>
                </a:cubicBezTo>
                <a:cubicBezTo>
                  <a:pt x="256" y="460"/>
                  <a:pt x="240" y="452"/>
                  <a:pt x="203" y="394"/>
                </a:cubicBezTo>
                <a:cubicBezTo>
                  <a:pt x="181" y="357"/>
                  <a:pt x="163" y="349"/>
                  <a:pt x="93" y="346"/>
                </a:cubicBezTo>
                <a:cubicBezTo>
                  <a:pt x="34" y="343"/>
                  <a:pt x="6" y="333"/>
                  <a:pt x="3" y="317"/>
                </a:cubicBezTo>
                <a:cubicBezTo>
                  <a:pt x="0" y="300"/>
                  <a:pt x="13" y="292"/>
                  <a:pt x="43" y="292"/>
                </a:cubicBezTo>
                <a:cubicBezTo>
                  <a:pt x="69" y="292"/>
                  <a:pt x="123" y="290"/>
                  <a:pt x="165" y="288"/>
                </a:cubicBezTo>
                <a:lnTo>
                  <a:pt x="243" y="285"/>
                </a:lnTo>
                <a:lnTo>
                  <a:pt x="237" y="218"/>
                </a:lnTo>
                <a:lnTo>
                  <a:pt x="232" y="151"/>
                </a:lnTo>
                <a:lnTo>
                  <a:pt x="320" y="122"/>
                </a:lnTo>
                <a:cubicBezTo>
                  <a:pt x="368" y="106"/>
                  <a:pt x="474" y="72"/>
                  <a:pt x="555" y="47"/>
                </a:cubicBezTo>
                <a:lnTo>
                  <a:pt x="701" y="0"/>
                </a:lnTo>
                <a:lnTo>
                  <a:pt x="758" y="39"/>
                </a:lnTo>
                <a:cubicBezTo>
                  <a:pt x="797" y="66"/>
                  <a:pt x="827" y="74"/>
                  <a:pt x="854" y="68"/>
                </a:cubicBezTo>
                <a:cubicBezTo>
                  <a:pt x="896" y="58"/>
                  <a:pt x="899" y="64"/>
                  <a:pt x="938" y="276"/>
                </a:cubicBezTo>
                <a:cubicBezTo>
                  <a:pt x="950" y="346"/>
                  <a:pt x="1002" y="471"/>
                  <a:pt x="1022" y="484"/>
                </a:cubicBezTo>
                <a:cubicBezTo>
                  <a:pt x="1030" y="488"/>
                  <a:pt x="1099" y="471"/>
                  <a:pt x="1176" y="445"/>
                </a:cubicBezTo>
                <a:cubicBezTo>
                  <a:pt x="1253" y="418"/>
                  <a:pt x="1323" y="402"/>
                  <a:pt x="1330" y="405"/>
                </a:cubicBezTo>
                <a:cubicBezTo>
                  <a:pt x="1358" y="423"/>
                  <a:pt x="1342" y="477"/>
                  <a:pt x="1296" y="530"/>
                </a:cubicBezTo>
                <a:cubicBezTo>
                  <a:pt x="1237" y="597"/>
                  <a:pt x="1237" y="615"/>
                  <a:pt x="1288" y="628"/>
                </a:cubicBezTo>
                <a:cubicBezTo>
                  <a:pt x="1339" y="640"/>
                  <a:pt x="1381" y="717"/>
                  <a:pt x="1344" y="730"/>
                </a:cubicBezTo>
                <a:cubicBezTo>
                  <a:pt x="1331" y="735"/>
                  <a:pt x="1277" y="754"/>
                  <a:pt x="1224" y="772"/>
                </a:cubicBezTo>
                <a:lnTo>
                  <a:pt x="1128" y="805"/>
                </a:lnTo>
                <a:lnTo>
                  <a:pt x="1120" y="879"/>
                </a:lnTo>
                <a:cubicBezTo>
                  <a:pt x="1114" y="927"/>
                  <a:pt x="1091" y="984"/>
                  <a:pt x="1051" y="1044"/>
                </a:cubicBezTo>
                <a:cubicBezTo>
                  <a:pt x="1019" y="1092"/>
                  <a:pt x="989" y="1133"/>
                  <a:pt x="984" y="1133"/>
                </a:cubicBezTo>
                <a:cubicBezTo>
                  <a:pt x="981" y="1133"/>
                  <a:pt x="947" y="1090"/>
                  <a:pt x="912" y="1036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89" name="Республика Тыва"/>
          <p:cNvSpPr>
            <a:spLocks/>
          </p:cNvSpPr>
          <p:nvPr/>
        </p:nvSpPr>
        <p:spPr bwMode="auto">
          <a:xfrm>
            <a:off x="4563635" y="4350435"/>
            <a:ext cx="672934" cy="378539"/>
          </a:xfrm>
          <a:custGeom>
            <a:avLst/>
            <a:gdLst/>
            <a:ahLst/>
            <a:cxnLst>
              <a:cxn ang="0">
                <a:pos x="131" y="1362"/>
              </a:cxn>
              <a:cxn ang="0">
                <a:pos x="146" y="1301"/>
              </a:cxn>
              <a:cxn ang="0">
                <a:pos x="131" y="1146"/>
              </a:cxn>
              <a:cxn ang="0">
                <a:pos x="45" y="974"/>
              </a:cxn>
              <a:cxn ang="0">
                <a:pos x="119" y="859"/>
              </a:cxn>
              <a:cxn ang="0">
                <a:pos x="253" y="746"/>
              </a:cxn>
              <a:cxn ang="0">
                <a:pos x="293" y="656"/>
              </a:cxn>
              <a:cxn ang="0">
                <a:pos x="379" y="682"/>
              </a:cxn>
              <a:cxn ang="0">
                <a:pos x="579" y="750"/>
              </a:cxn>
              <a:cxn ang="0">
                <a:pos x="1119" y="499"/>
              </a:cxn>
              <a:cxn ang="0">
                <a:pos x="1229" y="352"/>
              </a:cxn>
              <a:cxn ang="0">
                <a:pos x="1283" y="262"/>
              </a:cxn>
              <a:cxn ang="0">
                <a:pos x="1411" y="166"/>
              </a:cxn>
              <a:cxn ang="0">
                <a:pos x="1679" y="58"/>
              </a:cxn>
              <a:cxn ang="0">
                <a:pos x="1931" y="122"/>
              </a:cxn>
              <a:cxn ang="0">
                <a:pos x="2151" y="200"/>
              </a:cxn>
              <a:cxn ang="0">
                <a:pos x="2219" y="203"/>
              </a:cxn>
              <a:cxn ang="0">
                <a:pos x="2207" y="258"/>
              </a:cxn>
              <a:cxn ang="0">
                <a:pos x="2179" y="506"/>
              </a:cxn>
              <a:cxn ang="0">
                <a:pos x="2211" y="566"/>
              </a:cxn>
              <a:cxn ang="0">
                <a:pos x="2099" y="739"/>
              </a:cxn>
              <a:cxn ang="0">
                <a:pos x="1987" y="907"/>
              </a:cxn>
              <a:cxn ang="0">
                <a:pos x="2051" y="1078"/>
              </a:cxn>
              <a:cxn ang="0">
                <a:pos x="2115" y="1258"/>
              </a:cxn>
              <a:cxn ang="0">
                <a:pos x="2035" y="1315"/>
              </a:cxn>
              <a:cxn ang="0">
                <a:pos x="1645" y="1355"/>
              </a:cxn>
              <a:cxn ang="0">
                <a:pos x="1335" y="1355"/>
              </a:cxn>
              <a:cxn ang="0">
                <a:pos x="1315" y="1274"/>
              </a:cxn>
              <a:cxn ang="0">
                <a:pos x="1261" y="1173"/>
              </a:cxn>
              <a:cxn ang="0">
                <a:pos x="1003" y="1115"/>
              </a:cxn>
              <a:cxn ang="0">
                <a:pos x="779" y="1080"/>
              </a:cxn>
              <a:cxn ang="0">
                <a:pos x="471" y="1234"/>
              </a:cxn>
              <a:cxn ang="0">
                <a:pos x="157" y="1387"/>
              </a:cxn>
              <a:cxn ang="0">
                <a:pos x="131" y="1362"/>
              </a:cxn>
            </a:cxnLst>
            <a:rect l="0" t="0" r="r" b="b"/>
            <a:pathLst>
              <a:path w="2240" h="1387">
                <a:moveTo>
                  <a:pt x="131" y="1362"/>
                </a:moveTo>
                <a:cubicBezTo>
                  <a:pt x="114" y="1342"/>
                  <a:pt x="117" y="1331"/>
                  <a:pt x="146" y="1301"/>
                </a:cubicBezTo>
                <a:cubicBezTo>
                  <a:pt x="191" y="1253"/>
                  <a:pt x="189" y="1237"/>
                  <a:pt x="131" y="1146"/>
                </a:cubicBezTo>
                <a:cubicBezTo>
                  <a:pt x="106" y="1102"/>
                  <a:pt x="67" y="1026"/>
                  <a:pt x="45" y="974"/>
                </a:cubicBezTo>
                <a:cubicBezTo>
                  <a:pt x="0" y="869"/>
                  <a:pt x="7" y="859"/>
                  <a:pt x="119" y="859"/>
                </a:cubicBezTo>
                <a:cubicBezTo>
                  <a:pt x="208" y="859"/>
                  <a:pt x="240" y="832"/>
                  <a:pt x="253" y="746"/>
                </a:cubicBezTo>
                <a:cubicBezTo>
                  <a:pt x="259" y="712"/>
                  <a:pt x="277" y="672"/>
                  <a:pt x="293" y="656"/>
                </a:cubicBezTo>
                <a:cubicBezTo>
                  <a:pt x="323" y="630"/>
                  <a:pt x="327" y="632"/>
                  <a:pt x="379" y="682"/>
                </a:cubicBezTo>
                <a:cubicBezTo>
                  <a:pt x="429" y="730"/>
                  <a:pt x="447" y="736"/>
                  <a:pt x="579" y="750"/>
                </a:cubicBezTo>
                <a:cubicBezTo>
                  <a:pt x="848" y="781"/>
                  <a:pt x="992" y="714"/>
                  <a:pt x="1119" y="499"/>
                </a:cubicBezTo>
                <a:cubicBezTo>
                  <a:pt x="1149" y="446"/>
                  <a:pt x="1199" y="381"/>
                  <a:pt x="1229" y="352"/>
                </a:cubicBezTo>
                <a:cubicBezTo>
                  <a:pt x="1263" y="322"/>
                  <a:pt x="1283" y="288"/>
                  <a:pt x="1283" y="262"/>
                </a:cubicBezTo>
                <a:cubicBezTo>
                  <a:pt x="1283" y="211"/>
                  <a:pt x="1304" y="197"/>
                  <a:pt x="1411" y="166"/>
                </a:cubicBezTo>
                <a:cubicBezTo>
                  <a:pt x="1693" y="86"/>
                  <a:pt x="1687" y="90"/>
                  <a:pt x="1679" y="58"/>
                </a:cubicBezTo>
                <a:cubicBezTo>
                  <a:pt x="1664" y="0"/>
                  <a:pt x="1751" y="22"/>
                  <a:pt x="1931" y="122"/>
                </a:cubicBezTo>
                <a:cubicBezTo>
                  <a:pt x="2085" y="205"/>
                  <a:pt x="2109" y="214"/>
                  <a:pt x="2151" y="200"/>
                </a:cubicBezTo>
                <a:cubicBezTo>
                  <a:pt x="2184" y="187"/>
                  <a:pt x="2203" y="189"/>
                  <a:pt x="2219" y="203"/>
                </a:cubicBezTo>
                <a:cubicBezTo>
                  <a:pt x="2240" y="221"/>
                  <a:pt x="2239" y="227"/>
                  <a:pt x="2207" y="258"/>
                </a:cubicBezTo>
                <a:cubicBezTo>
                  <a:pt x="2151" y="310"/>
                  <a:pt x="2135" y="445"/>
                  <a:pt x="2179" y="506"/>
                </a:cubicBezTo>
                <a:cubicBezTo>
                  <a:pt x="2197" y="531"/>
                  <a:pt x="2211" y="558"/>
                  <a:pt x="2211" y="566"/>
                </a:cubicBezTo>
                <a:cubicBezTo>
                  <a:pt x="2211" y="574"/>
                  <a:pt x="2162" y="651"/>
                  <a:pt x="2099" y="739"/>
                </a:cubicBezTo>
                <a:cubicBezTo>
                  <a:pt x="2039" y="826"/>
                  <a:pt x="1987" y="901"/>
                  <a:pt x="1987" y="907"/>
                </a:cubicBezTo>
                <a:cubicBezTo>
                  <a:pt x="1987" y="912"/>
                  <a:pt x="2016" y="989"/>
                  <a:pt x="2051" y="1078"/>
                </a:cubicBezTo>
                <a:cubicBezTo>
                  <a:pt x="2087" y="1168"/>
                  <a:pt x="2115" y="1248"/>
                  <a:pt x="2115" y="1258"/>
                </a:cubicBezTo>
                <a:cubicBezTo>
                  <a:pt x="2115" y="1267"/>
                  <a:pt x="2080" y="1293"/>
                  <a:pt x="2035" y="1315"/>
                </a:cubicBezTo>
                <a:cubicBezTo>
                  <a:pt x="1959" y="1354"/>
                  <a:pt x="1946" y="1355"/>
                  <a:pt x="1645" y="1355"/>
                </a:cubicBezTo>
                <a:lnTo>
                  <a:pt x="1335" y="1355"/>
                </a:lnTo>
                <a:lnTo>
                  <a:pt x="1315" y="1274"/>
                </a:lnTo>
                <a:cubicBezTo>
                  <a:pt x="1303" y="1222"/>
                  <a:pt x="1283" y="1186"/>
                  <a:pt x="1261" y="1173"/>
                </a:cubicBezTo>
                <a:cubicBezTo>
                  <a:pt x="1243" y="1162"/>
                  <a:pt x="1127" y="1136"/>
                  <a:pt x="1003" y="1115"/>
                </a:cubicBezTo>
                <a:lnTo>
                  <a:pt x="779" y="1080"/>
                </a:lnTo>
                <a:lnTo>
                  <a:pt x="471" y="1234"/>
                </a:lnTo>
                <a:cubicBezTo>
                  <a:pt x="301" y="1318"/>
                  <a:pt x="160" y="1387"/>
                  <a:pt x="157" y="1387"/>
                </a:cubicBezTo>
                <a:cubicBezTo>
                  <a:pt x="154" y="1387"/>
                  <a:pt x="143" y="1376"/>
                  <a:pt x="131" y="136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0" name="Республика Хакасия"/>
          <p:cNvSpPr>
            <a:spLocks/>
          </p:cNvSpPr>
          <p:nvPr/>
        </p:nvSpPr>
        <p:spPr bwMode="auto">
          <a:xfrm>
            <a:off x="4496983" y="4206852"/>
            <a:ext cx="260294" cy="391592"/>
          </a:xfrm>
          <a:custGeom>
            <a:avLst/>
            <a:gdLst>
              <a:gd name="T0" fmla="*/ 49 w 54"/>
              <a:gd name="T1" fmla="*/ 1420 h 90"/>
              <a:gd name="T2" fmla="*/ 5 w 54"/>
              <a:gd name="T3" fmla="*/ 1326 h 90"/>
              <a:gd name="T4" fmla="*/ 43 w 54"/>
              <a:gd name="T5" fmla="*/ 1222 h 90"/>
              <a:gd name="T6" fmla="*/ 289 w 54"/>
              <a:gd name="T7" fmla="*/ 966 h 90"/>
              <a:gd name="T8" fmla="*/ 265 w 54"/>
              <a:gd name="T9" fmla="*/ 841 h 90"/>
              <a:gd name="T10" fmla="*/ 283 w 54"/>
              <a:gd name="T11" fmla="*/ 612 h 90"/>
              <a:gd name="T12" fmla="*/ 301 w 54"/>
              <a:gd name="T13" fmla="*/ 496 h 90"/>
              <a:gd name="T14" fmla="*/ 294 w 54"/>
              <a:gd name="T15" fmla="*/ 377 h 90"/>
              <a:gd name="T16" fmla="*/ 240 w 54"/>
              <a:gd name="T17" fmla="*/ 320 h 90"/>
              <a:gd name="T18" fmla="*/ 182 w 54"/>
              <a:gd name="T19" fmla="*/ 331 h 90"/>
              <a:gd name="T20" fmla="*/ 205 w 54"/>
              <a:gd name="T21" fmla="*/ 252 h 90"/>
              <a:gd name="T22" fmla="*/ 195 w 54"/>
              <a:gd name="T23" fmla="*/ 113 h 90"/>
              <a:gd name="T24" fmla="*/ 189 w 54"/>
              <a:gd name="T25" fmla="*/ 1 h 90"/>
              <a:gd name="T26" fmla="*/ 246 w 54"/>
              <a:gd name="T27" fmla="*/ 73 h 90"/>
              <a:gd name="T28" fmla="*/ 497 w 54"/>
              <a:gd name="T29" fmla="*/ 121 h 90"/>
              <a:gd name="T30" fmla="*/ 614 w 54"/>
              <a:gd name="T31" fmla="*/ 112 h 90"/>
              <a:gd name="T32" fmla="*/ 643 w 54"/>
              <a:gd name="T33" fmla="*/ 195 h 90"/>
              <a:gd name="T34" fmla="*/ 761 w 54"/>
              <a:gd name="T35" fmla="*/ 467 h 90"/>
              <a:gd name="T36" fmla="*/ 865 w 54"/>
              <a:gd name="T37" fmla="*/ 691 h 90"/>
              <a:gd name="T38" fmla="*/ 813 w 54"/>
              <a:gd name="T39" fmla="*/ 768 h 90"/>
              <a:gd name="T40" fmla="*/ 739 w 54"/>
              <a:gd name="T41" fmla="*/ 892 h 90"/>
              <a:gd name="T42" fmla="*/ 585 w 54"/>
              <a:gd name="T43" fmla="*/ 1073 h 90"/>
              <a:gd name="T44" fmla="*/ 440 w 54"/>
              <a:gd name="T45" fmla="*/ 1230 h 90"/>
              <a:gd name="T46" fmla="*/ 294 w 54"/>
              <a:gd name="T47" fmla="*/ 1353 h 90"/>
              <a:gd name="T48" fmla="*/ 133 w 54"/>
              <a:gd name="T49" fmla="*/ 1406 h 90"/>
              <a:gd name="T50" fmla="*/ 49 w 54"/>
              <a:gd name="T51" fmla="*/ 1420 h 9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4"/>
              <a:gd name="T79" fmla="*/ 0 h 90"/>
              <a:gd name="T80" fmla="*/ 865 w 54"/>
              <a:gd name="T81" fmla="*/ 1446 h 9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4" h="90">
                <a:moveTo>
                  <a:pt x="3" y="88"/>
                </a:moveTo>
                <a:cubicBezTo>
                  <a:pt x="1" y="87"/>
                  <a:pt x="1" y="86"/>
                  <a:pt x="0" y="83"/>
                </a:cubicBezTo>
                <a:cubicBezTo>
                  <a:pt x="0" y="78"/>
                  <a:pt x="0" y="78"/>
                  <a:pt x="3" y="76"/>
                </a:cubicBezTo>
                <a:cubicBezTo>
                  <a:pt x="8" y="73"/>
                  <a:pt x="18" y="62"/>
                  <a:pt x="18" y="60"/>
                </a:cubicBezTo>
                <a:cubicBezTo>
                  <a:pt x="18" y="59"/>
                  <a:pt x="17" y="56"/>
                  <a:pt x="17" y="52"/>
                </a:cubicBezTo>
                <a:cubicBezTo>
                  <a:pt x="15" y="44"/>
                  <a:pt x="15" y="42"/>
                  <a:pt x="18" y="38"/>
                </a:cubicBezTo>
                <a:cubicBezTo>
                  <a:pt x="20" y="35"/>
                  <a:pt x="20" y="35"/>
                  <a:pt x="19" y="31"/>
                </a:cubicBezTo>
                <a:cubicBezTo>
                  <a:pt x="18" y="28"/>
                  <a:pt x="17" y="26"/>
                  <a:pt x="18" y="23"/>
                </a:cubicBezTo>
                <a:cubicBezTo>
                  <a:pt x="20" y="19"/>
                  <a:pt x="19" y="18"/>
                  <a:pt x="15" y="20"/>
                </a:cubicBezTo>
                <a:cubicBezTo>
                  <a:pt x="13" y="20"/>
                  <a:pt x="12" y="21"/>
                  <a:pt x="11" y="21"/>
                </a:cubicBezTo>
                <a:cubicBezTo>
                  <a:pt x="11" y="20"/>
                  <a:pt x="12" y="18"/>
                  <a:pt x="13" y="16"/>
                </a:cubicBezTo>
                <a:cubicBezTo>
                  <a:pt x="14" y="11"/>
                  <a:pt x="14" y="11"/>
                  <a:pt x="12" y="7"/>
                </a:cubicBezTo>
                <a:cubicBezTo>
                  <a:pt x="10" y="3"/>
                  <a:pt x="10" y="0"/>
                  <a:pt x="12" y="0"/>
                </a:cubicBezTo>
                <a:cubicBezTo>
                  <a:pt x="12" y="0"/>
                  <a:pt x="14" y="2"/>
                  <a:pt x="15" y="5"/>
                </a:cubicBezTo>
                <a:cubicBezTo>
                  <a:pt x="19" y="10"/>
                  <a:pt x="20" y="10"/>
                  <a:pt x="31" y="8"/>
                </a:cubicBezTo>
                <a:cubicBezTo>
                  <a:pt x="35" y="7"/>
                  <a:pt x="38" y="7"/>
                  <a:pt x="38" y="7"/>
                </a:cubicBezTo>
                <a:cubicBezTo>
                  <a:pt x="39" y="7"/>
                  <a:pt x="40" y="10"/>
                  <a:pt x="40" y="12"/>
                </a:cubicBezTo>
                <a:cubicBezTo>
                  <a:pt x="41" y="15"/>
                  <a:pt x="44" y="22"/>
                  <a:pt x="48" y="29"/>
                </a:cubicBezTo>
                <a:cubicBezTo>
                  <a:pt x="51" y="36"/>
                  <a:pt x="54" y="42"/>
                  <a:pt x="54" y="43"/>
                </a:cubicBezTo>
                <a:cubicBezTo>
                  <a:pt x="54" y="44"/>
                  <a:pt x="53" y="46"/>
                  <a:pt x="51" y="48"/>
                </a:cubicBezTo>
                <a:cubicBezTo>
                  <a:pt x="49" y="50"/>
                  <a:pt x="47" y="53"/>
                  <a:pt x="46" y="56"/>
                </a:cubicBezTo>
                <a:cubicBezTo>
                  <a:pt x="45" y="59"/>
                  <a:pt x="43" y="61"/>
                  <a:pt x="37" y="67"/>
                </a:cubicBezTo>
                <a:cubicBezTo>
                  <a:pt x="31" y="71"/>
                  <a:pt x="28" y="75"/>
                  <a:pt x="27" y="77"/>
                </a:cubicBezTo>
                <a:cubicBezTo>
                  <a:pt x="26" y="83"/>
                  <a:pt x="26" y="84"/>
                  <a:pt x="18" y="84"/>
                </a:cubicBezTo>
                <a:cubicBezTo>
                  <a:pt x="9" y="85"/>
                  <a:pt x="8" y="86"/>
                  <a:pt x="8" y="88"/>
                </a:cubicBezTo>
                <a:cubicBezTo>
                  <a:pt x="9" y="90"/>
                  <a:pt x="6" y="90"/>
                  <a:pt x="3" y="88"/>
                </a:cubicBezTo>
                <a:cubicBezTo>
                  <a:pt x="3" y="88"/>
                  <a:pt x="3" y="88"/>
                  <a:pt x="3" y="88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sp>
      <p:sp>
        <p:nvSpPr>
          <p:cNvPr id="191" name="Ростовская область"/>
          <p:cNvSpPr>
            <a:spLocks/>
          </p:cNvSpPr>
          <p:nvPr/>
        </p:nvSpPr>
        <p:spPr bwMode="auto">
          <a:xfrm>
            <a:off x="1081497" y="3671676"/>
            <a:ext cx="388835" cy="404645"/>
          </a:xfrm>
          <a:custGeom>
            <a:avLst/>
            <a:gdLst/>
            <a:ahLst/>
            <a:cxnLst>
              <a:cxn ang="0">
                <a:pos x="826" y="1470"/>
              </a:cxn>
              <a:cxn ang="0">
                <a:pos x="738" y="1400"/>
              </a:cxn>
              <a:cxn ang="0">
                <a:pos x="600" y="1152"/>
              </a:cxn>
              <a:cxn ang="0">
                <a:pos x="544" y="1186"/>
              </a:cxn>
              <a:cxn ang="0">
                <a:pos x="405" y="1224"/>
              </a:cxn>
              <a:cxn ang="0">
                <a:pos x="298" y="1219"/>
              </a:cxn>
              <a:cxn ang="0">
                <a:pos x="290" y="1155"/>
              </a:cxn>
              <a:cxn ang="0">
                <a:pos x="228" y="1013"/>
              </a:cxn>
              <a:cxn ang="0">
                <a:pos x="175" y="934"/>
              </a:cxn>
              <a:cxn ang="0">
                <a:pos x="202" y="851"/>
              </a:cxn>
              <a:cxn ang="0">
                <a:pos x="231" y="766"/>
              </a:cxn>
              <a:cxn ang="0">
                <a:pos x="172" y="693"/>
              </a:cxn>
              <a:cxn ang="0">
                <a:pos x="37" y="618"/>
              </a:cxn>
              <a:cxn ang="0">
                <a:pos x="5" y="592"/>
              </a:cxn>
              <a:cxn ang="0">
                <a:pos x="85" y="563"/>
              </a:cxn>
              <a:cxn ang="0">
                <a:pos x="181" y="541"/>
              </a:cxn>
              <a:cxn ang="0">
                <a:pos x="74" y="416"/>
              </a:cxn>
              <a:cxn ang="0">
                <a:pos x="56" y="349"/>
              </a:cxn>
              <a:cxn ang="0">
                <a:pos x="157" y="315"/>
              </a:cxn>
              <a:cxn ang="0">
                <a:pos x="325" y="405"/>
              </a:cxn>
              <a:cxn ang="0">
                <a:pos x="423" y="496"/>
              </a:cxn>
              <a:cxn ang="0">
                <a:pos x="472" y="440"/>
              </a:cxn>
              <a:cxn ang="0">
                <a:pos x="578" y="307"/>
              </a:cxn>
              <a:cxn ang="0">
                <a:pos x="698" y="211"/>
              </a:cxn>
              <a:cxn ang="0">
                <a:pos x="850" y="94"/>
              </a:cxn>
              <a:cxn ang="0">
                <a:pos x="981" y="58"/>
              </a:cxn>
              <a:cxn ang="0">
                <a:pos x="1122" y="99"/>
              </a:cxn>
              <a:cxn ang="0">
                <a:pos x="1264" y="184"/>
              </a:cxn>
              <a:cxn ang="0">
                <a:pos x="1178" y="373"/>
              </a:cxn>
              <a:cxn ang="0">
                <a:pos x="1183" y="464"/>
              </a:cxn>
              <a:cxn ang="0">
                <a:pos x="1192" y="592"/>
              </a:cxn>
              <a:cxn ang="0">
                <a:pos x="1087" y="651"/>
              </a:cxn>
              <a:cxn ang="0">
                <a:pos x="914" y="715"/>
              </a:cxn>
              <a:cxn ang="0">
                <a:pos x="940" y="781"/>
              </a:cxn>
              <a:cxn ang="0">
                <a:pos x="948" y="901"/>
              </a:cxn>
              <a:cxn ang="0">
                <a:pos x="1010" y="1131"/>
              </a:cxn>
              <a:cxn ang="0">
                <a:pos x="1045" y="1210"/>
              </a:cxn>
              <a:cxn ang="0">
                <a:pos x="1106" y="1259"/>
              </a:cxn>
              <a:cxn ang="0">
                <a:pos x="1172" y="1259"/>
              </a:cxn>
              <a:cxn ang="0">
                <a:pos x="1135" y="1325"/>
              </a:cxn>
              <a:cxn ang="0">
                <a:pos x="1023" y="1381"/>
              </a:cxn>
              <a:cxn ang="0">
                <a:pos x="922" y="1419"/>
              </a:cxn>
              <a:cxn ang="0">
                <a:pos x="826" y="1470"/>
              </a:cxn>
            </a:cxnLst>
            <a:rect l="0" t="0" r="r" b="b"/>
            <a:pathLst>
              <a:path w="1293" h="1477">
                <a:moveTo>
                  <a:pt x="826" y="1470"/>
                </a:moveTo>
                <a:cubicBezTo>
                  <a:pt x="767" y="1462"/>
                  <a:pt x="738" y="1440"/>
                  <a:pt x="738" y="1400"/>
                </a:cubicBezTo>
                <a:cubicBezTo>
                  <a:pt x="738" y="1358"/>
                  <a:pt x="629" y="1163"/>
                  <a:pt x="600" y="1152"/>
                </a:cubicBezTo>
                <a:cubicBezTo>
                  <a:pt x="588" y="1147"/>
                  <a:pt x="562" y="1162"/>
                  <a:pt x="544" y="1186"/>
                </a:cubicBezTo>
                <a:cubicBezTo>
                  <a:pt x="512" y="1226"/>
                  <a:pt x="503" y="1227"/>
                  <a:pt x="405" y="1224"/>
                </a:cubicBezTo>
                <a:lnTo>
                  <a:pt x="298" y="1219"/>
                </a:lnTo>
                <a:lnTo>
                  <a:pt x="290" y="1155"/>
                </a:lnTo>
                <a:cubicBezTo>
                  <a:pt x="285" y="1120"/>
                  <a:pt x="256" y="1056"/>
                  <a:pt x="228" y="1013"/>
                </a:cubicBezTo>
                <a:lnTo>
                  <a:pt x="175" y="934"/>
                </a:lnTo>
                <a:lnTo>
                  <a:pt x="202" y="851"/>
                </a:lnTo>
                <a:lnTo>
                  <a:pt x="231" y="766"/>
                </a:lnTo>
                <a:lnTo>
                  <a:pt x="172" y="693"/>
                </a:lnTo>
                <a:cubicBezTo>
                  <a:pt x="109" y="618"/>
                  <a:pt x="101" y="613"/>
                  <a:pt x="37" y="618"/>
                </a:cubicBezTo>
                <a:cubicBezTo>
                  <a:pt x="8" y="621"/>
                  <a:pt x="0" y="614"/>
                  <a:pt x="5" y="592"/>
                </a:cubicBezTo>
                <a:cubicBezTo>
                  <a:pt x="10" y="568"/>
                  <a:pt x="26" y="563"/>
                  <a:pt x="85" y="563"/>
                </a:cubicBezTo>
                <a:cubicBezTo>
                  <a:pt x="127" y="563"/>
                  <a:pt x="170" y="554"/>
                  <a:pt x="181" y="541"/>
                </a:cubicBezTo>
                <a:cubicBezTo>
                  <a:pt x="204" y="518"/>
                  <a:pt x="183" y="496"/>
                  <a:pt x="74" y="416"/>
                </a:cubicBezTo>
                <a:cubicBezTo>
                  <a:pt x="28" y="382"/>
                  <a:pt x="28" y="381"/>
                  <a:pt x="56" y="349"/>
                </a:cubicBezTo>
                <a:cubicBezTo>
                  <a:pt x="79" y="323"/>
                  <a:pt x="106" y="315"/>
                  <a:pt x="157" y="315"/>
                </a:cubicBezTo>
                <a:cubicBezTo>
                  <a:pt x="220" y="315"/>
                  <a:pt x="237" y="325"/>
                  <a:pt x="325" y="405"/>
                </a:cubicBezTo>
                <a:lnTo>
                  <a:pt x="423" y="496"/>
                </a:lnTo>
                <a:lnTo>
                  <a:pt x="472" y="440"/>
                </a:lnTo>
                <a:cubicBezTo>
                  <a:pt x="500" y="410"/>
                  <a:pt x="548" y="349"/>
                  <a:pt x="578" y="307"/>
                </a:cubicBezTo>
                <a:cubicBezTo>
                  <a:pt x="620" y="250"/>
                  <a:pt x="650" y="224"/>
                  <a:pt x="698" y="211"/>
                </a:cubicBezTo>
                <a:cubicBezTo>
                  <a:pt x="800" y="181"/>
                  <a:pt x="831" y="158"/>
                  <a:pt x="850" y="94"/>
                </a:cubicBezTo>
                <a:cubicBezTo>
                  <a:pt x="880" y="3"/>
                  <a:pt x="890" y="0"/>
                  <a:pt x="981" y="58"/>
                </a:cubicBezTo>
                <a:cubicBezTo>
                  <a:pt x="1052" y="101"/>
                  <a:pt x="1074" y="107"/>
                  <a:pt x="1122" y="99"/>
                </a:cubicBezTo>
                <a:cubicBezTo>
                  <a:pt x="1242" y="75"/>
                  <a:pt x="1239" y="74"/>
                  <a:pt x="1264" y="184"/>
                </a:cubicBezTo>
                <a:cubicBezTo>
                  <a:pt x="1292" y="296"/>
                  <a:pt x="1293" y="293"/>
                  <a:pt x="1178" y="373"/>
                </a:cubicBezTo>
                <a:cubicBezTo>
                  <a:pt x="1146" y="395"/>
                  <a:pt x="1146" y="395"/>
                  <a:pt x="1183" y="464"/>
                </a:cubicBezTo>
                <a:cubicBezTo>
                  <a:pt x="1220" y="533"/>
                  <a:pt x="1220" y="534"/>
                  <a:pt x="1192" y="592"/>
                </a:cubicBezTo>
                <a:cubicBezTo>
                  <a:pt x="1165" y="648"/>
                  <a:pt x="1160" y="651"/>
                  <a:pt x="1087" y="651"/>
                </a:cubicBezTo>
                <a:cubicBezTo>
                  <a:pt x="1007" y="651"/>
                  <a:pt x="914" y="686"/>
                  <a:pt x="914" y="715"/>
                </a:cubicBezTo>
                <a:cubicBezTo>
                  <a:pt x="914" y="725"/>
                  <a:pt x="925" y="755"/>
                  <a:pt x="940" y="781"/>
                </a:cubicBezTo>
                <a:cubicBezTo>
                  <a:pt x="960" y="822"/>
                  <a:pt x="962" y="843"/>
                  <a:pt x="948" y="901"/>
                </a:cubicBezTo>
                <a:cubicBezTo>
                  <a:pt x="924" y="992"/>
                  <a:pt x="951" y="1088"/>
                  <a:pt x="1010" y="1131"/>
                </a:cubicBezTo>
                <a:cubicBezTo>
                  <a:pt x="1044" y="1155"/>
                  <a:pt x="1052" y="1171"/>
                  <a:pt x="1045" y="1210"/>
                </a:cubicBezTo>
                <a:cubicBezTo>
                  <a:pt x="1039" y="1258"/>
                  <a:pt x="1040" y="1259"/>
                  <a:pt x="1106" y="1259"/>
                </a:cubicBezTo>
                <a:lnTo>
                  <a:pt x="1172" y="1259"/>
                </a:lnTo>
                <a:lnTo>
                  <a:pt x="1135" y="1325"/>
                </a:lnTo>
                <a:cubicBezTo>
                  <a:pt x="1098" y="1390"/>
                  <a:pt x="1098" y="1390"/>
                  <a:pt x="1023" y="1381"/>
                </a:cubicBezTo>
                <a:cubicBezTo>
                  <a:pt x="951" y="1373"/>
                  <a:pt x="944" y="1374"/>
                  <a:pt x="922" y="1419"/>
                </a:cubicBezTo>
                <a:cubicBezTo>
                  <a:pt x="893" y="1474"/>
                  <a:pt x="887" y="1477"/>
                  <a:pt x="826" y="147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2" name="Рязанская область"/>
          <p:cNvSpPr>
            <a:spLocks/>
          </p:cNvSpPr>
          <p:nvPr/>
        </p:nvSpPr>
        <p:spPr bwMode="auto">
          <a:xfrm>
            <a:off x="1584593" y="3253977"/>
            <a:ext cx="265055" cy="174041"/>
          </a:xfrm>
          <a:custGeom>
            <a:avLst/>
            <a:gdLst/>
            <a:ahLst/>
            <a:cxnLst>
              <a:cxn ang="0">
                <a:pos x="557" y="587"/>
              </a:cxn>
              <a:cxn ang="0">
                <a:pos x="432" y="557"/>
              </a:cxn>
              <a:cxn ang="0">
                <a:pos x="350" y="560"/>
              </a:cxn>
              <a:cxn ang="0">
                <a:pos x="246" y="496"/>
              </a:cxn>
              <a:cxn ang="0">
                <a:pos x="85" y="376"/>
              </a:cxn>
              <a:cxn ang="0">
                <a:pos x="35" y="250"/>
              </a:cxn>
              <a:cxn ang="0">
                <a:pos x="99" y="160"/>
              </a:cxn>
              <a:cxn ang="0">
                <a:pos x="176" y="72"/>
              </a:cxn>
              <a:cxn ang="0">
                <a:pos x="581" y="0"/>
              </a:cxn>
              <a:cxn ang="0">
                <a:pos x="833" y="291"/>
              </a:cxn>
              <a:cxn ang="0">
                <a:pos x="880" y="368"/>
              </a:cxn>
              <a:cxn ang="0">
                <a:pos x="761" y="493"/>
              </a:cxn>
              <a:cxn ang="0">
                <a:pos x="624" y="629"/>
              </a:cxn>
              <a:cxn ang="0">
                <a:pos x="557" y="587"/>
              </a:cxn>
            </a:cxnLst>
            <a:rect l="0" t="0" r="r" b="b"/>
            <a:pathLst>
              <a:path w="880" h="634">
                <a:moveTo>
                  <a:pt x="557" y="587"/>
                </a:moveTo>
                <a:cubicBezTo>
                  <a:pt x="507" y="538"/>
                  <a:pt x="505" y="538"/>
                  <a:pt x="432" y="557"/>
                </a:cubicBezTo>
                <a:cubicBezTo>
                  <a:pt x="379" y="571"/>
                  <a:pt x="353" y="573"/>
                  <a:pt x="350" y="560"/>
                </a:cubicBezTo>
                <a:cubicBezTo>
                  <a:pt x="337" y="523"/>
                  <a:pt x="294" y="496"/>
                  <a:pt x="246" y="496"/>
                </a:cubicBezTo>
                <a:cubicBezTo>
                  <a:pt x="181" y="495"/>
                  <a:pt x="173" y="490"/>
                  <a:pt x="85" y="376"/>
                </a:cubicBezTo>
                <a:cubicBezTo>
                  <a:pt x="5" y="272"/>
                  <a:pt x="0" y="263"/>
                  <a:pt x="35" y="250"/>
                </a:cubicBezTo>
                <a:cubicBezTo>
                  <a:pt x="48" y="245"/>
                  <a:pt x="77" y="205"/>
                  <a:pt x="99" y="160"/>
                </a:cubicBezTo>
                <a:cubicBezTo>
                  <a:pt x="125" y="109"/>
                  <a:pt x="152" y="77"/>
                  <a:pt x="176" y="72"/>
                </a:cubicBezTo>
                <a:cubicBezTo>
                  <a:pt x="261" y="51"/>
                  <a:pt x="550" y="0"/>
                  <a:pt x="581" y="0"/>
                </a:cubicBezTo>
                <a:cubicBezTo>
                  <a:pt x="614" y="0"/>
                  <a:pt x="744" y="149"/>
                  <a:pt x="833" y="291"/>
                </a:cubicBezTo>
                <a:lnTo>
                  <a:pt x="880" y="368"/>
                </a:lnTo>
                <a:lnTo>
                  <a:pt x="761" y="493"/>
                </a:lnTo>
                <a:cubicBezTo>
                  <a:pt x="696" y="563"/>
                  <a:pt x="635" y="623"/>
                  <a:pt x="624" y="629"/>
                </a:cubicBezTo>
                <a:cubicBezTo>
                  <a:pt x="614" y="634"/>
                  <a:pt x="584" y="615"/>
                  <a:pt x="557" y="58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3" name="Самарская область"/>
          <p:cNvSpPr>
            <a:spLocks/>
          </p:cNvSpPr>
          <p:nvPr/>
        </p:nvSpPr>
        <p:spPr bwMode="auto">
          <a:xfrm>
            <a:off x="2024246" y="3667325"/>
            <a:ext cx="303142" cy="226253"/>
          </a:xfrm>
          <a:custGeom>
            <a:avLst/>
            <a:gdLst/>
            <a:ahLst/>
            <a:cxnLst>
              <a:cxn ang="0">
                <a:pos x="212" y="717"/>
              </a:cxn>
              <a:cxn ang="0">
                <a:pos x="13" y="307"/>
              </a:cxn>
              <a:cxn ang="0">
                <a:pos x="34" y="277"/>
              </a:cxn>
              <a:cxn ang="0">
                <a:pos x="58" y="155"/>
              </a:cxn>
              <a:cxn ang="0">
                <a:pos x="204" y="16"/>
              </a:cxn>
              <a:cxn ang="0">
                <a:pos x="402" y="80"/>
              </a:cxn>
              <a:cxn ang="0">
                <a:pos x="495" y="144"/>
              </a:cxn>
              <a:cxn ang="0">
                <a:pos x="584" y="72"/>
              </a:cxn>
              <a:cxn ang="0">
                <a:pos x="669" y="0"/>
              </a:cxn>
              <a:cxn ang="0">
                <a:pos x="704" y="48"/>
              </a:cxn>
              <a:cxn ang="0">
                <a:pos x="810" y="64"/>
              </a:cxn>
              <a:cxn ang="0">
                <a:pos x="917" y="69"/>
              </a:cxn>
              <a:cxn ang="0">
                <a:pos x="978" y="203"/>
              </a:cxn>
              <a:cxn ang="0">
                <a:pos x="999" y="303"/>
              </a:cxn>
              <a:cxn ang="0">
                <a:pos x="880" y="435"/>
              </a:cxn>
              <a:cxn ang="0">
                <a:pos x="626" y="635"/>
              </a:cxn>
              <a:cxn ang="0">
                <a:pos x="456" y="747"/>
              </a:cxn>
              <a:cxn ang="0">
                <a:pos x="352" y="816"/>
              </a:cxn>
              <a:cxn ang="0">
                <a:pos x="282" y="824"/>
              </a:cxn>
              <a:cxn ang="0">
                <a:pos x="212" y="717"/>
              </a:cxn>
            </a:cxnLst>
            <a:rect l="0" t="0" r="r" b="b"/>
            <a:pathLst>
              <a:path w="999" h="832">
                <a:moveTo>
                  <a:pt x="212" y="717"/>
                </a:moveTo>
                <a:cubicBezTo>
                  <a:pt x="180" y="613"/>
                  <a:pt x="58" y="363"/>
                  <a:pt x="13" y="307"/>
                </a:cubicBezTo>
                <a:cubicBezTo>
                  <a:pt x="0" y="291"/>
                  <a:pt x="7" y="283"/>
                  <a:pt x="34" y="277"/>
                </a:cubicBezTo>
                <a:cubicBezTo>
                  <a:pt x="68" y="267"/>
                  <a:pt x="69" y="263"/>
                  <a:pt x="58" y="155"/>
                </a:cubicBezTo>
                <a:cubicBezTo>
                  <a:pt x="45" y="19"/>
                  <a:pt x="48" y="16"/>
                  <a:pt x="204" y="16"/>
                </a:cubicBezTo>
                <a:cubicBezTo>
                  <a:pt x="311" y="16"/>
                  <a:pt x="320" y="19"/>
                  <a:pt x="402" y="80"/>
                </a:cubicBezTo>
                <a:cubicBezTo>
                  <a:pt x="450" y="115"/>
                  <a:pt x="492" y="144"/>
                  <a:pt x="495" y="144"/>
                </a:cubicBezTo>
                <a:cubicBezTo>
                  <a:pt x="498" y="144"/>
                  <a:pt x="538" y="112"/>
                  <a:pt x="584" y="72"/>
                </a:cubicBezTo>
                <a:lnTo>
                  <a:pt x="669" y="0"/>
                </a:lnTo>
                <a:lnTo>
                  <a:pt x="704" y="48"/>
                </a:lnTo>
                <a:cubicBezTo>
                  <a:pt x="744" y="104"/>
                  <a:pt x="770" y="107"/>
                  <a:pt x="810" y="64"/>
                </a:cubicBezTo>
                <a:cubicBezTo>
                  <a:pt x="847" y="23"/>
                  <a:pt x="869" y="23"/>
                  <a:pt x="917" y="69"/>
                </a:cubicBezTo>
                <a:cubicBezTo>
                  <a:pt x="943" y="93"/>
                  <a:pt x="964" y="138"/>
                  <a:pt x="978" y="203"/>
                </a:cubicBezTo>
                <a:lnTo>
                  <a:pt x="999" y="303"/>
                </a:lnTo>
                <a:lnTo>
                  <a:pt x="880" y="435"/>
                </a:lnTo>
                <a:cubicBezTo>
                  <a:pt x="740" y="592"/>
                  <a:pt x="756" y="579"/>
                  <a:pt x="626" y="635"/>
                </a:cubicBezTo>
                <a:cubicBezTo>
                  <a:pt x="562" y="663"/>
                  <a:pt x="496" y="706"/>
                  <a:pt x="456" y="747"/>
                </a:cubicBezTo>
                <a:cubicBezTo>
                  <a:pt x="415" y="789"/>
                  <a:pt x="375" y="816"/>
                  <a:pt x="352" y="816"/>
                </a:cubicBezTo>
                <a:cubicBezTo>
                  <a:pt x="332" y="816"/>
                  <a:pt x="300" y="819"/>
                  <a:pt x="282" y="824"/>
                </a:cubicBezTo>
                <a:cubicBezTo>
                  <a:pt x="253" y="832"/>
                  <a:pt x="244" y="819"/>
                  <a:pt x="212" y="71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8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4" name="г. Санкт-Петербург"/>
          <p:cNvSpPr>
            <a:spLocks/>
          </p:cNvSpPr>
          <p:nvPr/>
        </p:nvSpPr>
        <p:spPr bwMode="auto">
          <a:xfrm>
            <a:off x="1683018" y="2518655"/>
            <a:ext cx="90455" cy="52212"/>
          </a:xfrm>
          <a:custGeom>
            <a:avLst/>
            <a:gdLst/>
            <a:ahLst/>
            <a:cxnLst>
              <a:cxn ang="0">
                <a:pos x="29" y="179"/>
              </a:cxn>
              <a:cxn ang="0">
                <a:pos x="7" y="48"/>
              </a:cxn>
              <a:cxn ang="0">
                <a:pos x="74" y="72"/>
              </a:cxn>
              <a:cxn ang="0">
                <a:pos x="175" y="40"/>
              </a:cxn>
              <a:cxn ang="0">
                <a:pos x="181" y="0"/>
              </a:cxn>
              <a:cxn ang="0">
                <a:pos x="288" y="59"/>
              </a:cxn>
              <a:cxn ang="0">
                <a:pos x="266" y="128"/>
              </a:cxn>
              <a:cxn ang="0">
                <a:pos x="237" y="192"/>
              </a:cxn>
              <a:cxn ang="0">
                <a:pos x="136" y="192"/>
              </a:cxn>
              <a:cxn ang="0">
                <a:pos x="29" y="179"/>
              </a:cxn>
            </a:cxnLst>
            <a:rect l="0" t="0" r="r" b="b"/>
            <a:pathLst>
              <a:path w="292" h="192">
                <a:moveTo>
                  <a:pt x="29" y="179"/>
                </a:moveTo>
                <a:cubicBezTo>
                  <a:pt x="18" y="162"/>
                  <a:pt x="0" y="48"/>
                  <a:pt x="7" y="48"/>
                </a:cubicBezTo>
                <a:cubicBezTo>
                  <a:pt x="12" y="48"/>
                  <a:pt x="40" y="59"/>
                  <a:pt x="74" y="72"/>
                </a:cubicBezTo>
                <a:cubicBezTo>
                  <a:pt x="149" y="104"/>
                  <a:pt x="184" y="93"/>
                  <a:pt x="175" y="40"/>
                </a:cubicBezTo>
                <a:cubicBezTo>
                  <a:pt x="170" y="18"/>
                  <a:pt x="173" y="0"/>
                  <a:pt x="181" y="0"/>
                </a:cubicBezTo>
                <a:cubicBezTo>
                  <a:pt x="192" y="0"/>
                  <a:pt x="252" y="32"/>
                  <a:pt x="288" y="59"/>
                </a:cubicBezTo>
                <a:cubicBezTo>
                  <a:pt x="292" y="61"/>
                  <a:pt x="282" y="93"/>
                  <a:pt x="266" y="128"/>
                </a:cubicBezTo>
                <a:lnTo>
                  <a:pt x="237" y="192"/>
                </a:lnTo>
                <a:lnTo>
                  <a:pt x="136" y="192"/>
                </a:lnTo>
                <a:cubicBezTo>
                  <a:pt x="82" y="192"/>
                  <a:pt x="32" y="186"/>
                  <a:pt x="29" y="179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8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5" name="Саратовская область"/>
          <p:cNvSpPr>
            <a:spLocks/>
          </p:cNvSpPr>
          <p:nvPr/>
        </p:nvSpPr>
        <p:spPr bwMode="auto">
          <a:xfrm>
            <a:off x="1627439" y="3580305"/>
            <a:ext cx="468218" cy="395943"/>
          </a:xfrm>
          <a:custGeom>
            <a:avLst/>
            <a:gdLst/>
            <a:ahLst/>
            <a:cxnLst>
              <a:cxn ang="0">
                <a:pos x="741" y="1413"/>
              </a:cxn>
              <a:cxn ang="0">
                <a:pos x="714" y="1328"/>
              </a:cxn>
              <a:cxn ang="0">
                <a:pos x="645" y="1123"/>
              </a:cxn>
              <a:cxn ang="0">
                <a:pos x="544" y="965"/>
              </a:cxn>
              <a:cxn ang="0">
                <a:pos x="468" y="895"/>
              </a:cxn>
              <a:cxn ang="0">
                <a:pos x="381" y="823"/>
              </a:cxn>
              <a:cxn ang="0">
                <a:pos x="328" y="813"/>
              </a:cxn>
              <a:cxn ang="0">
                <a:pos x="330" y="674"/>
              </a:cxn>
              <a:cxn ang="0">
                <a:pos x="311" y="509"/>
              </a:cxn>
              <a:cxn ang="0">
                <a:pos x="168" y="455"/>
              </a:cxn>
              <a:cxn ang="0">
                <a:pos x="21" y="373"/>
              </a:cxn>
              <a:cxn ang="0">
                <a:pos x="15" y="283"/>
              </a:cxn>
              <a:cxn ang="0">
                <a:pos x="37" y="184"/>
              </a:cxn>
              <a:cxn ang="0">
                <a:pos x="162" y="59"/>
              </a:cxn>
              <a:cxn ang="0">
                <a:pos x="300" y="0"/>
              </a:cxn>
              <a:cxn ang="0">
                <a:pos x="380" y="66"/>
              </a:cxn>
              <a:cxn ang="0">
                <a:pos x="551" y="227"/>
              </a:cxn>
              <a:cxn ang="0">
                <a:pos x="800" y="362"/>
              </a:cxn>
              <a:cxn ang="0">
                <a:pos x="1004" y="455"/>
              </a:cxn>
              <a:cxn ang="0">
                <a:pos x="1136" y="536"/>
              </a:cxn>
              <a:cxn ang="0">
                <a:pos x="1232" y="573"/>
              </a:cxn>
              <a:cxn ang="0">
                <a:pos x="1506" y="1176"/>
              </a:cxn>
              <a:cxn ang="0">
                <a:pos x="1023" y="1258"/>
              </a:cxn>
              <a:cxn ang="0">
                <a:pos x="842" y="1381"/>
              </a:cxn>
              <a:cxn ang="0">
                <a:pos x="741" y="1413"/>
              </a:cxn>
            </a:cxnLst>
            <a:rect l="0" t="0" r="r" b="b"/>
            <a:pathLst>
              <a:path w="1544" h="1458">
                <a:moveTo>
                  <a:pt x="741" y="1413"/>
                </a:moveTo>
                <a:cubicBezTo>
                  <a:pt x="733" y="1397"/>
                  <a:pt x="720" y="1359"/>
                  <a:pt x="714" y="1328"/>
                </a:cubicBezTo>
                <a:cubicBezTo>
                  <a:pt x="708" y="1296"/>
                  <a:pt x="677" y="1205"/>
                  <a:pt x="645" y="1123"/>
                </a:cubicBezTo>
                <a:cubicBezTo>
                  <a:pt x="596" y="994"/>
                  <a:pt x="583" y="973"/>
                  <a:pt x="544" y="965"/>
                </a:cubicBezTo>
                <a:cubicBezTo>
                  <a:pt x="517" y="960"/>
                  <a:pt x="490" y="936"/>
                  <a:pt x="468" y="895"/>
                </a:cubicBezTo>
                <a:cubicBezTo>
                  <a:pt x="442" y="848"/>
                  <a:pt x="420" y="831"/>
                  <a:pt x="381" y="823"/>
                </a:cubicBezTo>
                <a:lnTo>
                  <a:pt x="328" y="813"/>
                </a:lnTo>
                <a:lnTo>
                  <a:pt x="330" y="674"/>
                </a:lnTo>
                <a:cubicBezTo>
                  <a:pt x="330" y="584"/>
                  <a:pt x="324" y="523"/>
                  <a:pt x="311" y="509"/>
                </a:cubicBezTo>
                <a:cubicBezTo>
                  <a:pt x="300" y="496"/>
                  <a:pt x="236" y="472"/>
                  <a:pt x="168" y="455"/>
                </a:cubicBezTo>
                <a:cubicBezTo>
                  <a:pt x="58" y="427"/>
                  <a:pt x="44" y="419"/>
                  <a:pt x="21" y="373"/>
                </a:cubicBezTo>
                <a:cubicBezTo>
                  <a:pt x="2" y="331"/>
                  <a:pt x="0" y="312"/>
                  <a:pt x="15" y="283"/>
                </a:cubicBezTo>
                <a:cubicBezTo>
                  <a:pt x="24" y="264"/>
                  <a:pt x="36" y="219"/>
                  <a:pt x="37" y="184"/>
                </a:cubicBezTo>
                <a:cubicBezTo>
                  <a:pt x="42" y="122"/>
                  <a:pt x="45" y="119"/>
                  <a:pt x="162" y="59"/>
                </a:cubicBezTo>
                <a:cubicBezTo>
                  <a:pt x="228" y="27"/>
                  <a:pt x="290" y="0"/>
                  <a:pt x="300" y="0"/>
                </a:cubicBezTo>
                <a:cubicBezTo>
                  <a:pt x="308" y="0"/>
                  <a:pt x="344" y="29"/>
                  <a:pt x="380" y="66"/>
                </a:cubicBezTo>
                <a:cubicBezTo>
                  <a:pt x="413" y="101"/>
                  <a:pt x="492" y="175"/>
                  <a:pt x="551" y="227"/>
                </a:cubicBezTo>
                <a:cubicBezTo>
                  <a:pt x="650" y="315"/>
                  <a:pt x="672" y="328"/>
                  <a:pt x="800" y="362"/>
                </a:cubicBezTo>
                <a:cubicBezTo>
                  <a:pt x="909" y="391"/>
                  <a:pt x="956" y="413"/>
                  <a:pt x="1004" y="455"/>
                </a:cubicBezTo>
                <a:cubicBezTo>
                  <a:pt x="1037" y="487"/>
                  <a:pt x="1096" y="523"/>
                  <a:pt x="1136" y="536"/>
                </a:cubicBezTo>
                <a:cubicBezTo>
                  <a:pt x="1178" y="551"/>
                  <a:pt x="1220" y="568"/>
                  <a:pt x="1232" y="573"/>
                </a:cubicBezTo>
                <a:cubicBezTo>
                  <a:pt x="1295" y="605"/>
                  <a:pt x="1544" y="1152"/>
                  <a:pt x="1506" y="1176"/>
                </a:cubicBezTo>
                <a:cubicBezTo>
                  <a:pt x="1485" y="1189"/>
                  <a:pt x="1160" y="1243"/>
                  <a:pt x="1023" y="1258"/>
                </a:cubicBezTo>
                <a:cubicBezTo>
                  <a:pt x="904" y="1269"/>
                  <a:pt x="871" y="1293"/>
                  <a:pt x="842" y="1381"/>
                </a:cubicBezTo>
                <a:cubicBezTo>
                  <a:pt x="823" y="1440"/>
                  <a:pt x="765" y="1458"/>
                  <a:pt x="741" y="1413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6" name="Сахалинская область"/>
          <p:cNvSpPr>
            <a:spLocks/>
          </p:cNvSpPr>
          <p:nvPr/>
        </p:nvSpPr>
        <p:spPr bwMode="auto">
          <a:xfrm>
            <a:off x="7714068" y="3219170"/>
            <a:ext cx="668173" cy="630898"/>
          </a:xfrm>
          <a:custGeom>
            <a:avLst/>
            <a:gdLst/>
            <a:ahLst/>
            <a:cxnLst>
              <a:cxn ang="0">
                <a:pos x="1870" y="2283"/>
              </a:cxn>
              <a:cxn ang="0">
                <a:pos x="1792" y="2232"/>
              </a:cxn>
              <a:cxn ang="0">
                <a:pos x="1502" y="1825"/>
              </a:cxn>
              <a:cxn ang="0">
                <a:pos x="1360" y="1656"/>
              </a:cxn>
              <a:cxn ang="0">
                <a:pos x="1005" y="1277"/>
              </a:cxn>
              <a:cxn ang="0">
                <a:pos x="718" y="929"/>
              </a:cxn>
              <a:cxn ang="0">
                <a:pos x="589" y="869"/>
              </a:cxn>
              <a:cxn ang="0">
                <a:pos x="248" y="566"/>
              </a:cxn>
              <a:cxn ang="0">
                <a:pos x="194" y="339"/>
              </a:cxn>
              <a:cxn ang="0">
                <a:pos x="205" y="233"/>
              </a:cxn>
              <a:cxn ang="0">
                <a:pos x="62" y="97"/>
              </a:cxn>
              <a:cxn ang="0">
                <a:pos x="43" y="16"/>
              </a:cxn>
              <a:cxn ang="0">
                <a:pos x="174" y="105"/>
              </a:cxn>
              <a:cxn ang="0">
                <a:pos x="406" y="326"/>
              </a:cxn>
              <a:cxn ang="0">
                <a:pos x="560" y="499"/>
              </a:cxn>
              <a:cxn ang="0">
                <a:pos x="875" y="720"/>
              </a:cxn>
              <a:cxn ang="0">
                <a:pos x="1533" y="1094"/>
              </a:cxn>
              <a:cxn ang="0">
                <a:pos x="1442" y="1157"/>
              </a:cxn>
              <a:cxn ang="0">
                <a:pos x="1325" y="1229"/>
              </a:cxn>
              <a:cxn ang="0">
                <a:pos x="1398" y="1441"/>
              </a:cxn>
              <a:cxn ang="0">
                <a:pos x="1522" y="1720"/>
              </a:cxn>
              <a:cxn ang="0">
                <a:pos x="1914" y="1942"/>
              </a:cxn>
              <a:cxn ang="0">
                <a:pos x="2125" y="2069"/>
              </a:cxn>
              <a:cxn ang="0">
                <a:pos x="1990" y="2054"/>
              </a:cxn>
              <a:cxn ang="0">
                <a:pos x="1882" y="2061"/>
              </a:cxn>
              <a:cxn ang="0">
                <a:pos x="1936" y="2257"/>
              </a:cxn>
              <a:cxn ang="0">
                <a:pos x="1870" y="2283"/>
              </a:cxn>
            </a:cxnLst>
            <a:rect l="0" t="0" r="r" b="b"/>
            <a:pathLst>
              <a:path w="2222" h="2325">
                <a:moveTo>
                  <a:pt x="1870" y="2283"/>
                </a:moveTo>
                <a:cubicBezTo>
                  <a:pt x="1845" y="2269"/>
                  <a:pt x="1810" y="2246"/>
                  <a:pt x="1792" y="2232"/>
                </a:cubicBezTo>
                <a:cubicBezTo>
                  <a:pt x="1731" y="2179"/>
                  <a:pt x="1576" y="1961"/>
                  <a:pt x="1502" y="1825"/>
                </a:cubicBezTo>
                <a:cubicBezTo>
                  <a:pt x="1437" y="1704"/>
                  <a:pt x="1419" y="1681"/>
                  <a:pt x="1360" y="1656"/>
                </a:cubicBezTo>
                <a:cubicBezTo>
                  <a:pt x="1304" y="1632"/>
                  <a:pt x="1238" y="1561"/>
                  <a:pt x="1005" y="1277"/>
                </a:cubicBezTo>
                <a:lnTo>
                  <a:pt x="718" y="929"/>
                </a:lnTo>
                <a:lnTo>
                  <a:pt x="589" y="869"/>
                </a:lnTo>
                <a:cubicBezTo>
                  <a:pt x="427" y="795"/>
                  <a:pt x="350" y="726"/>
                  <a:pt x="248" y="566"/>
                </a:cubicBezTo>
                <a:cubicBezTo>
                  <a:pt x="162" y="432"/>
                  <a:pt x="150" y="385"/>
                  <a:pt x="194" y="339"/>
                </a:cubicBezTo>
                <a:cubicBezTo>
                  <a:pt x="214" y="315"/>
                  <a:pt x="218" y="296"/>
                  <a:pt x="205" y="233"/>
                </a:cubicBezTo>
                <a:cubicBezTo>
                  <a:pt x="190" y="157"/>
                  <a:pt x="184" y="150"/>
                  <a:pt x="62" y="97"/>
                </a:cubicBezTo>
                <a:cubicBezTo>
                  <a:pt x="8" y="75"/>
                  <a:pt x="0" y="41"/>
                  <a:pt x="43" y="16"/>
                </a:cubicBezTo>
                <a:cubicBezTo>
                  <a:pt x="67" y="0"/>
                  <a:pt x="86" y="14"/>
                  <a:pt x="174" y="105"/>
                </a:cubicBezTo>
                <a:cubicBezTo>
                  <a:pt x="230" y="165"/>
                  <a:pt x="334" y="264"/>
                  <a:pt x="406" y="326"/>
                </a:cubicBezTo>
                <a:cubicBezTo>
                  <a:pt x="488" y="398"/>
                  <a:pt x="544" y="462"/>
                  <a:pt x="560" y="499"/>
                </a:cubicBezTo>
                <a:cubicBezTo>
                  <a:pt x="581" y="553"/>
                  <a:pt x="611" y="574"/>
                  <a:pt x="875" y="720"/>
                </a:cubicBezTo>
                <a:cubicBezTo>
                  <a:pt x="1373" y="997"/>
                  <a:pt x="1518" y="1080"/>
                  <a:pt x="1533" y="1094"/>
                </a:cubicBezTo>
                <a:cubicBezTo>
                  <a:pt x="1542" y="1102"/>
                  <a:pt x="1506" y="1128"/>
                  <a:pt x="1442" y="1157"/>
                </a:cubicBezTo>
                <a:cubicBezTo>
                  <a:pt x="1382" y="1184"/>
                  <a:pt x="1330" y="1216"/>
                  <a:pt x="1325" y="1229"/>
                </a:cubicBezTo>
                <a:cubicBezTo>
                  <a:pt x="1320" y="1241"/>
                  <a:pt x="1354" y="1337"/>
                  <a:pt x="1398" y="1441"/>
                </a:cubicBezTo>
                <a:cubicBezTo>
                  <a:pt x="1445" y="1545"/>
                  <a:pt x="1499" y="1670"/>
                  <a:pt x="1522" y="1720"/>
                </a:cubicBezTo>
                <a:cubicBezTo>
                  <a:pt x="1568" y="1825"/>
                  <a:pt x="1581" y="1832"/>
                  <a:pt x="1914" y="1942"/>
                </a:cubicBezTo>
                <a:cubicBezTo>
                  <a:pt x="2120" y="2009"/>
                  <a:pt x="2222" y="2070"/>
                  <a:pt x="2125" y="2069"/>
                </a:cubicBezTo>
                <a:cubicBezTo>
                  <a:pt x="2099" y="2069"/>
                  <a:pt x="2038" y="2062"/>
                  <a:pt x="1990" y="2054"/>
                </a:cubicBezTo>
                <a:cubicBezTo>
                  <a:pt x="1926" y="2045"/>
                  <a:pt x="1896" y="2046"/>
                  <a:pt x="1882" y="2061"/>
                </a:cubicBezTo>
                <a:cubicBezTo>
                  <a:pt x="1859" y="2081"/>
                  <a:pt x="1858" y="2077"/>
                  <a:pt x="1936" y="2257"/>
                </a:cubicBezTo>
                <a:cubicBezTo>
                  <a:pt x="1963" y="2318"/>
                  <a:pt x="1947" y="2325"/>
                  <a:pt x="1870" y="2283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7" name="Свердловская область"/>
          <p:cNvSpPr>
            <a:spLocks/>
          </p:cNvSpPr>
          <p:nvPr/>
        </p:nvSpPr>
        <p:spPr bwMode="auto">
          <a:xfrm>
            <a:off x="2720984" y="3240925"/>
            <a:ext cx="553913" cy="583037"/>
          </a:xfrm>
          <a:custGeom>
            <a:avLst/>
            <a:gdLst/>
            <a:ahLst/>
            <a:cxnLst>
              <a:cxn ang="0">
                <a:pos x="1238" y="2119"/>
              </a:cxn>
              <a:cxn ang="0">
                <a:pos x="992" y="2024"/>
              </a:cxn>
              <a:cxn ang="0">
                <a:pos x="894" y="2058"/>
              </a:cxn>
              <a:cxn ang="0">
                <a:pos x="830" y="2093"/>
              </a:cxn>
              <a:cxn ang="0">
                <a:pos x="768" y="2050"/>
              </a:cxn>
              <a:cxn ang="0">
                <a:pos x="686" y="2008"/>
              </a:cxn>
              <a:cxn ang="0">
                <a:pos x="429" y="1901"/>
              </a:cxn>
              <a:cxn ang="0">
                <a:pos x="376" y="1848"/>
              </a:cxn>
              <a:cxn ang="0">
                <a:pos x="282" y="1823"/>
              </a:cxn>
              <a:cxn ang="0">
                <a:pos x="221" y="1850"/>
              </a:cxn>
              <a:cxn ang="0">
                <a:pos x="115" y="1792"/>
              </a:cxn>
              <a:cxn ang="0">
                <a:pos x="30" y="1600"/>
              </a:cxn>
              <a:cxn ang="0">
                <a:pos x="48" y="1520"/>
              </a:cxn>
              <a:cxn ang="0">
                <a:pos x="136" y="1512"/>
              </a:cxn>
              <a:cxn ang="0">
                <a:pos x="262" y="1427"/>
              </a:cxn>
              <a:cxn ang="0">
                <a:pos x="408" y="1365"/>
              </a:cxn>
              <a:cxn ang="0">
                <a:pos x="514" y="1301"/>
              </a:cxn>
              <a:cxn ang="0">
                <a:pos x="693" y="1167"/>
              </a:cxn>
              <a:cxn ang="0">
                <a:pos x="741" y="1091"/>
              </a:cxn>
              <a:cxn ang="0">
                <a:pos x="765" y="999"/>
              </a:cxn>
              <a:cxn ang="0">
                <a:pos x="760" y="843"/>
              </a:cxn>
              <a:cxn ang="0">
                <a:pos x="773" y="693"/>
              </a:cxn>
              <a:cxn ang="0">
                <a:pos x="1038" y="432"/>
              </a:cxn>
              <a:cxn ang="0">
                <a:pos x="1104" y="304"/>
              </a:cxn>
              <a:cxn ang="0">
                <a:pos x="1186" y="131"/>
              </a:cxn>
              <a:cxn ang="0">
                <a:pos x="1208" y="90"/>
              </a:cxn>
              <a:cxn ang="0">
                <a:pos x="1230" y="31"/>
              </a:cxn>
              <a:cxn ang="0">
                <a:pos x="1270" y="48"/>
              </a:cxn>
              <a:cxn ang="0">
                <a:pos x="1389" y="184"/>
              </a:cxn>
              <a:cxn ang="0">
                <a:pos x="1554" y="375"/>
              </a:cxn>
              <a:cxn ang="0">
                <a:pos x="1645" y="523"/>
              </a:cxn>
              <a:cxn ang="0">
                <a:pos x="1610" y="674"/>
              </a:cxn>
              <a:cxn ang="0">
                <a:pos x="1576" y="823"/>
              </a:cxn>
              <a:cxn ang="0">
                <a:pos x="1611" y="893"/>
              </a:cxn>
              <a:cxn ang="0">
                <a:pos x="1621" y="1063"/>
              </a:cxn>
              <a:cxn ang="0">
                <a:pos x="1595" y="1160"/>
              </a:cxn>
              <a:cxn ang="0">
                <a:pos x="1643" y="1200"/>
              </a:cxn>
              <a:cxn ang="0">
                <a:pos x="1701" y="1240"/>
              </a:cxn>
              <a:cxn ang="0">
                <a:pos x="1757" y="1280"/>
              </a:cxn>
              <a:cxn ang="0">
                <a:pos x="1800" y="1413"/>
              </a:cxn>
              <a:cxn ang="0">
                <a:pos x="1824" y="1544"/>
              </a:cxn>
              <a:cxn ang="0">
                <a:pos x="1848" y="1666"/>
              </a:cxn>
              <a:cxn ang="0">
                <a:pos x="1848" y="1747"/>
              </a:cxn>
              <a:cxn ang="0">
                <a:pos x="1789" y="1757"/>
              </a:cxn>
              <a:cxn ang="0">
                <a:pos x="1613" y="1749"/>
              </a:cxn>
              <a:cxn ang="0">
                <a:pos x="1480" y="2050"/>
              </a:cxn>
              <a:cxn ang="0">
                <a:pos x="1472" y="2120"/>
              </a:cxn>
              <a:cxn ang="0">
                <a:pos x="1414" y="2095"/>
              </a:cxn>
              <a:cxn ang="0">
                <a:pos x="1314" y="2112"/>
              </a:cxn>
              <a:cxn ang="0">
                <a:pos x="1261" y="2152"/>
              </a:cxn>
              <a:cxn ang="0">
                <a:pos x="1238" y="2119"/>
              </a:cxn>
            </a:cxnLst>
            <a:rect l="0" t="0" r="r" b="b"/>
            <a:pathLst>
              <a:path w="1848" h="2152">
                <a:moveTo>
                  <a:pt x="1238" y="2119"/>
                </a:moveTo>
                <a:cubicBezTo>
                  <a:pt x="1216" y="2085"/>
                  <a:pt x="1059" y="2024"/>
                  <a:pt x="992" y="2024"/>
                </a:cubicBezTo>
                <a:cubicBezTo>
                  <a:pt x="974" y="2024"/>
                  <a:pt x="931" y="2039"/>
                  <a:pt x="894" y="2058"/>
                </a:cubicBezTo>
                <a:lnTo>
                  <a:pt x="830" y="2093"/>
                </a:lnTo>
                <a:lnTo>
                  <a:pt x="768" y="2050"/>
                </a:lnTo>
                <a:cubicBezTo>
                  <a:pt x="733" y="2027"/>
                  <a:pt x="696" y="2008"/>
                  <a:pt x="686" y="2008"/>
                </a:cubicBezTo>
                <a:cubicBezTo>
                  <a:pt x="670" y="2008"/>
                  <a:pt x="622" y="1987"/>
                  <a:pt x="429" y="1901"/>
                </a:cubicBezTo>
                <a:cubicBezTo>
                  <a:pt x="395" y="1887"/>
                  <a:pt x="376" y="1867"/>
                  <a:pt x="376" y="1848"/>
                </a:cubicBezTo>
                <a:cubicBezTo>
                  <a:pt x="376" y="1802"/>
                  <a:pt x="347" y="1794"/>
                  <a:pt x="282" y="1823"/>
                </a:cubicBezTo>
                <a:lnTo>
                  <a:pt x="221" y="1850"/>
                </a:lnTo>
                <a:lnTo>
                  <a:pt x="115" y="1792"/>
                </a:lnTo>
                <a:cubicBezTo>
                  <a:pt x="0" y="1728"/>
                  <a:pt x="0" y="1728"/>
                  <a:pt x="30" y="1600"/>
                </a:cubicBezTo>
                <a:lnTo>
                  <a:pt x="48" y="1520"/>
                </a:lnTo>
                <a:lnTo>
                  <a:pt x="136" y="1512"/>
                </a:lnTo>
                <a:cubicBezTo>
                  <a:pt x="222" y="1504"/>
                  <a:pt x="224" y="1503"/>
                  <a:pt x="262" y="1427"/>
                </a:cubicBezTo>
                <a:cubicBezTo>
                  <a:pt x="301" y="1347"/>
                  <a:pt x="312" y="1343"/>
                  <a:pt x="408" y="1365"/>
                </a:cubicBezTo>
                <a:cubicBezTo>
                  <a:pt x="486" y="1384"/>
                  <a:pt x="502" y="1375"/>
                  <a:pt x="514" y="1301"/>
                </a:cubicBezTo>
                <a:cubicBezTo>
                  <a:pt x="525" y="1234"/>
                  <a:pt x="517" y="1240"/>
                  <a:pt x="693" y="1167"/>
                </a:cubicBezTo>
                <a:cubicBezTo>
                  <a:pt x="738" y="1147"/>
                  <a:pt x="744" y="1136"/>
                  <a:pt x="741" y="1091"/>
                </a:cubicBezTo>
                <a:cubicBezTo>
                  <a:pt x="739" y="1061"/>
                  <a:pt x="750" y="1021"/>
                  <a:pt x="765" y="999"/>
                </a:cubicBezTo>
                <a:cubicBezTo>
                  <a:pt x="800" y="949"/>
                  <a:pt x="798" y="917"/>
                  <a:pt x="760" y="843"/>
                </a:cubicBezTo>
                <a:cubicBezTo>
                  <a:pt x="715" y="760"/>
                  <a:pt x="718" y="715"/>
                  <a:pt x="773" y="693"/>
                </a:cubicBezTo>
                <a:cubicBezTo>
                  <a:pt x="814" y="674"/>
                  <a:pt x="931" y="560"/>
                  <a:pt x="1038" y="432"/>
                </a:cubicBezTo>
                <a:cubicBezTo>
                  <a:pt x="1069" y="395"/>
                  <a:pt x="1098" y="339"/>
                  <a:pt x="1104" y="304"/>
                </a:cubicBezTo>
                <a:cubicBezTo>
                  <a:pt x="1117" y="229"/>
                  <a:pt x="1155" y="149"/>
                  <a:pt x="1186" y="131"/>
                </a:cubicBezTo>
                <a:cubicBezTo>
                  <a:pt x="1198" y="123"/>
                  <a:pt x="1208" y="106"/>
                  <a:pt x="1208" y="90"/>
                </a:cubicBezTo>
                <a:cubicBezTo>
                  <a:pt x="1208" y="74"/>
                  <a:pt x="1218" y="48"/>
                  <a:pt x="1230" y="31"/>
                </a:cubicBezTo>
                <a:cubicBezTo>
                  <a:pt x="1253" y="0"/>
                  <a:pt x="1254" y="2"/>
                  <a:pt x="1270" y="48"/>
                </a:cubicBezTo>
                <a:cubicBezTo>
                  <a:pt x="1299" y="128"/>
                  <a:pt x="1312" y="143"/>
                  <a:pt x="1389" y="184"/>
                </a:cubicBezTo>
                <a:cubicBezTo>
                  <a:pt x="1450" y="216"/>
                  <a:pt x="1478" y="250"/>
                  <a:pt x="1554" y="375"/>
                </a:cubicBezTo>
                <a:lnTo>
                  <a:pt x="1645" y="523"/>
                </a:lnTo>
                <a:lnTo>
                  <a:pt x="1610" y="674"/>
                </a:lnTo>
                <a:lnTo>
                  <a:pt x="1576" y="823"/>
                </a:lnTo>
                <a:lnTo>
                  <a:pt x="1611" y="893"/>
                </a:lnTo>
                <a:cubicBezTo>
                  <a:pt x="1643" y="962"/>
                  <a:pt x="1643" y="968"/>
                  <a:pt x="1621" y="1063"/>
                </a:cubicBezTo>
                <a:lnTo>
                  <a:pt x="1595" y="1160"/>
                </a:lnTo>
                <a:lnTo>
                  <a:pt x="1643" y="1200"/>
                </a:lnTo>
                <a:cubicBezTo>
                  <a:pt x="1669" y="1221"/>
                  <a:pt x="1696" y="1240"/>
                  <a:pt x="1701" y="1240"/>
                </a:cubicBezTo>
                <a:cubicBezTo>
                  <a:pt x="1707" y="1240"/>
                  <a:pt x="1733" y="1258"/>
                  <a:pt x="1757" y="1280"/>
                </a:cubicBezTo>
                <a:cubicBezTo>
                  <a:pt x="1794" y="1315"/>
                  <a:pt x="1800" y="1333"/>
                  <a:pt x="1800" y="1413"/>
                </a:cubicBezTo>
                <a:cubicBezTo>
                  <a:pt x="1802" y="1463"/>
                  <a:pt x="1811" y="1522"/>
                  <a:pt x="1824" y="1544"/>
                </a:cubicBezTo>
                <a:cubicBezTo>
                  <a:pt x="1837" y="1565"/>
                  <a:pt x="1848" y="1621"/>
                  <a:pt x="1848" y="1666"/>
                </a:cubicBezTo>
                <a:lnTo>
                  <a:pt x="1848" y="1747"/>
                </a:lnTo>
                <a:lnTo>
                  <a:pt x="1789" y="1757"/>
                </a:lnTo>
                <a:cubicBezTo>
                  <a:pt x="1696" y="1773"/>
                  <a:pt x="1632" y="1770"/>
                  <a:pt x="1613" y="1749"/>
                </a:cubicBezTo>
                <a:cubicBezTo>
                  <a:pt x="1584" y="1722"/>
                  <a:pt x="1480" y="1959"/>
                  <a:pt x="1480" y="2050"/>
                </a:cubicBezTo>
                <a:cubicBezTo>
                  <a:pt x="1480" y="2088"/>
                  <a:pt x="1477" y="2120"/>
                  <a:pt x="1472" y="2120"/>
                </a:cubicBezTo>
                <a:cubicBezTo>
                  <a:pt x="1467" y="2120"/>
                  <a:pt x="1442" y="2109"/>
                  <a:pt x="1414" y="2095"/>
                </a:cubicBezTo>
                <a:cubicBezTo>
                  <a:pt x="1370" y="2072"/>
                  <a:pt x="1365" y="2072"/>
                  <a:pt x="1314" y="2112"/>
                </a:cubicBezTo>
                <a:lnTo>
                  <a:pt x="1261" y="2152"/>
                </a:lnTo>
                <a:lnTo>
                  <a:pt x="1238" y="2119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8" name="Смоленская область"/>
          <p:cNvSpPr>
            <a:spLocks/>
          </p:cNvSpPr>
          <p:nvPr/>
        </p:nvSpPr>
        <p:spPr bwMode="auto">
          <a:xfrm>
            <a:off x="1286212" y="2862386"/>
            <a:ext cx="293620" cy="208849"/>
          </a:xfrm>
          <a:custGeom>
            <a:avLst/>
            <a:gdLst/>
            <a:ahLst/>
            <a:cxnLst>
              <a:cxn ang="0">
                <a:pos x="48" y="752"/>
              </a:cxn>
              <a:cxn ang="0">
                <a:pos x="75" y="357"/>
              </a:cxn>
              <a:cxn ang="0">
                <a:pos x="226" y="94"/>
              </a:cxn>
              <a:cxn ang="0">
                <a:pos x="376" y="19"/>
              </a:cxn>
              <a:cxn ang="0">
                <a:pos x="523" y="189"/>
              </a:cxn>
              <a:cxn ang="0">
                <a:pos x="616" y="339"/>
              </a:cxn>
              <a:cxn ang="0">
                <a:pos x="853" y="339"/>
              </a:cxn>
              <a:cxn ang="0">
                <a:pos x="917" y="421"/>
              </a:cxn>
              <a:cxn ang="0">
                <a:pos x="981" y="515"/>
              </a:cxn>
              <a:cxn ang="0">
                <a:pos x="863" y="734"/>
              </a:cxn>
              <a:cxn ang="0">
                <a:pos x="682" y="765"/>
              </a:cxn>
              <a:cxn ang="0">
                <a:pos x="520" y="776"/>
              </a:cxn>
              <a:cxn ang="0">
                <a:pos x="440" y="683"/>
              </a:cxn>
              <a:cxn ang="0">
                <a:pos x="363" y="718"/>
              </a:cxn>
              <a:cxn ang="0">
                <a:pos x="48" y="752"/>
              </a:cxn>
            </a:cxnLst>
            <a:rect l="0" t="0" r="r" b="b"/>
            <a:pathLst>
              <a:path w="981" h="776">
                <a:moveTo>
                  <a:pt x="48" y="752"/>
                </a:moveTo>
                <a:cubicBezTo>
                  <a:pt x="0" y="725"/>
                  <a:pt x="13" y="549"/>
                  <a:pt x="75" y="357"/>
                </a:cubicBezTo>
                <a:cubicBezTo>
                  <a:pt x="127" y="203"/>
                  <a:pt x="138" y="182"/>
                  <a:pt x="226" y="94"/>
                </a:cubicBezTo>
                <a:cubicBezTo>
                  <a:pt x="320" y="0"/>
                  <a:pt x="322" y="0"/>
                  <a:pt x="376" y="19"/>
                </a:cubicBezTo>
                <a:cubicBezTo>
                  <a:pt x="421" y="35"/>
                  <a:pt x="450" y="67"/>
                  <a:pt x="523" y="189"/>
                </a:cubicBezTo>
                <a:lnTo>
                  <a:pt x="616" y="339"/>
                </a:lnTo>
                <a:lnTo>
                  <a:pt x="853" y="339"/>
                </a:lnTo>
                <a:lnTo>
                  <a:pt x="917" y="421"/>
                </a:lnTo>
                <a:cubicBezTo>
                  <a:pt x="952" y="466"/>
                  <a:pt x="981" y="507"/>
                  <a:pt x="981" y="515"/>
                </a:cubicBezTo>
                <a:cubicBezTo>
                  <a:pt x="981" y="533"/>
                  <a:pt x="887" y="709"/>
                  <a:pt x="863" y="734"/>
                </a:cubicBezTo>
                <a:cubicBezTo>
                  <a:pt x="850" y="747"/>
                  <a:pt x="781" y="760"/>
                  <a:pt x="682" y="765"/>
                </a:cubicBezTo>
                <a:lnTo>
                  <a:pt x="520" y="776"/>
                </a:lnTo>
                <a:lnTo>
                  <a:pt x="440" y="683"/>
                </a:lnTo>
                <a:lnTo>
                  <a:pt x="363" y="718"/>
                </a:lnTo>
                <a:cubicBezTo>
                  <a:pt x="279" y="755"/>
                  <a:pt x="90" y="776"/>
                  <a:pt x="48" y="75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9" name="Ставропольский край"/>
          <p:cNvSpPr>
            <a:spLocks/>
          </p:cNvSpPr>
          <p:nvPr/>
        </p:nvSpPr>
        <p:spPr bwMode="auto">
          <a:xfrm>
            <a:off x="1086257" y="4015406"/>
            <a:ext cx="279337" cy="321976"/>
          </a:xfrm>
          <a:custGeom>
            <a:avLst/>
            <a:gdLst>
              <a:gd name="T0" fmla="*/ 421 w 58"/>
              <a:gd name="T1" fmla="*/ 1171 h 74"/>
              <a:gd name="T2" fmla="*/ 416 w 58"/>
              <a:gd name="T3" fmla="*/ 1097 h 74"/>
              <a:gd name="T4" fmla="*/ 389 w 58"/>
              <a:gd name="T5" fmla="*/ 987 h 74"/>
              <a:gd name="T6" fmla="*/ 198 w 58"/>
              <a:gd name="T7" fmla="*/ 886 h 74"/>
              <a:gd name="T8" fmla="*/ 54 w 58"/>
              <a:gd name="T9" fmla="*/ 742 h 74"/>
              <a:gd name="T10" fmla="*/ 66 w 58"/>
              <a:gd name="T11" fmla="*/ 673 h 74"/>
              <a:gd name="T12" fmla="*/ 58 w 58"/>
              <a:gd name="T13" fmla="*/ 558 h 74"/>
              <a:gd name="T14" fmla="*/ 0 w 58"/>
              <a:gd name="T15" fmla="*/ 444 h 74"/>
              <a:gd name="T16" fmla="*/ 67 w 58"/>
              <a:gd name="T17" fmla="*/ 320 h 74"/>
              <a:gd name="T18" fmla="*/ 72 w 58"/>
              <a:gd name="T19" fmla="*/ 204 h 74"/>
              <a:gd name="T20" fmla="*/ 70 w 58"/>
              <a:gd name="T21" fmla="*/ 73 h 74"/>
              <a:gd name="T22" fmla="*/ 141 w 58"/>
              <a:gd name="T23" fmla="*/ 35 h 74"/>
              <a:gd name="T24" fmla="*/ 222 w 58"/>
              <a:gd name="T25" fmla="*/ 19 h 74"/>
              <a:gd name="T26" fmla="*/ 326 w 58"/>
              <a:gd name="T27" fmla="*/ 64 h 74"/>
              <a:gd name="T28" fmla="*/ 422 w 58"/>
              <a:gd name="T29" fmla="*/ 120 h 74"/>
              <a:gd name="T30" fmla="*/ 459 w 58"/>
              <a:gd name="T31" fmla="*/ 142 h 74"/>
              <a:gd name="T32" fmla="*/ 534 w 58"/>
              <a:gd name="T33" fmla="*/ 177 h 74"/>
              <a:gd name="T34" fmla="*/ 662 w 58"/>
              <a:gd name="T35" fmla="*/ 275 h 74"/>
              <a:gd name="T36" fmla="*/ 746 w 58"/>
              <a:gd name="T37" fmla="*/ 470 h 74"/>
              <a:gd name="T38" fmla="*/ 821 w 58"/>
              <a:gd name="T39" fmla="*/ 683 h 74"/>
              <a:gd name="T40" fmla="*/ 891 w 58"/>
              <a:gd name="T41" fmla="*/ 939 h 74"/>
              <a:gd name="T42" fmla="*/ 760 w 58"/>
              <a:gd name="T43" fmla="*/ 1017 h 74"/>
              <a:gd name="T44" fmla="*/ 614 w 58"/>
              <a:gd name="T45" fmla="*/ 1144 h 74"/>
              <a:gd name="T46" fmla="*/ 539 w 58"/>
              <a:gd name="T47" fmla="*/ 1177 h 74"/>
              <a:gd name="T48" fmla="*/ 421 w 58"/>
              <a:gd name="T49" fmla="*/ 1171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8"/>
              <a:gd name="T76" fmla="*/ 0 h 74"/>
              <a:gd name="T77" fmla="*/ 918 w 58"/>
              <a:gd name="T78" fmla="*/ 1177 h 7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8" h="74">
                <a:moveTo>
                  <a:pt x="27" y="74"/>
                </a:moveTo>
                <a:cubicBezTo>
                  <a:pt x="24" y="73"/>
                  <a:pt x="24" y="73"/>
                  <a:pt x="26" y="69"/>
                </a:cubicBezTo>
                <a:cubicBezTo>
                  <a:pt x="29" y="65"/>
                  <a:pt x="29" y="64"/>
                  <a:pt x="25" y="62"/>
                </a:cubicBezTo>
                <a:cubicBezTo>
                  <a:pt x="22" y="61"/>
                  <a:pt x="17" y="58"/>
                  <a:pt x="13" y="56"/>
                </a:cubicBezTo>
                <a:cubicBezTo>
                  <a:pt x="5" y="51"/>
                  <a:pt x="4" y="51"/>
                  <a:pt x="3" y="47"/>
                </a:cubicBezTo>
                <a:cubicBezTo>
                  <a:pt x="3" y="43"/>
                  <a:pt x="3" y="42"/>
                  <a:pt x="4" y="42"/>
                </a:cubicBezTo>
                <a:cubicBezTo>
                  <a:pt x="7" y="42"/>
                  <a:pt x="7" y="40"/>
                  <a:pt x="4" y="35"/>
                </a:cubicBezTo>
                <a:cubicBezTo>
                  <a:pt x="2" y="32"/>
                  <a:pt x="0" y="29"/>
                  <a:pt x="0" y="28"/>
                </a:cubicBezTo>
                <a:cubicBezTo>
                  <a:pt x="0" y="25"/>
                  <a:pt x="2" y="22"/>
                  <a:pt x="4" y="20"/>
                </a:cubicBezTo>
                <a:cubicBezTo>
                  <a:pt x="6" y="18"/>
                  <a:pt x="6" y="18"/>
                  <a:pt x="5" y="13"/>
                </a:cubicBezTo>
                <a:cubicBezTo>
                  <a:pt x="3" y="8"/>
                  <a:pt x="3" y="7"/>
                  <a:pt x="4" y="5"/>
                </a:cubicBezTo>
                <a:cubicBezTo>
                  <a:pt x="6" y="3"/>
                  <a:pt x="7" y="2"/>
                  <a:pt x="9" y="2"/>
                </a:cubicBezTo>
                <a:cubicBezTo>
                  <a:pt x="10" y="2"/>
                  <a:pt x="13" y="2"/>
                  <a:pt x="14" y="1"/>
                </a:cubicBezTo>
                <a:cubicBezTo>
                  <a:pt x="16" y="0"/>
                  <a:pt x="17" y="0"/>
                  <a:pt x="21" y="4"/>
                </a:cubicBezTo>
                <a:cubicBezTo>
                  <a:pt x="24" y="7"/>
                  <a:pt x="25" y="8"/>
                  <a:pt x="27" y="8"/>
                </a:cubicBezTo>
                <a:cubicBezTo>
                  <a:pt x="28" y="7"/>
                  <a:pt x="29" y="7"/>
                  <a:pt x="29" y="9"/>
                </a:cubicBezTo>
                <a:cubicBezTo>
                  <a:pt x="29" y="11"/>
                  <a:pt x="30" y="11"/>
                  <a:pt x="34" y="11"/>
                </a:cubicBezTo>
                <a:cubicBezTo>
                  <a:pt x="38" y="11"/>
                  <a:pt x="38" y="11"/>
                  <a:pt x="42" y="17"/>
                </a:cubicBezTo>
                <a:cubicBezTo>
                  <a:pt x="44" y="21"/>
                  <a:pt x="46" y="26"/>
                  <a:pt x="47" y="30"/>
                </a:cubicBezTo>
                <a:cubicBezTo>
                  <a:pt x="48" y="33"/>
                  <a:pt x="50" y="39"/>
                  <a:pt x="52" y="43"/>
                </a:cubicBezTo>
                <a:cubicBezTo>
                  <a:pt x="56" y="52"/>
                  <a:pt x="58" y="58"/>
                  <a:pt x="56" y="59"/>
                </a:cubicBezTo>
                <a:cubicBezTo>
                  <a:pt x="56" y="60"/>
                  <a:pt x="52" y="62"/>
                  <a:pt x="48" y="64"/>
                </a:cubicBezTo>
                <a:cubicBezTo>
                  <a:pt x="39" y="69"/>
                  <a:pt x="38" y="69"/>
                  <a:pt x="39" y="72"/>
                </a:cubicBezTo>
                <a:cubicBezTo>
                  <a:pt x="39" y="74"/>
                  <a:pt x="39" y="74"/>
                  <a:pt x="34" y="74"/>
                </a:cubicBezTo>
                <a:cubicBezTo>
                  <a:pt x="31" y="74"/>
                  <a:pt x="28" y="74"/>
                  <a:pt x="27" y="74"/>
                </a:cubicBezTo>
                <a:cubicBezTo>
                  <a:pt x="27" y="74"/>
                  <a:pt x="27" y="74"/>
                  <a:pt x="27" y="74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sp>
      <p:sp>
        <p:nvSpPr>
          <p:cNvPr id="200" name="Тамбовская область"/>
          <p:cNvSpPr>
            <a:spLocks/>
          </p:cNvSpPr>
          <p:nvPr/>
        </p:nvSpPr>
        <p:spPr bwMode="auto">
          <a:xfrm>
            <a:off x="1560788" y="3401913"/>
            <a:ext cx="193642" cy="195796"/>
          </a:xfrm>
          <a:custGeom>
            <a:avLst/>
            <a:gdLst/>
            <a:ahLst/>
            <a:cxnLst>
              <a:cxn ang="0">
                <a:pos x="164" y="651"/>
              </a:cxn>
              <a:cxn ang="0">
                <a:pos x="8" y="443"/>
              </a:cxn>
              <a:cxn ang="0">
                <a:pos x="40" y="391"/>
              </a:cxn>
              <a:cxn ang="0">
                <a:pos x="76" y="255"/>
              </a:cxn>
              <a:cxn ang="0">
                <a:pos x="80" y="123"/>
              </a:cxn>
              <a:cxn ang="0">
                <a:pos x="305" y="0"/>
              </a:cxn>
              <a:cxn ang="0">
                <a:pos x="385" y="40"/>
              </a:cxn>
              <a:cxn ang="0">
                <a:pos x="504" y="61"/>
              </a:cxn>
              <a:cxn ang="0">
                <a:pos x="611" y="79"/>
              </a:cxn>
              <a:cxn ang="0">
                <a:pos x="646" y="114"/>
              </a:cxn>
              <a:cxn ang="0">
                <a:pos x="601" y="146"/>
              </a:cxn>
              <a:cxn ang="0">
                <a:pos x="556" y="179"/>
              </a:cxn>
              <a:cxn ang="0">
                <a:pos x="579" y="557"/>
              </a:cxn>
              <a:cxn ang="0">
                <a:pos x="417" y="639"/>
              </a:cxn>
              <a:cxn ang="0">
                <a:pos x="241" y="720"/>
              </a:cxn>
              <a:cxn ang="0">
                <a:pos x="164" y="651"/>
              </a:cxn>
            </a:cxnLst>
            <a:rect l="0" t="0" r="r" b="b"/>
            <a:pathLst>
              <a:path w="646" h="720">
                <a:moveTo>
                  <a:pt x="164" y="651"/>
                </a:moveTo>
                <a:cubicBezTo>
                  <a:pt x="46" y="523"/>
                  <a:pt x="19" y="488"/>
                  <a:pt x="8" y="443"/>
                </a:cubicBezTo>
                <a:cubicBezTo>
                  <a:pt x="0" y="407"/>
                  <a:pt x="3" y="399"/>
                  <a:pt x="40" y="391"/>
                </a:cubicBezTo>
                <a:cubicBezTo>
                  <a:pt x="80" y="379"/>
                  <a:pt x="80" y="378"/>
                  <a:pt x="76" y="255"/>
                </a:cubicBezTo>
                <a:cubicBezTo>
                  <a:pt x="73" y="186"/>
                  <a:pt x="75" y="127"/>
                  <a:pt x="80" y="123"/>
                </a:cubicBezTo>
                <a:cubicBezTo>
                  <a:pt x="195" y="29"/>
                  <a:pt x="249" y="0"/>
                  <a:pt x="305" y="0"/>
                </a:cubicBezTo>
                <a:cubicBezTo>
                  <a:pt x="355" y="0"/>
                  <a:pt x="371" y="7"/>
                  <a:pt x="385" y="40"/>
                </a:cubicBezTo>
                <a:cubicBezTo>
                  <a:pt x="406" y="85"/>
                  <a:pt x="408" y="87"/>
                  <a:pt x="504" y="61"/>
                </a:cubicBezTo>
                <a:cubicBezTo>
                  <a:pt x="571" y="45"/>
                  <a:pt x="580" y="47"/>
                  <a:pt x="611" y="79"/>
                </a:cubicBezTo>
                <a:lnTo>
                  <a:pt x="646" y="114"/>
                </a:lnTo>
                <a:lnTo>
                  <a:pt x="601" y="146"/>
                </a:lnTo>
                <a:lnTo>
                  <a:pt x="556" y="179"/>
                </a:lnTo>
                <a:lnTo>
                  <a:pt x="579" y="557"/>
                </a:lnTo>
                <a:lnTo>
                  <a:pt x="417" y="639"/>
                </a:lnTo>
                <a:cubicBezTo>
                  <a:pt x="328" y="683"/>
                  <a:pt x="249" y="720"/>
                  <a:pt x="241" y="720"/>
                </a:cubicBezTo>
                <a:cubicBezTo>
                  <a:pt x="235" y="720"/>
                  <a:pt x="200" y="690"/>
                  <a:pt x="164" y="651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1" name="Тверская область"/>
          <p:cNvSpPr>
            <a:spLocks/>
          </p:cNvSpPr>
          <p:nvPr/>
        </p:nvSpPr>
        <p:spPr bwMode="auto">
          <a:xfrm>
            <a:off x="1432245" y="2771015"/>
            <a:ext cx="460248" cy="282816"/>
          </a:xfrm>
          <a:custGeom>
            <a:avLst/>
            <a:gdLst/>
            <a:ahLst/>
            <a:cxnLst>
              <a:cxn ang="0">
                <a:pos x="1166" y="1007"/>
              </a:cxn>
              <a:cxn ang="0">
                <a:pos x="973" y="943"/>
              </a:cxn>
              <a:cxn ang="0">
                <a:pos x="778" y="858"/>
              </a:cxn>
              <a:cxn ang="0">
                <a:pos x="661" y="813"/>
              </a:cxn>
              <a:cxn ang="0">
                <a:pos x="570" y="831"/>
              </a:cxn>
              <a:cxn ang="0">
                <a:pos x="475" y="741"/>
              </a:cxn>
              <a:cxn ang="0">
                <a:pos x="400" y="645"/>
              </a:cxn>
              <a:cxn ang="0">
                <a:pos x="293" y="645"/>
              </a:cxn>
              <a:cxn ang="0">
                <a:pos x="166" y="632"/>
              </a:cxn>
              <a:cxn ang="0">
                <a:pos x="0" y="364"/>
              </a:cxn>
              <a:cxn ang="0">
                <a:pos x="48" y="325"/>
              </a:cxn>
              <a:cxn ang="0">
                <a:pos x="136" y="173"/>
              </a:cxn>
              <a:cxn ang="0">
                <a:pos x="243" y="72"/>
              </a:cxn>
              <a:cxn ang="0">
                <a:pos x="426" y="141"/>
              </a:cxn>
              <a:cxn ang="0">
                <a:pos x="635" y="197"/>
              </a:cxn>
              <a:cxn ang="0">
                <a:pos x="794" y="173"/>
              </a:cxn>
              <a:cxn ang="0">
                <a:pos x="901" y="127"/>
              </a:cxn>
              <a:cxn ang="0">
                <a:pos x="994" y="226"/>
              </a:cxn>
              <a:cxn ang="0">
                <a:pos x="1118" y="309"/>
              </a:cxn>
              <a:cxn ang="0">
                <a:pos x="1275" y="341"/>
              </a:cxn>
              <a:cxn ang="0">
                <a:pos x="1426" y="389"/>
              </a:cxn>
              <a:cxn ang="0">
                <a:pos x="1510" y="428"/>
              </a:cxn>
              <a:cxn ang="0">
                <a:pos x="1411" y="626"/>
              </a:cxn>
              <a:cxn ang="0">
                <a:pos x="1294" y="903"/>
              </a:cxn>
              <a:cxn ang="0">
                <a:pos x="1272" y="989"/>
              </a:cxn>
              <a:cxn ang="0">
                <a:pos x="1219" y="1044"/>
              </a:cxn>
              <a:cxn ang="0">
                <a:pos x="1166" y="1007"/>
              </a:cxn>
            </a:cxnLst>
            <a:rect l="0" t="0" r="r" b="b"/>
            <a:pathLst>
              <a:path w="1525" h="1045">
                <a:moveTo>
                  <a:pt x="1166" y="1007"/>
                </a:moveTo>
                <a:cubicBezTo>
                  <a:pt x="1136" y="980"/>
                  <a:pt x="1082" y="962"/>
                  <a:pt x="973" y="943"/>
                </a:cubicBezTo>
                <a:cubicBezTo>
                  <a:pt x="834" y="917"/>
                  <a:pt x="819" y="911"/>
                  <a:pt x="778" y="858"/>
                </a:cubicBezTo>
                <a:cubicBezTo>
                  <a:pt x="734" y="804"/>
                  <a:pt x="730" y="802"/>
                  <a:pt x="661" y="813"/>
                </a:cubicBezTo>
                <a:cubicBezTo>
                  <a:pt x="621" y="818"/>
                  <a:pt x="579" y="826"/>
                  <a:pt x="570" y="831"/>
                </a:cubicBezTo>
                <a:cubicBezTo>
                  <a:pt x="558" y="834"/>
                  <a:pt x="517" y="794"/>
                  <a:pt x="475" y="741"/>
                </a:cubicBezTo>
                <a:lnTo>
                  <a:pt x="400" y="645"/>
                </a:lnTo>
                <a:lnTo>
                  <a:pt x="293" y="645"/>
                </a:lnTo>
                <a:cubicBezTo>
                  <a:pt x="232" y="644"/>
                  <a:pt x="176" y="639"/>
                  <a:pt x="166" y="632"/>
                </a:cubicBezTo>
                <a:cubicBezTo>
                  <a:pt x="142" y="616"/>
                  <a:pt x="0" y="386"/>
                  <a:pt x="0" y="364"/>
                </a:cubicBezTo>
                <a:cubicBezTo>
                  <a:pt x="0" y="352"/>
                  <a:pt x="22" y="335"/>
                  <a:pt x="48" y="325"/>
                </a:cubicBezTo>
                <a:cubicBezTo>
                  <a:pt x="107" y="300"/>
                  <a:pt x="120" y="277"/>
                  <a:pt x="136" y="173"/>
                </a:cubicBezTo>
                <a:cubicBezTo>
                  <a:pt x="155" y="37"/>
                  <a:pt x="195" y="0"/>
                  <a:pt x="243" y="72"/>
                </a:cubicBezTo>
                <a:cubicBezTo>
                  <a:pt x="261" y="100"/>
                  <a:pt x="304" y="116"/>
                  <a:pt x="426" y="141"/>
                </a:cubicBezTo>
                <a:cubicBezTo>
                  <a:pt x="512" y="160"/>
                  <a:pt x="606" y="186"/>
                  <a:pt x="635" y="197"/>
                </a:cubicBezTo>
                <a:cubicBezTo>
                  <a:pt x="680" y="216"/>
                  <a:pt x="696" y="215"/>
                  <a:pt x="794" y="173"/>
                </a:cubicBezTo>
                <a:lnTo>
                  <a:pt x="901" y="127"/>
                </a:lnTo>
                <a:lnTo>
                  <a:pt x="994" y="226"/>
                </a:lnTo>
                <a:cubicBezTo>
                  <a:pt x="1074" y="312"/>
                  <a:pt x="1091" y="324"/>
                  <a:pt x="1118" y="309"/>
                </a:cubicBezTo>
                <a:cubicBezTo>
                  <a:pt x="1166" y="284"/>
                  <a:pt x="1194" y="288"/>
                  <a:pt x="1275" y="341"/>
                </a:cubicBezTo>
                <a:cubicBezTo>
                  <a:pt x="1331" y="376"/>
                  <a:pt x="1370" y="389"/>
                  <a:pt x="1426" y="389"/>
                </a:cubicBezTo>
                <a:cubicBezTo>
                  <a:pt x="1491" y="389"/>
                  <a:pt x="1502" y="394"/>
                  <a:pt x="1510" y="428"/>
                </a:cubicBezTo>
                <a:cubicBezTo>
                  <a:pt x="1525" y="485"/>
                  <a:pt x="1496" y="543"/>
                  <a:pt x="1411" y="626"/>
                </a:cubicBezTo>
                <a:cubicBezTo>
                  <a:pt x="1317" y="717"/>
                  <a:pt x="1261" y="850"/>
                  <a:pt x="1294" y="903"/>
                </a:cubicBezTo>
                <a:cubicBezTo>
                  <a:pt x="1312" y="932"/>
                  <a:pt x="1309" y="943"/>
                  <a:pt x="1272" y="989"/>
                </a:cubicBezTo>
                <a:cubicBezTo>
                  <a:pt x="1250" y="1020"/>
                  <a:pt x="1226" y="1045"/>
                  <a:pt x="1219" y="1044"/>
                </a:cubicBezTo>
                <a:cubicBezTo>
                  <a:pt x="1213" y="1044"/>
                  <a:pt x="1189" y="1028"/>
                  <a:pt x="1166" y="100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2" name="Томская область"/>
          <p:cNvSpPr>
            <a:spLocks/>
          </p:cNvSpPr>
          <p:nvPr/>
        </p:nvSpPr>
        <p:spPr bwMode="auto">
          <a:xfrm>
            <a:off x="3782755" y="3615112"/>
            <a:ext cx="809446" cy="526474"/>
          </a:xfrm>
          <a:custGeom>
            <a:avLst/>
            <a:gdLst/>
            <a:ahLst/>
            <a:cxnLst>
              <a:cxn ang="0">
                <a:pos x="1455" y="1803"/>
              </a:cxn>
              <a:cxn ang="0">
                <a:pos x="1431" y="1672"/>
              </a:cxn>
              <a:cxn ang="0">
                <a:pos x="1279" y="1672"/>
              </a:cxn>
              <a:cxn ang="0">
                <a:pos x="1103" y="1653"/>
              </a:cxn>
              <a:cxn ang="0">
                <a:pos x="980" y="1623"/>
              </a:cxn>
              <a:cxn ang="0">
                <a:pos x="800" y="1501"/>
              </a:cxn>
              <a:cxn ang="0">
                <a:pos x="400" y="1288"/>
              </a:cxn>
              <a:cxn ang="0">
                <a:pos x="148" y="1216"/>
              </a:cxn>
              <a:cxn ang="0">
                <a:pos x="63" y="1029"/>
              </a:cxn>
              <a:cxn ang="0">
                <a:pos x="18" y="770"/>
              </a:cxn>
              <a:cxn ang="0">
                <a:pos x="143" y="560"/>
              </a:cxn>
              <a:cxn ang="0">
                <a:pos x="314" y="432"/>
              </a:cxn>
              <a:cxn ang="0">
                <a:pos x="399" y="410"/>
              </a:cxn>
              <a:cxn ang="0">
                <a:pos x="488" y="200"/>
              </a:cxn>
              <a:cxn ang="0">
                <a:pos x="567" y="3"/>
              </a:cxn>
              <a:cxn ang="0">
                <a:pos x="720" y="8"/>
              </a:cxn>
              <a:cxn ang="0">
                <a:pos x="890" y="66"/>
              </a:cxn>
              <a:cxn ang="0">
                <a:pos x="914" y="112"/>
              </a:cxn>
              <a:cxn ang="0">
                <a:pos x="1045" y="101"/>
              </a:cxn>
              <a:cxn ang="0">
                <a:pos x="1292" y="149"/>
              </a:cxn>
              <a:cxn ang="0">
                <a:pos x="1429" y="208"/>
              </a:cxn>
              <a:cxn ang="0">
                <a:pos x="1562" y="136"/>
              </a:cxn>
              <a:cxn ang="0">
                <a:pos x="1700" y="82"/>
              </a:cxn>
              <a:cxn ang="0">
                <a:pos x="1728" y="112"/>
              </a:cxn>
              <a:cxn ang="0">
                <a:pos x="1767" y="143"/>
              </a:cxn>
              <a:cxn ang="0">
                <a:pos x="1839" y="232"/>
              </a:cxn>
              <a:cxn ang="0">
                <a:pos x="1872" y="307"/>
              </a:cxn>
              <a:cxn ang="0">
                <a:pos x="1840" y="352"/>
              </a:cxn>
              <a:cxn ang="0">
                <a:pos x="1831" y="445"/>
              </a:cxn>
              <a:cxn ang="0">
                <a:pos x="2119" y="522"/>
              </a:cxn>
              <a:cxn ang="0">
                <a:pos x="2311" y="605"/>
              </a:cxn>
              <a:cxn ang="0">
                <a:pos x="2504" y="752"/>
              </a:cxn>
              <a:cxn ang="0">
                <a:pos x="2576" y="792"/>
              </a:cxn>
              <a:cxn ang="0">
                <a:pos x="2514" y="911"/>
              </a:cxn>
              <a:cxn ang="0">
                <a:pos x="2416" y="1114"/>
              </a:cxn>
              <a:cxn ang="0">
                <a:pos x="2485" y="1184"/>
              </a:cxn>
              <a:cxn ang="0">
                <a:pos x="2685" y="1266"/>
              </a:cxn>
              <a:cxn ang="0">
                <a:pos x="2616" y="1391"/>
              </a:cxn>
              <a:cxn ang="0">
                <a:pos x="2551" y="1541"/>
              </a:cxn>
              <a:cxn ang="0">
                <a:pos x="2317" y="1667"/>
              </a:cxn>
              <a:cxn ang="0">
                <a:pos x="2031" y="1736"/>
              </a:cxn>
              <a:cxn ang="0">
                <a:pos x="1818" y="1813"/>
              </a:cxn>
              <a:cxn ang="0">
                <a:pos x="1602" y="1887"/>
              </a:cxn>
              <a:cxn ang="0">
                <a:pos x="1492" y="1936"/>
              </a:cxn>
              <a:cxn ang="0">
                <a:pos x="1455" y="1803"/>
              </a:cxn>
            </a:cxnLst>
            <a:rect l="0" t="0" r="r" b="b"/>
            <a:pathLst>
              <a:path w="2688" h="1936">
                <a:moveTo>
                  <a:pt x="1455" y="1803"/>
                </a:moveTo>
                <a:lnTo>
                  <a:pt x="1431" y="1672"/>
                </a:lnTo>
                <a:lnTo>
                  <a:pt x="1279" y="1672"/>
                </a:lnTo>
                <a:cubicBezTo>
                  <a:pt x="1186" y="1672"/>
                  <a:pt x="1117" y="1664"/>
                  <a:pt x="1103" y="1653"/>
                </a:cubicBezTo>
                <a:cubicBezTo>
                  <a:pt x="1090" y="1643"/>
                  <a:pt x="1034" y="1629"/>
                  <a:pt x="980" y="1623"/>
                </a:cubicBezTo>
                <a:cubicBezTo>
                  <a:pt x="869" y="1610"/>
                  <a:pt x="869" y="1610"/>
                  <a:pt x="800" y="1501"/>
                </a:cubicBezTo>
                <a:cubicBezTo>
                  <a:pt x="735" y="1395"/>
                  <a:pt x="666" y="1359"/>
                  <a:pt x="400" y="1288"/>
                </a:cubicBezTo>
                <a:cubicBezTo>
                  <a:pt x="272" y="1255"/>
                  <a:pt x="160" y="1223"/>
                  <a:pt x="148" y="1216"/>
                </a:cubicBezTo>
                <a:cubicBezTo>
                  <a:pt x="135" y="1210"/>
                  <a:pt x="96" y="1125"/>
                  <a:pt x="63" y="1029"/>
                </a:cubicBezTo>
                <a:cubicBezTo>
                  <a:pt x="2" y="864"/>
                  <a:pt x="0" y="851"/>
                  <a:pt x="18" y="770"/>
                </a:cubicBezTo>
                <a:cubicBezTo>
                  <a:pt x="34" y="703"/>
                  <a:pt x="58" y="661"/>
                  <a:pt x="143" y="560"/>
                </a:cubicBezTo>
                <a:cubicBezTo>
                  <a:pt x="242" y="440"/>
                  <a:pt x="252" y="434"/>
                  <a:pt x="314" y="432"/>
                </a:cubicBezTo>
                <a:cubicBezTo>
                  <a:pt x="351" y="432"/>
                  <a:pt x="389" y="423"/>
                  <a:pt x="399" y="410"/>
                </a:cubicBezTo>
                <a:cubicBezTo>
                  <a:pt x="408" y="399"/>
                  <a:pt x="448" y="304"/>
                  <a:pt x="488" y="200"/>
                </a:cubicBezTo>
                <a:cubicBezTo>
                  <a:pt x="527" y="96"/>
                  <a:pt x="564" y="8"/>
                  <a:pt x="567" y="3"/>
                </a:cubicBezTo>
                <a:cubicBezTo>
                  <a:pt x="570" y="0"/>
                  <a:pt x="639" y="2"/>
                  <a:pt x="720" y="8"/>
                </a:cubicBezTo>
                <a:cubicBezTo>
                  <a:pt x="860" y="19"/>
                  <a:pt x="868" y="23"/>
                  <a:pt x="890" y="66"/>
                </a:cubicBezTo>
                <a:lnTo>
                  <a:pt x="914" y="112"/>
                </a:lnTo>
                <a:lnTo>
                  <a:pt x="1045" y="101"/>
                </a:lnTo>
                <a:cubicBezTo>
                  <a:pt x="1173" y="91"/>
                  <a:pt x="1180" y="93"/>
                  <a:pt x="1292" y="149"/>
                </a:cubicBezTo>
                <a:cubicBezTo>
                  <a:pt x="1356" y="181"/>
                  <a:pt x="1418" y="208"/>
                  <a:pt x="1429" y="208"/>
                </a:cubicBezTo>
                <a:cubicBezTo>
                  <a:pt x="1442" y="208"/>
                  <a:pt x="1501" y="176"/>
                  <a:pt x="1562" y="136"/>
                </a:cubicBezTo>
                <a:cubicBezTo>
                  <a:pt x="1647" y="82"/>
                  <a:pt x="1677" y="69"/>
                  <a:pt x="1700" y="82"/>
                </a:cubicBezTo>
                <a:cubicBezTo>
                  <a:pt x="1716" y="90"/>
                  <a:pt x="1728" y="104"/>
                  <a:pt x="1728" y="112"/>
                </a:cubicBezTo>
                <a:cubicBezTo>
                  <a:pt x="1728" y="122"/>
                  <a:pt x="1746" y="135"/>
                  <a:pt x="1767" y="143"/>
                </a:cubicBezTo>
                <a:cubicBezTo>
                  <a:pt x="1791" y="152"/>
                  <a:pt x="1820" y="186"/>
                  <a:pt x="1839" y="232"/>
                </a:cubicBezTo>
                <a:lnTo>
                  <a:pt x="1872" y="307"/>
                </a:lnTo>
                <a:lnTo>
                  <a:pt x="1840" y="352"/>
                </a:lnTo>
                <a:cubicBezTo>
                  <a:pt x="1810" y="395"/>
                  <a:pt x="1808" y="402"/>
                  <a:pt x="1831" y="445"/>
                </a:cubicBezTo>
                <a:cubicBezTo>
                  <a:pt x="1858" y="496"/>
                  <a:pt x="1872" y="499"/>
                  <a:pt x="2119" y="522"/>
                </a:cubicBezTo>
                <a:cubicBezTo>
                  <a:pt x="2245" y="531"/>
                  <a:pt x="2247" y="533"/>
                  <a:pt x="2311" y="605"/>
                </a:cubicBezTo>
                <a:cubicBezTo>
                  <a:pt x="2437" y="746"/>
                  <a:pt x="2445" y="752"/>
                  <a:pt x="2504" y="752"/>
                </a:cubicBezTo>
                <a:cubicBezTo>
                  <a:pt x="2551" y="752"/>
                  <a:pt x="2564" y="759"/>
                  <a:pt x="2576" y="792"/>
                </a:cubicBezTo>
                <a:cubicBezTo>
                  <a:pt x="2600" y="855"/>
                  <a:pt x="2599" y="856"/>
                  <a:pt x="2514" y="911"/>
                </a:cubicBezTo>
                <a:cubicBezTo>
                  <a:pt x="2432" y="963"/>
                  <a:pt x="2416" y="997"/>
                  <a:pt x="2416" y="1114"/>
                </a:cubicBezTo>
                <a:cubicBezTo>
                  <a:pt x="2416" y="1162"/>
                  <a:pt x="2421" y="1168"/>
                  <a:pt x="2485" y="1184"/>
                </a:cubicBezTo>
                <a:cubicBezTo>
                  <a:pt x="2642" y="1227"/>
                  <a:pt x="2680" y="1243"/>
                  <a:pt x="2685" y="1266"/>
                </a:cubicBezTo>
                <a:cubicBezTo>
                  <a:pt x="2688" y="1280"/>
                  <a:pt x="2656" y="1336"/>
                  <a:pt x="2616" y="1391"/>
                </a:cubicBezTo>
                <a:cubicBezTo>
                  <a:pt x="2554" y="1475"/>
                  <a:pt x="2543" y="1499"/>
                  <a:pt x="2551" y="1541"/>
                </a:cubicBezTo>
                <a:cubicBezTo>
                  <a:pt x="2567" y="1634"/>
                  <a:pt x="2538" y="1650"/>
                  <a:pt x="2317" y="1667"/>
                </a:cubicBezTo>
                <a:cubicBezTo>
                  <a:pt x="2140" y="1682"/>
                  <a:pt x="2112" y="1688"/>
                  <a:pt x="2031" y="1736"/>
                </a:cubicBezTo>
                <a:cubicBezTo>
                  <a:pt x="1978" y="1767"/>
                  <a:pt x="1888" y="1799"/>
                  <a:pt x="1818" y="1813"/>
                </a:cubicBezTo>
                <a:cubicBezTo>
                  <a:pt x="1752" y="1827"/>
                  <a:pt x="1655" y="1861"/>
                  <a:pt x="1602" y="1887"/>
                </a:cubicBezTo>
                <a:cubicBezTo>
                  <a:pt x="1549" y="1914"/>
                  <a:pt x="1500" y="1936"/>
                  <a:pt x="1492" y="1936"/>
                </a:cubicBezTo>
                <a:cubicBezTo>
                  <a:pt x="1484" y="1936"/>
                  <a:pt x="1468" y="1877"/>
                  <a:pt x="1455" y="1803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3" name="Тульская область"/>
          <p:cNvSpPr>
            <a:spLocks/>
          </p:cNvSpPr>
          <p:nvPr/>
        </p:nvSpPr>
        <p:spPr bwMode="auto">
          <a:xfrm>
            <a:off x="1465572" y="3171308"/>
            <a:ext cx="161868" cy="165339"/>
          </a:xfrm>
          <a:custGeom>
            <a:avLst/>
            <a:gdLst/>
            <a:ahLst/>
            <a:cxnLst>
              <a:cxn ang="0">
                <a:pos x="155" y="559"/>
              </a:cxn>
              <a:cxn ang="0">
                <a:pos x="117" y="512"/>
              </a:cxn>
              <a:cxn ang="0">
                <a:pos x="104" y="456"/>
              </a:cxn>
              <a:cxn ang="0">
                <a:pos x="54" y="344"/>
              </a:cxn>
              <a:cxn ang="0">
                <a:pos x="2" y="195"/>
              </a:cxn>
              <a:cxn ang="0">
                <a:pos x="0" y="106"/>
              </a:cxn>
              <a:cxn ang="0">
                <a:pos x="144" y="16"/>
              </a:cxn>
              <a:cxn ang="0">
                <a:pos x="238" y="43"/>
              </a:cxn>
              <a:cxn ang="0">
                <a:pos x="392" y="35"/>
              </a:cxn>
              <a:cxn ang="0">
                <a:pos x="453" y="0"/>
              </a:cxn>
              <a:cxn ang="0">
                <a:pos x="498" y="101"/>
              </a:cxn>
              <a:cxn ang="0">
                <a:pos x="517" y="299"/>
              </a:cxn>
              <a:cxn ang="0">
                <a:pos x="274" y="575"/>
              </a:cxn>
              <a:cxn ang="0">
                <a:pos x="182" y="607"/>
              </a:cxn>
              <a:cxn ang="0">
                <a:pos x="155" y="559"/>
              </a:cxn>
            </a:cxnLst>
            <a:rect l="0" t="0" r="r" b="b"/>
            <a:pathLst>
              <a:path w="549" h="607">
                <a:moveTo>
                  <a:pt x="155" y="559"/>
                </a:moveTo>
                <a:cubicBezTo>
                  <a:pt x="141" y="533"/>
                  <a:pt x="123" y="512"/>
                  <a:pt x="117" y="512"/>
                </a:cubicBezTo>
                <a:cubicBezTo>
                  <a:pt x="109" y="512"/>
                  <a:pt x="104" y="487"/>
                  <a:pt x="104" y="456"/>
                </a:cubicBezTo>
                <a:cubicBezTo>
                  <a:pt x="104" y="416"/>
                  <a:pt x="90" y="384"/>
                  <a:pt x="54" y="344"/>
                </a:cubicBezTo>
                <a:cubicBezTo>
                  <a:pt x="11" y="295"/>
                  <a:pt x="3" y="274"/>
                  <a:pt x="2" y="195"/>
                </a:cubicBezTo>
                <a:lnTo>
                  <a:pt x="0" y="106"/>
                </a:lnTo>
                <a:lnTo>
                  <a:pt x="144" y="16"/>
                </a:lnTo>
                <a:lnTo>
                  <a:pt x="238" y="43"/>
                </a:lnTo>
                <a:cubicBezTo>
                  <a:pt x="331" y="69"/>
                  <a:pt x="334" y="69"/>
                  <a:pt x="392" y="35"/>
                </a:cubicBezTo>
                <a:lnTo>
                  <a:pt x="453" y="0"/>
                </a:lnTo>
                <a:lnTo>
                  <a:pt x="498" y="101"/>
                </a:lnTo>
                <a:cubicBezTo>
                  <a:pt x="549" y="216"/>
                  <a:pt x="549" y="219"/>
                  <a:pt x="517" y="299"/>
                </a:cubicBezTo>
                <a:cubicBezTo>
                  <a:pt x="422" y="528"/>
                  <a:pt x="427" y="522"/>
                  <a:pt x="274" y="575"/>
                </a:cubicBezTo>
                <a:lnTo>
                  <a:pt x="182" y="607"/>
                </a:lnTo>
                <a:lnTo>
                  <a:pt x="155" y="559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4" name="Тюменская область"/>
          <p:cNvSpPr>
            <a:spLocks/>
          </p:cNvSpPr>
          <p:nvPr/>
        </p:nvSpPr>
        <p:spPr bwMode="auto">
          <a:xfrm>
            <a:off x="3157427" y="3589007"/>
            <a:ext cx="615804" cy="456858"/>
          </a:xfrm>
          <a:custGeom>
            <a:avLst/>
            <a:gdLst/>
            <a:ahLst/>
            <a:cxnLst>
              <a:cxn ang="0">
                <a:pos x="704" y="1627"/>
              </a:cxn>
              <a:cxn ang="0">
                <a:pos x="537" y="1525"/>
              </a:cxn>
              <a:cxn ang="0">
                <a:pos x="459" y="1423"/>
              </a:cxn>
              <a:cxn ang="0">
                <a:pos x="376" y="1331"/>
              </a:cxn>
              <a:cxn ang="0">
                <a:pos x="168" y="1194"/>
              </a:cxn>
              <a:cxn ang="0">
                <a:pos x="59" y="1087"/>
              </a:cxn>
              <a:cxn ang="0">
                <a:pos x="43" y="891"/>
              </a:cxn>
              <a:cxn ang="0">
                <a:pos x="75" y="768"/>
              </a:cxn>
              <a:cxn ang="0">
                <a:pos x="115" y="608"/>
              </a:cxn>
              <a:cxn ang="0">
                <a:pos x="363" y="507"/>
              </a:cxn>
              <a:cxn ang="0">
                <a:pos x="435" y="504"/>
              </a:cxn>
              <a:cxn ang="0">
                <a:pos x="440" y="419"/>
              </a:cxn>
              <a:cxn ang="0">
                <a:pos x="486" y="336"/>
              </a:cxn>
              <a:cxn ang="0">
                <a:pos x="593" y="306"/>
              </a:cxn>
              <a:cxn ang="0">
                <a:pos x="801" y="240"/>
              </a:cxn>
              <a:cxn ang="0">
                <a:pos x="1133" y="43"/>
              </a:cxn>
              <a:cxn ang="0">
                <a:pos x="1168" y="0"/>
              </a:cxn>
              <a:cxn ang="0">
                <a:pos x="1339" y="87"/>
              </a:cxn>
              <a:cxn ang="0">
                <a:pos x="1584" y="323"/>
              </a:cxn>
              <a:cxn ang="0">
                <a:pos x="1705" y="546"/>
              </a:cxn>
              <a:cxn ang="0">
                <a:pos x="1886" y="671"/>
              </a:cxn>
              <a:cxn ang="0">
                <a:pos x="2049" y="736"/>
              </a:cxn>
              <a:cxn ang="0">
                <a:pos x="1977" y="805"/>
              </a:cxn>
              <a:cxn ang="0">
                <a:pos x="1779" y="845"/>
              </a:cxn>
              <a:cxn ang="0">
                <a:pos x="1432" y="783"/>
              </a:cxn>
              <a:cxn ang="0">
                <a:pos x="1337" y="671"/>
              </a:cxn>
              <a:cxn ang="0">
                <a:pos x="1275" y="576"/>
              </a:cxn>
              <a:cxn ang="0">
                <a:pos x="1169" y="699"/>
              </a:cxn>
              <a:cxn ang="0">
                <a:pos x="1091" y="933"/>
              </a:cxn>
              <a:cxn ang="0">
                <a:pos x="1173" y="1072"/>
              </a:cxn>
              <a:cxn ang="0">
                <a:pos x="1251" y="1194"/>
              </a:cxn>
              <a:cxn ang="0">
                <a:pos x="1262" y="1274"/>
              </a:cxn>
              <a:cxn ang="0">
                <a:pos x="1173" y="1295"/>
              </a:cxn>
              <a:cxn ang="0">
                <a:pos x="1081" y="1314"/>
              </a:cxn>
              <a:cxn ang="0">
                <a:pos x="990" y="1498"/>
              </a:cxn>
              <a:cxn ang="0">
                <a:pos x="875" y="1679"/>
              </a:cxn>
              <a:cxn ang="0">
                <a:pos x="704" y="1627"/>
              </a:cxn>
            </a:cxnLst>
            <a:rect l="0" t="0" r="r" b="b"/>
            <a:pathLst>
              <a:path w="2056" h="1679">
                <a:moveTo>
                  <a:pt x="704" y="1627"/>
                </a:moveTo>
                <a:cubicBezTo>
                  <a:pt x="568" y="1581"/>
                  <a:pt x="553" y="1573"/>
                  <a:pt x="537" y="1525"/>
                </a:cubicBezTo>
                <a:cubicBezTo>
                  <a:pt x="529" y="1496"/>
                  <a:pt x="493" y="1450"/>
                  <a:pt x="459" y="1423"/>
                </a:cubicBezTo>
                <a:cubicBezTo>
                  <a:pt x="424" y="1395"/>
                  <a:pt x="387" y="1354"/>
                  <a:pt x="376" y="1331"/>
                </a:cubicBezTo>
                <a:cubicBezTo>
                  <a:pt x="349" y="1275"/>
                  <a:pt x="243" y="1205"/>
                  <a:pt x="168" y="1194"/>
                </a:cubicBezTo>
                <a:cubicBezTo>
                  <a:pt x="113" y="1184"/>
                  <a:pt x="104" y="1175"/>
                  <a:pt x="59" y="1087"/>
                </a:cubicBezTo>
                <a:cubicBezTo>
                  <a:pt x="3" y="971"/>
                  <a:pt x="0" y="946"/>
                  <a:pt x="43" y="891"/>
                </a:cubicBezTo>
                <a:cubicBezTo>
                  <a:pt x="65" y="863"/>
                  <a:pt x="75" y="826"/>
                  <a:pt x="75" y="768"/>
                </a:cubicBezTo>
                <a:cubicBezTo>
                  <a:pt x="75" y="714"/>
                  <a:pt x="88" y="661"/>
                  <a:pt x="115" y="608"/>
                </a:cubicBezTo>
                <a:cubicBezTo>
                  <a:pt x="158" y="523"/>
                  <a:pt x="171" y="519"/>
                  <a:pt x="363" y="507"/>
                </a:cubicBezTo>
                <a:lnTo>
                  <a:pt x="435" y="504"/>
                </a:lnTo>
                <a:lnTo>
                  <a:pt x="440" y="419"/>
                </a:lnTo>
                <a:cubicBezTo>
                  <a:pt x="445" y="341"/>
                  <a:pt x="448" y="336"/>
                  <a:pt x="486" y="336"/>
                </a:cubicBezTo>
                <a:cubicBezTo>
                  <a:pt x="510" y="336"/>
                  <a:pt x="558" y="322"/>
                  <a:pt x="593" y="306"/>
                </a:cubicBezTo>
                <a:cubicBezTo>
                  <a:pt x="630" y="288"/>
                  <a:pt x="723" y="259"/>
                  <a:pt x="801" y="240"/>
                </a:cubicBezTo>
                <a:cubicBezTo>
                  <a:pt x="961" y="202"/>
                  <a:pt x="1101" y="119"/>
                  <a:pt x="1133" y="43"/>
                </a:cubicBezTo>
                <a:cubicBezTo>
                  <a:pt x="1142" y="19"/>
                  <a:pt x="1158" y="0"/>
                  <a:pt x="1168" y="0"/>
                </a:cubicBezTo>
                <a:cubicBezTo>
                  <a:pt x="1177" y="0"/>
                  <a:pt x="1254" y="39"/>
                  <a:pt x="1339" y="87"/>
                </a:cubicBezTo>
                <a:cubicBezTo>
                  <a:pt x="1493" y="175"/>
                  <a:pt x="1494" y="176"/>
                  <a:pt x="1584" y="323"/>
                </a:cubicBezTo>
                <a:cubicBezTo>
                  <a:pt x="1633" y="405"/>
                  <a:pt x="1688" y="504"/>
                  <a:pt x="1705" y="546"/>
                </a:cubicBezTo>
                <a:cubicBezTo>
                  <a:pt x="1737" y="618"/>
                  <a:pt x="1742" y="621"/>
                  <a:pt x="1886" y="671"/>
                </a:cubicBezTo>
                <a:cubicBezTo>
                  <a:pt x="1968" y="699"/>
                  <a:pt x="2041" y="728"/>
                  <a:pt x="2049" y="736"/>
                </a:cubicBezTo>
                <a:cubicBezTo>
                  <a:pt x="2056" y="743"/>
                  <a:pt x="2024" y="775"/>
                  <a:pt x="1977" y="805"/>
                </a:cubicBezTo>
                <a:cubicBezTo>
                  <a:pt x="1891" y="859"/>
                  <a:pt x="1891" y="861"/>
                  <a:pt x="1779" y="845"/>
                </a:cubicBezTo>
                <a:cubicBezTo>
                  <a:pt x="1629" y="826"/>
                  <a:pt x="1504" y="803"/>
                  <a:pt x="1432" y="783"/>
                </a:cubicBezTo>
                <a:cubicBezTo>
                  <a:pt x="1379" y="768"/>
                  <a:pt x="1369" y="757"/>
                  <a:pt x="1337" y="671"/>
                </a:cubicBezTo>
                <a:cubicBezTo>
                  <a:pt x="1313" y="607"/>
                  <a:pt x="1294" y="576"/>
                  <a:pt x="1275" y="576"/>
                </a:cubicBezTo>
                <a:cubicBezTo>
                  <a:pt x="1259" y="576"/>
                  <a:pt x="1217" y="624"/>
                  <a:pt x="1169" y="699"/>
                </a:cubicBezTo>
                <a:cubicBezTo>
                  <a:pt x="1096" y="816"/>
                  <a:pt x="1091" y="831"/>
                  <a:pt x="1091" y="933"/>
                </a:cubicBezTo>
                <a:cubicBezTo>
                  <a:pt x="1091" y="1047"/>
                  <a:pt x="1105" y="1071"/>
                  <a:pt x="1173" y="1072"/>
                </a:cubicBezTo>
                <a:cubicBezTo>
                  <a:pt x="1221" y="1072"/>
                  <a:pt x="1240" y="1101"/>
                  <a:pt x="1251" y="1194"/>
                </a:cubicBezTo>
                <a:lnTo>
                  <a:pt x="1262" y="1274"/>
                </a:lnTo>
                <a:lnTo>
                  <a:pt x="1173" y="1295"/>
                </a:lnTo>
                <a:lnTo>
                  <a:pt x="1081" y="1314"/>
                </a:lnTo>
                <a:lnTo>
                  <a:pt x="990" y="1498"/>
                </a:lnTo>
                <a:cubicBezTo>
                  <a:pt x="933" y="1615"/>
                  <a:pt x="891" y="1679"/>
                  <a:pt x="875" y="1679"/>
                </a:cubicBezTo>
                <a:cubicBezTo>
                  <a:pt x="862" y="1677"/>
                  <a:pt x="784" y="1655"/>
                  <a:pt x="704" y="162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5" name="Республика Удмуртия"/>
          <p:cNvSpPr>
            <a:spLocks/>
          </p:cNvSpPr>
          <p:nvPr/>
        </p:nvSpPr>
        <p:spPr bwMode="auto">
          <a:xfrm>
            <a:off x="2384517" y="3379406"/>
            <a:ext cx="236490" cy="252359"/>
          </a:xfrm>
          <a:custGeom>
            <a:avLst/>
            <a:gdLst/>
            <a:ahLst/>
            <a:cxnLst>
              <a:cxn ang="0">
                <a:pos x="341" y="884"/>
              </a:cxn>
              <a:cxn ang="0">
                <a:pos x="376" y="764"/>
              </a:cxn>
              <a:cxn ang="0">
                <a:pos x="187" y="724"/>
              </a:cxn>
              <a:cxn ang="0">
                <a:pos x="30" y="737"/>
              </a:cxn>
              <a:cxn ang="0">
                <a:pos x="42" y="561"/>
              </a:cxn>
              <a:cxn ang="0">
                <a:pos x="104" y="473"/>
              </a:cxn>
              <a:cxn ang="0">
                <a:pos x="176" y="361"/>
              </a:cxn>
              <a:cxn ang="0">
                <a:pos x="270" y="257"/>
              </a:cxn>
              <a:cxn ang="0">
                <a:pos x="408" y="137"/>
              </a:cxn>
              <a:cxn ang="0">
                <a:pos x="664" y="86"/>
              </a:cxn>
              <a:cxn ang="0">
                <a:pos x="784" y="145"/>
              </a:cxn>
              <a:cxn ang="0">
                <a:pos x="779" y="257"/>
              </a:cxn>
              <a:cxn ang="0">
                <a:pos x="747" y="417"/>
              </a:cxn>
              <a:cxn ang="0">
                <a:pos x="683" y="553"/>
              </a:cxn>
              <a:cxn ang="0">
                <a:pos x="582" y="668"/>
              </a:cxn>
              <a:cxn ang="0">
                <a:pos x="528" y="732"/>
              </a:cxn>
              <a:cxn ang="0">
                <a:pos x="448" y="883"/>
              </a:cxn>
              <a:cxn ang="0">
                <a:pos x="341" y="884"/>
              </a:cxn>
            </a:cxnLst>
            <a:rect l="0" t="0" r="r" b="b"/>
            <a:pathLst>
              <a:path w="784" h="932">
                <a:moveTo>
                  <a:pt x="341" y="884"/>
                </a:moveTo>
                <a:cubicBezTo>
                  <a:pt x="368" y="856"/>
                  <a:pt x="376" y="827"/>
                  <a:pt x="376" y="764"/>
                </a:cubicBezTo>
                <a:cubicBezTo>
                  <a:pt x="376" y="664"/>
                  <a:pt x="374" y="664"/>
                  <a:pt x="187" y="724"/>
                </a:cubicBezTo>
                <a:cubicBezTo>
                  <a:pt x="56" y="768"/>
                  <a:pt x="53" y="768"/>
                  <a:pt x="30" y="737"/>
                </a:cubicBezTo>
                <a:cubicBezTo>
                  <a:pt x="0" y="696"/>
                  <a:pt x="2" y="665"/>
                  <a:pt x="42" y="561"/>
                </a:cubicBezTo>
                <a:cubicBezTo>
                  <a:pt x="64" y="499"/>
                  <a:pt x="83" y="473"/>
                  <a:pt x="104" y="473"/>
                </a:cubicBezTo>
                <a:cubicBezTo>
                  <a:pt x="144" y="473"/>
                  <a:pt x="163" y="444"/>
                  <a:pt x="176" y="361"/>
                </a:cubicBezTo>
                <a:cubicBezTo>
                  <a:pt x="192" y="264"/>
                  <a:pt x="198" y="257"/>
                  <a:pt x="270" y="257"/>
                </a:cubicBezTo>
                <a:cubicBezTo>
                  <a:pt x="331" y="257"/>
                  <a:pt x="336" y="252"/>
                  <a:pt x="408" y="137"/>
                </a:cubicBezTo>
                <a:cubicBezTo>
                  <a:pt x="496" y="0"/>
                  <a:pt x="488" y="1"/>
                  <a:pt x="664" y="86"/>
                </a:cubicBezTo>
                <a:lnTo>
                  <a:pt x="784" y="145"/>
                </a:lnTo>
                <a:lnTo>
                  <a:pt x="779" y="257"/>
                </a:lnTo>
                <a:cubicBezTo>
                  <a:pt x="776" y="328"/>
                  <a:pt x="765" y="387"/>
                  <a:pt x="747" y="417"/>
                </a:cubicBezTo>
                <a:cubicBezTo>
                  <a:pt x="731" y="443"/>
                  <a:pt x="702" y="504"/>
                  <a:pt x="683" y="553"/>
                </a:cubicBezTo>
                <a:cubicBezTo>
                  <a:pt x="653" y="627"/>
                  <a:pt x="637" y="644"/>
                  <a:pt x="582" y="668"/>
                </a:cubicBezTo>
                <a:cubicBezTo>
                  <a:pt x="525" y="692"/>
                  <a:pt x="518" y="700"/>
                  <a:pt x="528" y="732"/>
                </a:cubicBezTo>
                <a:cubicBezTo>
                  <a:pt x="558" y="827"/>
                  <a:pt x="550" y="844"/>
                  <a:pt x="448" y="883"/>
                </a:cubicBezTo>
                <a:cubicBezTo>
                  <a:pt x="323" y="932"/>
                  <a:pt x="296" y="932"/>
                  <a:pt x="341" y="884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6" name="Ульяновская область"/>
          <p:cNvSpPr>
            <a:spLocks/>
          </p:cNvSpPr>
          <p:nvPr/>
        </p:nvSpPr>
        <p:spPr bwMode="auto">
          <a:xfrm>
            <a:off x="1930582" y="3532444"/>
            <a:ext cx="288859" cy="200147"/>
          </a:xfrm>
          <a:custGeom>
            <a:avLst/>
            <a:gdLst/>
            <a:ahLst/>
            <a:cxnLst>
              <a:cxn ang="0">
                <a:pos x="208" y="696"/>
              </a:cxn>
              <a:cxn ang="0">
                <a:pos x="66" y="631"/>
              </a:cxn>
              <a:cxn ang="0">
                <a:pos x="0" y="589"/>
              </a:cxn>
              <a:cxn ang="0">
                <a:pos x="93" y="506"/>
              </a:cxn>
              <a:cxn ang="0">
                <a:pos x="187" y="423"/>
              </a:cxn>
              <a:cxn ang="0">
                <a:pos x="167" y="327"/>
              </a:cxn>
              <a:cxn ang="0">
                <a:pos x="152" y="168"/>
              </a:cxn>
              <a:cxn ang="0">
                <a:pos x="157" y="104"/>
              </a:cxn>
              <a:cxn ang="0">
                <a:pos x="243" y="99"/>
              </a:cxn>
              <a:cxn ang="0">
                <a:pos x="346" y="47"/>
              </a:cxn>
              <a:cxn ang="0">
                <a:pos x="381" y="0"/>
              </a:cxn>
              <a:cxn ang="0">
                <a:pos x="472" y="91"/>
              </a:cxn>
              <a:cxn ang="0">
                <a:pos x="501" y="138"/>
              </a:cxn>
              <a:cxn ang="0">
                <a:pos x="701" y="208"/>
              </a:cxn>
              <a:cxn ang="0">
                <a:pos x="783" y="256"/>
              </a:cxn>
              <a:cxn ang="0">
                <a:pos x="864" y="315"/>
              </a:cxn>
              <a:cxn ang="0">
                <a:pos x="922" y="413"/>
              </a:cxn>
              <a:cxn ang="0">
                <a:pos x="957" y="450"/>
              </a:cxn>
              <a:cxn ang="0">
                <a:pos x="882" y="522"/>
              </a:cxn>
              <a:cxn ang="0">
                <a:pos x="805" y="594"/>
              </a:cxn>
              <a:cxn ang="0">
                <a:pos x="720" y="528"/>
              </a:cxn>
              <a:cxn ang="0">
                <a:pos x="531" y="464"/>
              </a:cxn>
              <a:cxn ang="0">
                <a:pos x="367" y="482"/>
              </a:cxn>
              <a:cxn ang="0">
                <a:pos x="306" y="498"/>
              </a:cxn>
              <a:cxn ang="0">
                <a:pos x="315" y="608"/>
              </a:cxn>
              <a:cxn ang="0">
                <a:pos x="208" y="696"/>
              </a:cxn>
            </a:cxnLst>
            <a:rect l="0" t="0" r="r" b="b"/>
            <a:pathLst>
              <a:path w="957" h="733">
                <a:moveTo>
                  <a:pt x="208" y="696"/>
                </a:moveTo>
                <a:cubicBezTo>
                  <a:pt x="165" y="683"/>
                  <a:pt x="101" y="655"/>
                  <a:pt x="66" y="631"/>
                </a:cubicBezTo>
                <a:lnTo>
                  <a:pt x="0" y="589"/>
                </a:lnTo>
                <a:lnTo>
                  <a:pt x="93" y="506"/>
                </a:lnTo>
                <a:lnTo>
                  <a:pt x="187" y="423"/>
                </a:lnTo>
                <a:lnTo>
                  <a:pt x="167" y="327"/>
                </a:lnTo>
                <a:cubicBezTo>
                  <a:pt x="155" y="274"/>
                  <a:pt x="149" y="203"/>
                  <a:pt x="152" y="168"/>
                </a:cubicBezTo>
                <a:lnTo>
                  <a:pt x="157" y="104"/>
                </a:lnTo>
                <a:lnTo>
                  <a:pt x="243" y="99"/>
                </a:lnTo>
                <a:cubicBezTo>
                  <a:pt x="322" y="95"/>
                  <a:pt x="330" y="90"/>
                  <a:pt x="346" y="47"/>
                </a:cubicBezTo>
                <a:cubicBezTo>
                  <a:pt x="355" y="21"/>
                  <a:pt x="371" y="0"/>
                  <a:pt x="381" y="0"/>
                </a:cubicBezTo>
                <a:cubicBezTo>
                  <a:pt x="418" y="0"/>
                  <a:pt x="467" y="50"/>
                  <a:pt x="472" y="91"/>
                </a:cubicBezTo>
                <a:cubicBezTo>
                  <a:pt x="475" y="115"/>
                  <a:pt x="488" y="136"/>
                  <a:pt x="501" y="138"/>
                </a:cubicBezTo>
                <a:cubicBezTo>
                  <a:pt x="679" y="162"/>
                  <a:pt x="677" y="162"/>
                  <a:pt x="701" y="208"/>
                </a:cubicBezTo>
                <a:cubicBezTo>
                  <a:pt x="722" y="247"/>
                  <a:pt x="736" y="256"/>
                  <a:pt x="783" y="256"/>
                </a:cubicBezTo>
                <a:cubicBezTo>
                  <a:pt x="832" y="256"/>
                  <a:pt x="842" y="263"/>
                  <a:pt x="864" y="315"/>
                </a:cubicBezTo>
                <a:cubicBezTo>
                  <a:pt x="877" y="349"/>
                  <a:pt x="904" y="392"/>
                  <a:pt x="922" y="413"/>
                </a:cubicBezTo>
                <a:lnTo>
                  <a:pt x="957" y="450"/>
                </a:lnTo>
                <a:lnTo>
                  <a:pt x="882" y="522"/>
                </a:lnTo>
                <a:lnTo>
                  <a:pt x="805" y="594"/>
                </a:lnTo>
                <a:lnTo>
                  <a:pt x="720" y="528"/>
                </a:lnTo>
                <a:cubicBezTo>
                  <a:pt x="640" y="469"/>
                  <a:pt x="627" y="464"/>
                  <a:pt x="531" y="464"/>
                </a:cubicBezTo>
                <a:cubicBezTo>
                  <a:pt x="475" y="464"/>
                  <a:pt x="402" y="472"/>
                  <a:pt x="367" y="482"/>
                </a:cubicBezTo>
                <a:lnTo>
                  <a:pt x="306" y="498"/>
                </a:lnTo>
                <a:lnTo>
                  <a:pt x="315" y="608"/>
                </a:lnTo>
                <a:cubicBezTo>
                  <a:pt x="328" y="733"/>
                  <a:pt x="333" y="730"/>
                  <a:pt x="208" y="696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7" name="Хабаровский край"/>
          <p:cNvSpPr>
            <a:spLocks/>
          </p:cNvSpPr>
          <p:nvPr/>
        </p:nvSpPr>
        <p:spPr bwMode="auto">
          <a:xfrm>
            <a:off x="6931636" y="2557815"/>
            <a:ext cx="1080813" cy="1583772"/>
          </a:xfrm>
          <a:custGeom>
            <a:avLst/>
            <a:gdLst/>
            <a:ahLst/>
            <a:cxnLst>
              <a:cxn ang="0">
                <a:pos x="2704" y="5411"/>
              </a:cxn>
              <a:cxn ang="0">
                <a:pos x="2416" y="5249"/>
              </a:cxn>
              <a:cxn ang="0">
                <a:pos x="1936" y="5320"/>
              </a:cxn>
              <a:cxn ang="0">
                <a:pos x="1654" y="5256"/>
              </a:cxn>
              <a:cxn ang="0">
                <a:pos x="1323" y="4889"/>
              </a:cxn>
              <a:cxn ang="0">
                <a:pos x="1472" y="4379"/>
              </a:cxn>
              <a:cxn ang="0">
                <a:pos x="1558" y="4155"/>
              </a:cxn>
              <a:cxn ang="0">
                <a:pos x="1400" y="3784"/>
              </a:cxn>
              <a:cxn ang="0">
                <a:pos x="1096" y="4104"/>
              </a:cxn>
              <a:cxn ang="0">
                <a:pos x="699" y="4120"/>
              </a:cxn>
              <a:cxn ang="0">
                <a:pos x="757" y="3476"/>
              </a:cxn>
              <a:cxn ang="0">
                <a:pos x="486" y="3454"/>
              </a:cxn>
              <a:cxn ang="0">
                <a:pos x="302" y="3248"/>
              </a:cxn>
              <a:cxn ang="0">
                <a:pos x="104" y="2953"/>
              </a:cxn>
              <a:cxn ang="0">
                <a:pos x="35" y="2491"/>
              </a:cxn>
              <a:cxn ang="0">
                <a:pos x="342" y="2104"/>
              </a:cxn>
              <a:cxn ang="0">
                <a:pos x="534" y="1849"/>
              </a:cxn>
              <a:cxn ang="0">
                <a:pos x="522" y="1340"/>
              </a:cxn>
              <a:cxn ang="0">
                <a:pos x="398" y="721"/>
              </a:cxn>
              <a:cxn ang="0">
                <a:pos x="467" y="478"/>
              </a:cxn>
              <a:cxn ang="0">
                <a:pos x="790" y="289"/>
              </a:cxn>
              <a:cxn ang="0">
                <a:pos x="957" y="121"/>
              </a:cxn>
              <a:cxn ang="0">
                <a:pos x="1437" y="166"/>
              </a:cxn>
              <a:cxn ang="0">
                <a:pos x="1392" y="363"/>
              </a:cxn>
              <a:cxn ang="0">
                <a:pos x="1803" y="417"/>
              </a:cxn>
              <a:cxn ang="0">
                <a:pos x="1794" y="598"/>
              </a:cxn>
              <a:cxn ang="0">
                <a:pos x="1478" y="937"/>
              </a:cxn>
              <a:cxn ang="0">
                <a:pos x="1302" y="1539"/>
              </a:cxn>
              <a:cxn ang="0">
                <a:pos x="1394" y="1806"/>
              </a:cxn>
              <a:cxn ang="0">
                <a:pos x="1320" y="2428"/>
              </a:cxn>
              <a:cxn ang="0">
                <a:pos x="1206" y="3361"/>
              </a:cxn>
              <a:cxn ang="0">
                <a:pos x="1581" y="3233"/>
              </a:cxn>
              <a:cxn ang="0">
                <a:pos x="1784" y="3302"/>
              </a:cxn>
              <a:cxn ang="0">
                <a:pos x="1949" y="3409"/>
              </a:cxn>
              <a:cxn ang="0">
                <a:pos x="2026" y="3036"/>
              </a:cxn>
              <a:cxn ang="0">
                <a:pos x="2459" y="2939"/>
              </a:cxn>
              <a:cxn ang="0">
                <a:pos x="2902" y="3228"/>
              </a:cxn>
              <a:cxn ang="0">
                <a:pos x="3458" y="4254"/>
              </a:cxn>
              <a:cxn ang="0">
                <a:pos x="3581" y="4904"/>
              </a:cxn>
              <a:cxn ang="0">
                <a:pos x="3155" y="4936"/>
              </a:cxn>
              <a:cxn ang="0">
                <a:pos x="3387" y="5009"/>
              </a:cxn>
              <a:cxn ang="0">
                <a:pos x="3341" y="5201"/>
              </a:cxn>
              <a:cxn ang="0">
                <a:pos x="3331" y="5414"/>
              </a:cxn>
              <a:cxn ang="0">
                <a:pos x="2944" y="5537"/>
              </a:cxn>
              <a:cxn ang="0">
                <a:pos x="2832" y="5825"/>
              </a:cxn>
            </a:cxnLst>
            <a:rect l="0" t="0" r="r" b="b"/>
            <a:pathLst>
              <a:path w="3589" h="5825">
                <a:moveTo>
                  <a:pt x="2792" y="5760"/>
                </a:moveTo>
                <a:cubicBezTo>
                  <a:pt x="2773" y="5713"/>
                  <a:pt x="2768" y="5672"/>
                  <a:pt x="2776" y="5616"/>
                </a:cubicBezTo>
                <a:cubicBezTo>
                  <a:pt x="2786" y="5542"/>
                  <a:pt x="2782" y="5532"/>
                  <a:pt x="2704" y="5411"/>
                </a:cubicBezTo>
                <a:cubicBezTo>
                  <a:pt x="2659" y="5340"/>
                  <a:pt x="2616" y="5264"/>
                  <a:pt x="2606" y="5241"/>
                </a:cubicBezTo>
                <a:cubicBezTo>
                  <a:pt x="2598" y="5219"/>
                  <a:pt x="2586" y="5201"/>
                  <a:pt x="2579" y="5201"/>
                </a:cubicBezTo>
                <a:cubicBezTo>
                  <a:pt x="2573" y="5201"/>
                  <a:pt x="2499" y="5222"/>
                  <a:pt x="2416" y="5249"/>
                </a:cubicBezTo>
                <a:cubicBezTo>
                  <a:pt x="2238" y="5305"/>
                  <a:pt x="2238" y="5305"/>
                  <a:pt x="2157" y="5264"/>
                </a:cubicBezTo>
                <a:lnTo>
                  <a:pt x="2093" y="5232"/>
                </a:lnTo>
                <a:lnTo>
                  <a:pt x="1936" y="5320"/>
                </a:lnTo>
                <a:cubicBezTo>
                  <a:pt x="1848" y="5369"/>
                  <a:pt x="1773" y="5409"/>
                  <a:pt x="1768" y="5409"/>
                </a:cubicBezTo>
                <a:cubicBezTo>
                  <a:pt x="1763" y="5409"/>
                  <a:pt x="1758" y="5398"/>
                  <a:pt x="1758" y="5384"/>
                </a:cubicBezTo>
                <a:cubicBezTo>
                  <a:pt x="1758" y="5369"/>
                  <a:pt x="1712" y="5312"/>
                  <a:pt x="1654" y="5256"/>
                </a:cubicBezTo>
                <a:cubicBezTo>
                  <a:pt x="1555" y="5158"/>
                  <a:pt x="1546" y="5153"/>
                  <a:pt x="1472" y="5153"/>
                </a:cubicBezTo>
                <a:cubicBezTo>
                  <a:pt x="1402" y="5153"/>
                  <a:pt x="1394" y="5148"/>
                  <a:pt x="1363" y="5092"/>
                </a:cubicBezTo>
                <a:cubicBezTo>
                  <a:pt x="1339" y="5049"/>
                  <a:pt x="1328" y="4995"/>
                  <a:pt x="1323" y="4889"/>
                </a:cubicBezTo>
                <a:cubicBezTo>
                  <a:pt x="1317" y="4753"/>
                  <a:pt x="1318" y="4739"/>
                  <a:pt x="1370" y="4628"/>
                </a:cubicBezTo>
                <a:cubicBezTo>
                  <a:pt x="1398" y="4564"/>
                  <a:pt x="1422" y="4494"/>
                  <a:pt x="1422" y="4472"/>
                </a:cubicBezTo>
                <a:cubicBezTo>
                  <a:pt x="1422" y="4451"/>
                  <a:pt x="1445" y="4409"/>
                  <a:pt x="1472" y="4379"/>
                </a:cubicBezTo>
                <a:cubicBezTo>
                  <a:pt x="1512" y="4332"/>
                  <a:pt x="1517" y="4316"/>
                  <a:pt x="1504" y="4291"/>
                </a:cubicBezTo>
                <a:cubicBezTo>
                  <a:pt x="1494" y="4273"/>
                  <a:pt x="1474" y="4251"/>
                  <a:pt x="1458" y="4243"/>
                </a:cubicBezTo>
                <a:cubicBezTo>
                  <a:pt x="1421" y="4220"/>
                  <a:pt x="1442" y="4203"/>
                  <a:pt x="1558" y="4155"/>
                </a:cubicBezTo>
                <a:cubicBezTo>
                  <a:pt x="1611" y="4134"/>
                  <a:pt x="1661" y="4107"/>
                  <a:pt x="1667" y="4094"/>
                </a:cubicBezTo>
                <a:cubicBezTo>
                  <a:pt x="1682" y="4070"/>
                  <a:pt x="1515" y="3697"/>
                  <a:pt x="1490" y="3697"/>
                </a:cubicBezTo>
                <a:cubicBezTo>
                  <a:pt x="1482" y="3697"/>
                  <a:pt x="1442" y="3736"/>
                  <a:pt x="1400" y="3784"/>
                </a:cubicBezTo>
                <a:cubicBezTo>
                  <a:pt x="1338" y="3856"/>
                  <a:pt x="1315" y="3872"/>
                  <a:pt x="1266" y="3876"/>
                </a:cubicBezTo>
                <a:cubicBezTo>
                  <a:pt x="1206" y="3881"/>
                  <a:pt x="1206" y="3881"/>
                  <a:pt x="1211" y="3947"/>
                </a:cubicBezTo>
                <a:cubicBezTo>
                  <a:pt x="1218" y="4012"/>
                  <a:pt x="1216" y="4014"/>
                  <a:pt x="1096" y="4104"/>
                </a:cubicBezTo>
                <a:cubicBezTo>
                  <a:pt x="1029" y="4153"/>
                  <a:pt x="968" y="4193"/>
                  <a:pt x="960" y="4193"/>
                </a:cubicBezTo>
                <a:cubicBezTo>
                  <a:pt x="952" y="4193"/>
                  <a:pt x="930" y="4166"/>
                  <a:pt x="912" y="4134"/>
                </a:cubicBezTo>
                <a:cubicBezTo>
                  <a:pt x="874" y="4070"/>
                  <a:pt x="858" y="4070"/>
                  <a:pt x="699" y="4120"/>
                </a:cubicBezTo>
                <a:cubicBezTo>
                  <a:pt x="629" y="4142"/>
                  <a:pt x="622" y="4140"/>
                  <a:pt x="622" y="4116"/>
                </a:cubicBezTo>
                <a:cubicBezTo>
                  <a:pt x="622" y="4041"/>
                  <a:pt x="675" y="3803"/>
                  <a:pt x="722" y="3676"/>
                </a:cubicBezTo>
                <a:cubicBezTo>
                  <a:pt x="763" y="3558"/>
                  <a:pt x="770" y="3524"/>
                  <a:pt x="757" y="3476"/>
                </a:cubicBezTo>
                <a:cubicBezTo>
                  <a:pt x="744" y="3425"/>
                  <a:pt x="733" y="3414"/>
                  <a:pt x="675" y="3393"/>
                </a:cubicBezTo>
                <a:lnTo>
                  <a:pt x="606" y="3369"/>
                </a:lnTo>
                <a:lnTo>
                  <a:pt x="486" y="3454"/>
                </a:lnTo>
                <a:cubicBezTo>
                  <a:pt x="421" y="3499"/>
                  <a:pt x="360" y="3537"/>
                  <a:pt x="352" y="3537"/>
                </a:cubicBezTo>
                <a:cubicBezTo>
                  <a:pt x="334" y="3537"/>
                  <a:pt x="286" y="3380"/>
                  <a:pt x="286" y="3321"/>
                </a:cubicBezTo>
                <a:cubicBezTo>
                  <a:pt x="286" y="3297"/>
                  <a:pt x="294" y="3265"/>
                  <a:pt x="302" y="3248"/>
                </a:cubicBezTo>
                <a:cubicBezTo>
                  <a:pt x="334" y="3188"/>
                  <a:pt x="304" y="3139"/>
                  <a:pt x="195" y="3076"/>
                </a:cubicBezTo>
                <a:lnTo>
                  <a:pt x="93" y="3017"/>
                </a:lnTo>
                <a:lnTo>
                  <a:pt x="104" y="2953"/>
                </a:lnTo>
                <a:cubicBezTo>
                  <a:pt x="122" y="2848"/>
                  <a:pt x="122" y="2844"/>
                  <a:pt x="58" y="2803"/>
                </a:cubicBezTo>
                <a:cubicBezTo>
                  <a:pt x="6" y="2768"/>
                  <a:pt x="0" y="2760"/>
                  <a:pt x="21" y="2740"/>
                </a:cubicBezTo>
                <a:cubicBezTo>
                  <a:pt x="38" y="2721"/>
                  <a:pt x="42" y="2673"/>
                  <a:pt x="35" y="2491"/>
                </a:cubicBezTo>
                <a:lnTo>
                  <a:pt x="27" y="2265"/>
                </a:lnTo>
                <a:lnTo>
                  <a:pt x="186" y="2184"/>
                </a:lnTo>
                <a:lnTo>
                  <a:pt x="342" y="2104"/>
                </a:lnTo>
                <a:lnTo>
                  <a:pt x="339" y="2008"/>
                </a:lnTo>
                <a:lnTo>
                  <a:pt x="336" y="1910"/>
                </a:lnTo>
                <a:lnTo>
                  <a:pt x="534" y="1849"/>
                </a:lnTo>
                <a:lnTo>
                  <a:pt x="550" y="1609"/>
                </a:lnTo>
                <a:lnTo>
                  <a:pt x="606" y="1603"/>
                </a:lnTo>
                <a:cubicBezTo>
                  <a:pt x="717" y="1593"/>
                  <a:pt x="715" y="1590"/>
                  <a:pt x="522" y="1340"/>
                </a:cubicBezTo>
                <a:cubicBezTo>
                  <a:pt x="419" y="1209"/>
                  <a:pt x="398" y="1172"/>
                  <a:pt x="384" y="1094"/>
                </a:cubicBezTo>
                <a:cubicBezTo>
                  <a:pt x="362" y="976"/>
                  <a:pt x="360" y="987"/>
                  <a:pt x="416" y="921"/>
                </a:cubicBezTo>
                <a:cubicBezTo>
                  <a:pt x="472" y="859"/>
                  <a:pt x="470" y="841"/>
                  <a:pt x="398" y="721"/>
                </a:cubicBezTo>
                <a:cubicBezTo>
                  <a:pt x="374" y="680"/>
                  <a:pt x="346" y="620"/>
                  <a:pt x="333" y="587"/>
                </a:cubicBezTo>
                <a:cubicBezTo>
                  <a:pt x="314" y="536"/>
                  <a:pt x="315" y="526"/>
                  <a:pt x="339" y="500"/>
                </a:cubicBezTo>
                <a:cubicBezTo>
                  <a:pt x="362" y="480"/>
                  <a:pt x="390" y="473"/>
                  <a:pt x="467" y="478"/>
                </a:cubicBezTo>
                <a:cubicBezTo>
                  <a:pt x="522" y="480"/>
                  <a:pt x="598" y="472"/>
                  <a:pt x="638" y="460"/>
                </a:cubicBezTo>
                <a:cubicBezTo>
                  <a:pt x="699" y="441"/>
                  <a:pt x="717" y="427"/>
                  <a:pt x="750" y="363"/>
                </a:cubicBezTo>
                <a:lnTo>
                  <a:pt x="790" y="289"/>
                </a:lnTo>
                <a:lnTo>
                  <a:pt x="978" y="289"/>
                </a:lnTo>
                <a:lnTo>
                  <a:pt x="966" y="204"/>
                </a:lnTo>
                <a:lnTo>
                  <a:pt x="957" y="121"/>
                </a:lnTo>
                <a:lnTo>
                  <a:pt x="1035" y="60"/>
                </a:lnTo>
                <a:cubicBezTo>
                  <a:pt x="1114" y="1"/>
                  <a:pt x="1117" y="0"/>
                  <a:pt x="1190" y="17"/>
                </a:cubicBezTo>
                <a:cubicBezTo>
                  <a:pt x="1306" y="43"/>
                  <a:pt x="1384" y="91"/>
                  <a:pt x="1437" y="166"/>
                </a:cubicBezTo>
                <a:lnTo>
                  <a:pt x="1485" y="236"/>
                </a:lnTo>
                <a:lnTo>
                  <a:pt x="1438" y="300"/>
                </a:lnTo>
                <a:lnTo>
                  <a:pt x="1392" y="363"/>
                </a:lnTo>
                <a:lnTo>
                  <a:pt x="1432" y="422"/>
                </a:lnTo>
                <a:cubicBezTo>
                  <a:pt x="1477" y="488"/>
                  <a:pt x="1509" y="494"/>
                  <a:pt x="1566" y="449"/>
                </a:cubicBezTo>
                <a:cubicBezTo>
                  <a:pt x="1602" y="422"/>
                  <a:pt x="1632" y="417"/>
                  <a:pt x="1803" y="417"/>
                </a:cubicBezTo>
                <a:cubicBezTo>
                  <a:pt x="1962" y="417"/>
                  <a:pt x="1998" y="420"/>
                  <a:pt x="1998" y="440"/>
                </a:cubicBezTo>
                <a:cubicBezTo>
                  <a:pt x="1998" y="452"/>
                  <a:pt x="1963" y="473"/>
                  <a:pt x="1915" y="489"/>
                </a:cubicBezTo>
                <a:cubicBezTo>
                  <a:pt x="1805" y="526"/>
                  <a:pt x="1789" y="540"/>
                  <a:pt x="1794" y="598"/>
                </a:cubicBezTo>
                <a:cubicBezTo>
                  <a:pt x="1798" y="643"/>
                  <a:pt x="1792" y="649"/>
                  <a:pt x="1730" y="672"/>
                </a:cubicBezTo>
                <a:cubicBezTo>
                  <a:pt x="1691" y="686"/>
                  <a:pt x="1651" y="712"/>
                  <a:pt x="1642" y="729"/>
                </a:cubicBezTo>
                <a:cubicBezTo>
                  <a:pt x="1632" y="747"/>
                  <a:pt x="1558" y="840"/>
                  <a:pt x="1478" y="937"/>
                </a:cubicBezTo>
                <a:cubicBezTo>
                  <a:pt x="1398" y="1033"/>
                  <a:pt x="1325" y="1124"/>
                  <a:pt x="1312" y="1140"/>
                </a:cubicBezTo>
                <a:cubicBezTo>
                  <a:pt x="1294" y="1164"/>
                  <a:pt x="1296" y="1182"/>
                  <a:pt x="1328" y="1257"/>
                </a:cubicBezTo>
                <a:cubicBezTo>
                  <a:pt x="1368" y="1353"/>
                  <a:pt x="1366" y="1374"/>
                  <a:pt x="1302" y="1539"/>
                </a:cubicBezTo>
                <a:lnTo>
                  <a:pt x="1274" y="1612"/>
                </a:lnTo>
                <a:lnTo>
                  <a:pt x="1333" y="1708"/>
                </a:lnTo>
                <a:lnTo>
                  <a:pt x="1394" y="1806"/>
                </a:lnTo>
                <a:lnTo>
                  <a:pt x="1344" y="2004"/>
                </a:lnTo>
                <a:lnTo>
                  <a:pt x="1294" y="2204"/>
                </a:lnTo>
                <a:lnTo>
                  <a:pt x="1320" y="2428"/>
                </a:lnTo>
                <a:lnTo>
                  <a:pt x="1346" y="2654"/>
                </a:lnTo>
                <a:lnTo>
                  <a:pt x="1272" y="3000"/>
                </a:lnTo>
                <a:cubicBezTo>
                  <a:pt x="1230" y="3190"/>
                  <a:pt x="1202" y="3353"/>
                  <a:pt x="1206" y="3361"/>
                </a:cubicBezTo>
                <a:cubicBezTo>
                  <a:pt x="1213" y="3369"/>
                  <a:pt x="1248" y="3377"/>
                  <a:pt x="1285" y="3377"/>
                </a:cubicBezTo>
                <a:cubicBezTo>
                  <a:pt x="1341" y="3377"/>
                  <a:pt x="1376" y="3363"/>
                  <a:pt x="1459" y="3305"/>
                </a:cubicBezTo>
                <a:cubicBezTo>
                  <a:pt x="1518" y="3265"/>
                  <a:pt x="1573" y="3233"/>
                  <a:pt x="1581" y="3233"/>
                </a:cubicBezTo>
                <a:cubicBezTo>
                  <a:pt x="1590" y="3233"/>
                  <a:pt x="1627" y="3268"/>
                  <a:pt x="1666" y="3313"/>
                </a:cubicBezTo>
                <a:cubicBezTo>
                  <a:pt x="1746" y="3406"/>
                  <a:pt x="1795" y="3419"/>
                  <a:pt x="1794" y="3345"/>
                </a:cubicBezTo>
                <a:cubicBezTo>
                  <a:pt x="1794" y="3340"/>
                  <a:pt x="1789" y="3321"/>
                  <a:pt x="1784" y="3302"/>
                </a:cubicBezTo>
                <a:cubicBezTo>
                  <a:pt x="1776" y="3275"/>
                  <a:pt x="1782" y="3262"/>
                  <a:pt x="1808" y="3248"/>
                </a:cubicBezTo>
                <a:cubicBezTo>
                  <a:pt x="1851" y="3225"/>
                  <a:pt x="1874" y="3246"/>
                  <a:pt x="1901" y="3340"/>
                </a:cubicBezTo>
                <a:cubicBezTo>
                  <a:pt x="1914" y="3388"/>
                  <a:pt x="1928" y="3409"/>
                  <a:pt x="1949" y="3409"/>
                </a:cubicBezTo>
                <a:cubicBezTo>
                  <a:pt x="1981" y="3409"/>
                  <a:pt x="2126" y="3262"/>
                  <a:pt x="2126" y="3232"/>
                </a:cubicBezTo>
                <a:cubicBezTo>
                  <a:pt x="2126" y="3220"/>
                  <a:pt x="2104" y="3172"/>
                  <a:pt x="2075" y="3124"/>
                </a:cubicBezTo>
                <a:lnTo>
                  <a:pt x="2026" y="3036"/>
                </a:lnTo>
                <a:lnTo>
                  <a:pt x="2093" y="2972"/>
                </a:lnTo>
                <a:cubicBezTo>
                  <a:pt x="2157" y="2913"/>
                  <a:pt x="2165" y="2910"/>
                  <a:pt x="2235" y="2920"/>
                </a:cubicBezTo>
                <a:cubicBezTo>
                  <a:pt x="2277" y="2924"/>
                  <a:pt x="2378" y="2934"/>
                  <a:pt x="2459" y="2939"/>
                </a:cubicBezTo>
                <a:cubicBezTo>
                  <a:pt x="2618" y="2948"/>
                  <a:pt x="2610" y="2944"/>
                  <a:pt x="2626" y="3048"/>
                </a:cubicBezTo>
                <a:cubicBezTo>
                  <a:pt x="2629" y="3067"/>
                  <a:pt x="2680" y="3105"/>
                  <a:pt x="2766" y="3153"/>
                </a:cubicBezTo>
                <a:lnTo>
                  <a:pt x="2902" y="3228"/>
                </a:lnTo>
                <a:lnTo>
                  <a:pt x="2930" y="3355"/>
                </a:lnTo>
                <a:cubicBezTo>
                  <a:pt x="2971" y="3555"/>
                  <a:pt x="3066" y="3740"/>
                  <a:pt x="3216" y="3915"/>
                </a:cubicBezTo>
                <a:cubicBezTo>
                  <a:pt x="3288" y="3998"/>
                  <a:pt x="3397" y="4150"/>
                  <a:pt x="3458" y="4254"/>
                </a:cubicBezTo>
                <a:lnTo>
                  <a:pt x="3571" y="4440"/>
                </a:lnTo>
                <a:lnTo>
                  <a:pt x="3582" y="4664"/>
                </a:lnTo>
                <a:cubicBezTo>
                  <a:pt x="3589" y="4788"/>
                  <a:pt x="3587" y="4896"/>
                  <a:pt x="3581" y="4904"/>
                </a:cubicBezTo>
                <a:cubicBezTo>
                  <a:pt x="3563" y="4923"/>
                  <a:pt x="3518" y="4884"/>
                  <a:pt x="3518" y="4848"/>
                </a:cubicBezTo>
                <a:cubicBezTo>
                  <a:pt x="3518" y="4820"/>
                  <a:pt x="3357" y="4689"/>
                  <a:pt x="3325" y="4689"/>
                </a:cubicBezTo>
                <a:cubicBezTo>
                  <a:pt x="3299" y="4689"/>
                  <a:pt x="3150" y="4905"/>
                  <a:pt x="3155" y="4936"/>
                </a:cubicBezTo>
                <a:cubicBezTo>
                  <a:pt x="3157" y="4955"/>
                  <a:pt x="3186" y="4984"/>
                  <a:pt x="3221" y="5003"/>
                </a:cubicBezTo>
                <a:cubicBezTo>
                  <a:pt x="3270" y="5030"/>
                  <a:pt x="3293" y="5035"/>
                  <a:pt x="3333" y="5024"/>
                </a:cubicBezTo>
                <a:cubicBezTo>
                  <a:pt x="3360" y="5016"/>
                  <a:pt x="3384" y="5009"/>
                  <a:pt x="3387" y="5009"/>
                </a:cubicBezTo>
                <a:cubicBezTo>
                  <a:pt x="3389" y="5009"/>
                  <a:pt x="3390" y="5052"/>
                  <a:pt x="3390" y="5105"/>
                </a:cubicBezTo>
                <a:lnTo>
                  <a:pt x="3390" y="5201"/>
                </a:lnTo>
                <a:lnTo>
                  <a:pt x="3341" y="5201"/>
                </a:lnTo>
                <a:cubicBezTo>
                  <a:pt x="3315" y="5201"/>
                  <a:pt x="3278" y="5208"/>
                  <a:pt x="3261" y="5217"/>
                </a:cubicBezTo>
                <a:cubicBezTo>
                  <a:pt x="3230" y="5235"/>
                  <a:pt x="3230" y="5238"/>
                  <a:pt x="3280" y="5324"/>
                </a:cubicBezTo>
                <a:lnTo>
                  <a:pt x="3331" y="5414"/>
                </a:lnTo>
                <a:lnTo>
                  <a:pt x="3266" y="5475"/>
                </a:lnTo>
                <a:cubicBezTo>
                  <a:pt x="3200" y="5536"/>
                  <a:pt x="3198" y="5537"/>
                  <a:pt x="3072" y="5537"/>
                </a:cubicBezTo>
                <a:lnTo>
                  <a:pt x="2944" y="5537"/>
                </a:lnTo>
                <a:lnTo>
                  <a:pt x="2886" y="5625"/>
                </a:lnTo>
                <a:cubicBezTo>
                  <a:pt x="2827" y="5720"/>
                  <a:pt x="2821" y="5744"/>
                  <a:pt x="2848" y="5772"/>
                </a:cubicBezTo>
                <a:cubicBezTo>
                  <a:pt x="2867" y="5790"/>
                  <a:pt x="2856" y="5825"/>
                  <a:pt x="2832" y="5825"/>
                </a:cubicBezTo>
                <a:cubicBezTo>
                  <a:pt x="2824" y="5825"/>
                  <a:pt x="2806" y="5795"/>
                  <a:pt x="2792" y="576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8" name="ХМАО"/>
          <p:cNvSpPr>
            <a:spLocks/>
          </p:cNvSpPr>
          <p:nvPr/>
        </p:nvSpPr>
        <p:spPr bwMode="auto">
          <a:xfrm>
            <a:off x="3105058" y="2949406"/>
            <a:ext cx="1298260" cy="831045"/>
          </a:xfrm>
          <a:custGeom>
            <a:avLst/>
            <a:gdLst/>
            <a:ahLst/>
            <a:cxnLst>
              <a:cxn ang="0">
                <a:pos x="1906" y="2888"/>
              </a:cxn>
              <a:cxn ang="0">
                <a:pos x="1687" y="2504"/>
              </a:cxn>
              <a:cxn ang="0">
                <a:pos x="1308" y="2327"/>
              </a:cxn>
              <a:cxn ang="0">
                <a:pos x="730" y="2631"/>
              </a:cxn>
              <a:cxn ang="0">
                <a:pos x="546" y="2427"/>
              </a:cxn>
              <a:cxn ang="0">
                <a:pos x="458" y="2282"/>
              </a:cxn>
              <a:cxn ang="0">
                <a:pos x="372" y="1946"/>
              </a:cxn>
              <a:cxn ang="0">
                <a:pos x="370" y="1733"/>
              </a:cxn>
              <a:cxn ang="0">
                <a:pos x="304" y="1413"/>
              </a:cxn>
              <a:cxn ang="0">
                <a:pos x="39" y="1122"/>
              </a:cxn>
              <a:cxn ang="0">
                <a:pos x="328" y="443"/>
              </a:cxn>
              <a:cxn ang="0">
                <a:pos x="456" y="195"/>
              </a:cxn>
              <a:cxn ang="0">
                <a:pos x="724" y="82"/>
              </a:cxn>
              <a:cxn ang="0">
                <a:pos x="914" y="101"/>
              </a:cxn>
              <a:cxn ang="0">
                <a:pos x="815" y="384"/>
              </a:cxn>
              <a:cxn ang="0">
                <a:pos x="928" y="538"/>
              </a:cxn>
              <a:cxn ang="0">
                <a:pos x="1356" y="615"/>
              </a:cxn>
              <a:cxn ang="0">
                <a:pos x="1512" y="835"/>
              </a:cxn>
              <a:cxn ang="0">
                <a:pos x="1708" y="847"/>
              </a:cxn>
              <a:cxn ang="0">
                <a:pos x="1903" y="875"/>
              </a:cxn>
              <a:cxn ang="0">
                <a:pos x="2058" y="1235"/>
              </a:cxn>
              <a:cxn ang="0">
                <a:pos x="2223" y="1360"/>
              </a:cxn>
              <a:cxn ang="0">
                <a:pos x="2684" y="1557"/>
              </a:cxn>
              <a:cxn ang="0">
                <a:pos x="2936" y="1704"/>
              </a:cxn>
              <a:cxn ang="0">
                <a:pos x="3357" y="1824"/>
              </a:cxn>
              <a:cxn ang="0">
                <a:pos x="3631" y="1773"/>
              </a:cxn>
              <a:cxn ang="0">
                <a:pos x="3960" y="1928"/>
              </a:cxn>
              <a:cxn ang="0">
                <a:pos x="4100" y="2053"/>
              </a:cxn>
              <a:cxn ang="0">
                <a:pos x="4311" y="2355"/>
              </a:cxn>
              <a:cxn ang="0">
                <a:pos x="3992" y="2480"/>
              </a:cxn>
              <a:cxn ang="0">
                <a:pos x="3799" y="2523"/>
              </a:cxn>
              <a:cxn ang="0">
                <a:pos x="3559" y="2538"/>
              </a:cxn>
              <a:cxn ang="0">
                <a:pos x="3183" y="2456"/>
              </a:cxn>
              <a:cxn ang="0">
                <a:pos x="2789" y="2397"/>
              </a:cxn>
              <a:cxn ang="0">
                <a:pos x="2546" y="2816"/>
              </a:cxn>
              <a:cxn ang="0">
                <a:pos x="2258" y="3055"/>
              </a:cxn>
            </a:cxnLst>
            <a:rect l="0" t="0" r="r" b="b"/>
            <a:pathLst>
              <a:path w="4316" h="3055">
                <a:moveTo>
                  <a:pt x="2096" y="3003"/>
                </a:moveTo>
                <a:cubicBezTo>
                  <a:pt x="1954" y="2951"/>
                  <a:pt x="1906" y="2922"/>
                  <a:pt x="1906" y="2888"/>
                </a:cubicBezTo>
                <a:cubicBezTo>
                  <a:pt x="1906" y="2879"/>
                  <a:pt x="1856" y="2787"/>
                  <a:pt x="1796" y="2687"/>
                </a:cubicBezTo>
                <a:lnTo>
                  <a:pt x="1687" y="2504"/>
                </a:lnTo>
                <a:lnTo>
                  <a:pt x="1506" y="2400"/>
                </a:lnTo>
                <a:cubicBezTo>
                  <a:pt x="1340" y="2306"/>
                  <a:pt x="1324" y="2299"/>
                  <a:pt x="1308" y="2327"/>
                </a:cubicBezTo>
                <a:cubicBezTo>
                  <a:pt x="1231" y="2456"/>
                  <a:pt x="1128" y="2522"/>
                  <a:pt x="932" y="2568"/>
                </a:cubicBezTo>
                <a:cubicBezTo>
                  <a:pt x="847" y="2589"/>
                  <a:pt x="756" y="2618"/>
                  <a:pt x="730" y="2631"/>
                </a:cubicBezTo>
                <a:cubicBezTo>
                  <a:pt x="647" y="2674"/>
                  <a:pt x="615" y="2664"/>
                  <a:pt x="578" y="2584"/>
                </a:cubicBezTo>
                <a:cubicBezTo>
                  <a:pt x="559" y="2541"/>
                  <a:pt x="546" y="2480"/>
                  <a:pt x="546" y="2427"/>
                </a:cubicBezTo>
                <a:lnTo>
                  <a:pt x="546" y="2341"/>
                </a:lnTo>
                <a:lnTo>
                  <a:pt x="458" y="2282"/>
                </a:lnTo>
                <a:cubicBezTo>
                  <a:pt x="362" y="2218"/>
                  <a:pt x="359" y="2208"/>
                  <a:pt x="388" y="2085"/>
                </a:cubicBezTo>
                <a:cubicBezTo>
                  <a:pt x="404" y="2016"/>
                  <a:pt x="402" y="2000"/>
                  <a:pt x="372" y="1946"/>
                </a:cubicBezTo>
                <a:lnTo>
                  <a:pt x="336" y="1883"/>
                </a:lnTo>
                <a:lnTo>
                  <a:pt x="370" y="1733"/>
                </a:lnTo>
                <a:lnTo>
                  <a:pt x="405" y="1583"/>
                </a:lnTo>
                <a:lnTo>
                  <a:pt x="304" y="1413"/>
                </a:lnTo>
                <a:cubicBezTo>
                  <a:pt x="216" y="1263"/>
                  <a:pt x="196" y="1240"/>
                  <a:pt x="133" y="1211"/>
                </a:cubicBezTo>
                <a:cubicBezTo>
                  <a:pt x="80" y="1189"/>
                  <a:pt x="56" y="1167"/>
                  <a:pt x="39" y="1122"/>
                </a:cubicBezTo>
                <a:cubicBezTo>
                  <a:pt x="0" y="1031"/>
                  <a:pt x="8" y="967"/>
                  <a:pt x="87" y="768"/>
                </a:cubicBezTo>
                <a:cubicBezTo>
                  <a:pt x="162" y="579"/>
                  <a:pt x="178" y="557"/>
                  <a:pt x="328" y="443"/>
                </a:cubicBezTo>
                <a:cubicBezTo>
                  <a:pt x="378" y="405"/>
                  <a:pt x="386" y="389"/>
                  <a:pt x="386" y="335"/>
                </a:cubicBezTo>
                <a:cubicBezTo>
                  <a:pt x="386" y="280"/>
                  <a:pt x="397" y="258"/>
                  <a:pt x="456" y="195"/>
                </a:cubicBezTo>
                <a:cubicBezTo>
                  <a:pt x="524" y="125"/>
                  <a:pt x="530" y="122"/>
                  <a:pt x="567" y="143"/>
                </a:cubicBezTo>
                <a:cubicBezTo>
                  <a:pt x="605" y="162"/>
                  <a:pt x="615" y="159"/>
                  <a:pt x="724" y="82"/>
                </a:cubicBezTo>
                <a:cubicBezTo>
                  <a:pt x="788" y="37"/>
                  <a:pt x="856" y="0"/>
                  <a:pt x="877" y="0"/>
                </a:cubicBezTo>
                <a:cubicBezTo>
                  <a:pt x="912" y="0"/>
                  <a:pt x="914" y="7"/>
                  <a:pt x="914" y="101"/>
                </a:cubicBezTo>
                <a:cubicBezTo>
                  <a:pt x="914" y="184"/>
                  <a:pt x="904" y="219"/>
                  <a:pt x="864" y="293"/>
                </a:cubicBezTo>
                <a:lnTo>
                  <a:pt x="815" y="384"/>
                </a:lnTo>
                <a:lnTo>
                  <a:pt x="872" y="461"/>
                </a:lnTo>
                <a:lnTo>
                  <a:pt x="928" y="538"/>
                </a:lnTo>
                <a:lnTo>
                  <a:pt x="1101" y="559"/>
                </a:lnTo>
                <a:cubicBezTo>
                  <a:pt x="1208" y="571"/>
                  <a:pt x="1304" y="592"/>
                  <a:pt x="1356" y="615"/>
                </a:cubicBezTo>
                <a:cubicBezTo>
                  <a:pt x="1436" y="651"/>
                  <a:pt x="1437" y="653"/>
                  <a:pt x="1436" y="720"/>
                </a:cubicBezTo>
                <a:cubicBezTo>
                  <a:pt x="1434" y="787"/>
                  <a:pt x="1437" y="792"/>
                  <a:pt x="1512" y="835"/>
                </a:cubicBezTo>
                <a:lnTo>
                  <a:pt x="1591" y="882"/>
                </a:lnTo>
                <a:lnTo>
                  <a:pt x="1708" y="847"/>
                </a:lnTo>
                <a:lnTo>
                  <a:pt x="1826" y="811"/>
                </a:lnTo>
                <a:lnTo>
                  <a:pt x="1903" y="875"/>
                </a:lnTo>
                <a:cubicBezTo>
                  <a:pt x="1972" y="933"/>
                  <a:pt x="1980" y="946"/>
                  <a:pt x="1988" y="1026"/>
                </a:cubicBezTo>
                <a:cubicBezTo>
                  <a:pt x="1992" y="1080"/>
                  <a:pt x="2018" y="1157"/>
                  <a:pt x="2058" y="1235"/>
                </a:cubicBezTo>
                <a:lnTo>
                  <a:pt x="2120" y="1360"/>
                </a:lnTo>
                <a:lnTo>
                  <a:pt x="2223" y="1360"/>
                </a:lnTo>
                <a:cubicBezTo>
                  <a:pt x="2322" y="1360"/>
                  <a:pt x="2328" y="1362"/>
                  <a:pt x="2434" y="1447"/>
                </a:cubicBezTo>
                <a:cubicBezTo>
                  <a:pt x="2533" y="1525"/>
                  <a:pt x="2554" y="1535"/>
                  <a:pt x="2684" y="1557"/>
                </a:cubicBezTo>
                <a:lnTo>
                  <a:pt x="2824" y="1583"/>
                </a:lnTo>
                <a:lnTo>
                  <a:pt x="2936" y="1704"/>
                </a:lnTo>
                <a:lnTo>
                  <a:pt x="3048" y="1824"/>
                </a:lnTo>
                <a:lnTo>
                  <a:pt x="3357" y="1824"/>
                </a:lnTo>
                <a:lnTo>
                  <a:pt x="3540" y="1674"/>
                </a:lnTo>
                <a:lnTo>
                  <a:pt x="3631" y="1773"/>
                </a:lnTo>
                <a:cubicBezTo>
                  <a:pt x="3717" y="1866"/>
                  <a:pt x="3727" y="1872"/>
                  <a:pt x="3794" y="1872"/>
                </a:cubicBezTo>
                <a:cubicBezTo>
                  <a:pt x="3845" y="1872"/>
                  <a:pt x="3888" y="1887"/>
                  <a:pt x="3960" y="1928"/>
                </a:cubicBezTo>
                <a:cubicBezTo>
                  <a:pt x="4013" y="1960"/>
                  <a:pt x="4068" y="1992"/>
                  <a:pt x="4080" y="1999"/>
                </a:cubicBezTo>
                <a:cubicBezTo>
                  <a:pt x="4095" y="2007"/>
                  <a:pt x="4103" y="2027"/>
                  <a:pt x="4100" y="2053"/>
                </a:cubicBezTo>
                <a:cubicBezTo>
                  <a:pt x="4090" y="2131"/>
                  <a:pt x="4152" y="2235"/>
                  <a:pt x="4239" y="2290"/>
                </a:cubicBezTo>
                <a:cubicBezTo>
                  <a:pt x="4284" y="2317"/>
                  <a:pt x="4316" y="2347"/>
                  <a:pt x="4311" y="2355"/>
                </a:cubicBezTo>
                <a:cubicBezTo>
                  <a:pt x="4292" y="2384"/>
                  <a:pt x="4082" y="2512"/>
                  <a:pt x="4052" y="2512"/>
                </a:cubicBezTo>
                <a:cubicBezTo>
                  <a:pt x="4036" y="2512"/>
                  <a:pt x="4008" y="2498"/>
                  <a:pt x="3992" y="2480"/>
                </a:cubicBezTo>
                <a:cubicBezTo>
                  <a:pt x="3976" y="2463"/>
                  <a:pt x="3954" y="2448"/>
                  <a:pt x="3943" y="2448"/>
                </a:cubicBezTo>
                <a:cubicBezTo>
                  <a:pt x="3932" y="2448"/>
                  <a:pt x="3866" y="2482"/>
                  <a:pt x="3799" y="2523"/>
                </a:cubicBezTo>
                <a:lnTo>
                  <a:pt x="3677" y="2599"/>
                </a:lnTo>
                <a:lnTo>
                  <a:pt x="3559" y="2538"/>
                </a:lnTo>
                <a:cubicBezTo>
                  <a:pt x="3442" y="2477"/>
                  <a:pt x="3437" y="2477"/>
                  <a:pt x="3320" y="2487"/>
                </a:cubicBezTo>
                <a:cubicBezTo>
                  <a:pt x="3202" y="2498"/>
                  <a:pt x="3200" y="2498"/>
                  <a:pt x="3183" y="2456"/>
                </a:cubicBezTo>
                <a:cubicBezTo>
                  <a:pt x="3172" y="2434"/>
                  <a:pt x="3148" y="2411"/>
                  <a:pt x="3130" y="2408"/>
                </a:cubicBezTo>
                <a:cubicBezTo>
                  <a:pt x="3063" y="2395"/>
                  <a:pt x="2805" y="2386"/>
                  <a:pt x="2789" y="2397"/>
                </a:cubicBezTo>
                <a:cubicBezTo>
                  <a:pt x="2780" y="2403"/>
                  <a:pt x="2743" y="2485"/>
                  <a:pt x="2708" y="2578"/>
                </a:cubicBezTo>
                <a:cubicBezTo>
                  <a:pt x="2618" y="2816"/>
                  <a:pt x="2618" y="2816"/>
                  <a:pt x="2546" y="2816"/>
                </a:cubicBezTo>
                <a:cubicBezTo>
                  <a:pt x="2488" y="2816"/>
                  <a:pt x="2477" y="2824"/>
                  <a:pt x="2384" y="2935"/>
                </a:cubicBezTo>
                <a:cubicBezTo>
                  <a:pt x="2328" y="3002"/>
                  <a:pt x="2271" y="3055"/>
                  <a:pt x="2258" y="3055"/>
                </a:cubicBezTo>
                <a:cubicBezTo>
                  <a:pt x="2245" y="3055"/>
                  <a:pt x="2172" y="3031"/>
                  <a:pt x="2096" y="3003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09" name="Челябинская область"/>
          <p:cNvSpPr>
            <a:spLocks/>
          </p:cNvSpPr>
          <p:nvPr/>
        </p:nvSpPr>
        <p:spPr bwMode="auto">
          <a:xfrm>
            <a:off x="2625767" y="3763047"/>
            <a:ext cx="345988" cy="387241"/>
          </a:xfrm>
          <a:custGeom>
            <a:avLst/>
            <a:gdLst/>
            <a:ahLst/>
            <a:cxnLst>
              <a:cxn ang="0">
                <a:pos x="203" y="1384"/>
              </a:cxn>
              <a:cxn ang="0">
                <a:pos x="211" y="1309"/>
              </a:cxn>
              <a:cxn ang="0">
                <a:pos x="128" y="1207"/>
              </a:cxn>
              <a:cxn ang="0">
                <a:pos x="42" y="1091"/>
              </a:cxn>
              <a:cxn ang="0">
                <a:pos x="117" y="915"/>
              </a:cxn>
              <a:cxn ang="0">
                <a:pos x="338" y="695"/>
              </a:cxn>
              <a:cxn ang="0">
                <a:pos x="512" y="616"/>
              </a:cxn>
              <a:cxn ang="0">
                <a:pos x="451" y="431"/>
              </a:cxn>
              <a:cxn ang="0">
                <a:pos x="247" y="416"/>
              </a:cxn>
              <a:cxn ang="0">
                <a:pos x="103" y="373"/>
              </a:cxn>
              <a:cxn ang="0">
                <a:pos x="61" y="290"/>
              </a:cxn>
              <a:cxn ang="0">
                <a:pos x="31" y="221"/>
              </a:cxn>
              <a:cxn ang="0">
                <a:pos x="71" y="191"/>
              </a:cxn>
              <a:cxn ang="0">
                <a:pos x="240" y="187"/>
              </a:cxn>
              <a:cxn ang="0">
                <a:pos x="431" y="247"/>
              </a:cxn>
              <a:cxn ang="0">
                <a:pos x="629" y="107"/>
              </a:cxn>
              <a:cxn ang="0">
                <a:pos x="674" y="0"/>
              </a:cxn>
              <a:cxn ang="0">
                <a:pos x="1083" y="179"/>
              </a:cxn>
              <a:cxn ang="0">
                <a:pos x="1138" y="306"/>
              </a:cxn>
              <a:cxn ang="0">
                <a:pos x="1064" y="485"/>
              </a:cxn>
              <a:cxn ang="0">
                <a:pos x="917" y="725"/>
              </a:cxn>
              <a:cxn ang="0">
                <a:pos x="1021" y="776"/>
              </a:cxn>
              <a:cxn ang="0">
                <a:pos x="1125" y="811"/>
              </a:cxn>
              <a:cxn ang="0">
                <a:pos x="1091" y="880"/>
              </a:cxn>
              <a:cxn ang="0">
                <a:pos x="824" y="877"/>
              </a:cxn>
              <a:cxn ang="0">
                <a:pos x="589" y="901"/>
              </a:cxn>
              <a:cxn ang="0">
                <a:pos x="603" y="1066"/>
              </a:cxn>
              <a:cxn ang="0">
                <a:pos x="567" y="1184"/>
              </a:cxn>
              <a:cxn ang="0">
                <a:pos x="367" y="1192"/>
              </a:cxn>
              <a:cxn ang="0">
                <a:pos x="331" y="1288"/>
              </a:cxn>
              <a:cxn ang="0">
                <a:pos x="298" y="1384"/>
              </a:cxn>
              <a:cxn ang="0">
                <a:pos x="203" y="1384"/>
              </a:cxn>
            </a:cxnLst>
            <a:rect l="0" t="0" r="r" b="b"/>
            <a:pathLst>
              <a:path w="1144" h="1415">
                <a:moveTo>
                  <a:pt x="203" y="1384"/>
                </a:moveTo>
                <a:cubicBezTo>
                  <a:pt x="199" y="1371"/>
                  <a:pt x="202" y="1338"/>
                  <a:pt x="211" y="1309"/>
                </a:cubicBezTo>
                <a:cubicBezTo>
                  <a:pt x="234" y="1245"/>
                  <a:pt x="216" y="1221"/>
                  <a:pt x="128" y="1207"/>
                </a:cubicBezTo>
                <a:cubicBezTo>
                  <a:pt x="7" y="1187"/>
                  <a:pt x="0" y="1178"/>
                  <a:pt x="42" y="1091"/>
                </a:cubicBezTo>
                <a:cubicBezTo>
                  <a:pt x="63" y="1050"/>
                  <a:pt x="96" y="971"/>
                  <a:pt x="117" y="915"/>
                </a:cubicBezTo>
                <a:cubicBezTo>
                  <a:pt x="163" y="787"/>
                  <a:pt x="272" y="679"/>
                  <a:pt x="338" y="695"/>
                </a:cubicBezTo>
                <a:cubicBezTo>
                  <a:pt x="447" y="722"/>
                  <a:pt x="458" y="717"/>
                  <a:pt x="512" y="616"/>
                </a:cubicBezTo>
                <a:cubicBezTo>
                  <a:pt x="597" y="459"/>
                  <a:pt x="578" y="402"/>
                  <a:pt x="451" y="431"/>
                </a:cubicBezTo>
                <a:cubicBezTo>
                  <a:pt x="397" y="442"/>
                  <a:pt x="351" y="439"/>
                  <a:pt x="247" y="416"/>
                </a:cubicBezTo>
                <a:cubicBezTo>
                  <a:pt x="173" y="400"/>
                  <a:pt x="109" y="381"/>
                  <a:pt x="103" y="373"/>
                </a:cubicBezTo>
                <a:cubicBezTo>
                  <a:pt x="96" y="365"/>
                  <a:pt x="77" y="328"/>
                  <a:pt x="61" y="290"/>
                </a:cubicBezTo>
                <a:lnTo>
                  <a:pt x="31" y="221"/>
                </a:lnTo>
                <a:lnTo>
                  <a:pt x="71" y="191"/>
                </a:lnTo>
                <a:cubicBezTo>
                  <a:pt x="139" y="136"/>
                  <a:pt x="175" y="136"/>
                  <a:pt x="240" y="187"/>
                </a:cubicBezTo>
                <a:cubicBezTo>
                  <a:pt x="291" y="229"/>
                  <a:pt x="320" y="237"/>
                  <a:pt x="431" y="247"/>
                </a:cubicBezTo>
                <a:cubicBezTo>
                  <a:pt x="581" y="261"/>
                  <a:pt x="578" y="263"/>
                  <a:pt x="629" y="107"/>
                </a:cubicBezTo>
                <a:cubicBezTo>
                  <a:pt x="648" y="48"/>
                  <a:pt x="669" y="0"/>
                  <a:pt x="674" y="0"/>
                </a:cubicBezTo>
                <a:cubicBezTo>
                  <a:pt x="707" y="0"/>
                  <a:pt x="1043" y="147"/>
                  <a:pt x="1083" y="179"/>
                </a:cubicBezTo>
                <a:cubicBezTo>
                  <a:pt x="1122" y="210"/>
                  <a:pt x="1131" y="231"/>
                  <a:pt x="1138" y="306"/>
                </a:cubicBezTo>
                <a:cubicBezTo>
                  <a:pt x="1144" y="395"/>
                  <a:pt x="1144" y="395"/>
                  <a:pt x="1064" y="485"/>
                </a:cubicBezTo>
                <a:cubicBezTo>
                  <a:pt x="983" y="575"/>
                  <a:pt x="917" y="682"/>
                  <a:pt x="917" y="725"/>
                </a:cubicBezTo>
                <a:cubicBezTo>
                  <a:pt x="917" y="739"/>
                  <a:pt x="955" y="759"/>
                  <a:pt x="1021" y="776"/>
                </a:cubicBezTo>
                <a:cubicBezTo>
                  <a:pt x="1079" y="792"/>
                  <a:pt x="1125" y="808"/>
                  <a:pt x="1125" y="811"/>
                </a:cubicBezTo>
                <a:cubicBezTo>
                  <a:pt x="1125" y="816"/>
                  <a:pt x="1109" y="847"/>
                  <a:pt x="1091" y="880"/>
                </a:cubicBezTo>
                <a:cubicBezTo>
                  <a:pt x="1050" y="954"/>
                  <a:pt x="1034" y="954"/>
                  <a:pt x="824" y="877"/>
                </a:cubicBezTo>
                <a:cubicBezTo>
                  <a:pt x="675" y="823"/>
                  <a:pt x="639" y="827"/>
                  <a:pt x="589" y="901"/>
                </a:cubicBezTo>
                <a:cubicBezTo>
                  <a:pt x="565" y="939"/>
                  <a:pt x="565" y="949"/>
                  <a:pt x="603" y="1066"/>
                </a:cubicBezTo>
                <a:cubicBezTo>
                  <a:pt x="645" y="1199"/>
                  <a:pt x="637" y="1223"/>
                  <a:pt x="567" y="1184"/>
                </a:cubicBezTo>
                <a:cubicBezTo>
                  <a:pt x="520" y="1159"/>
                  <a:pt x="395" y="1163"/>
                  <a:pt x="367" y="1192"/>
                </a:cubicBezTo>
                <a:cubicBezTo>
                  <a:pt x="354" y="1205"/>
                  <a:pt x="338" y="1248"/>
                  <a:pt x="331" y="1288"/>
                </a:cubicBezTo>
                <a:cubicBezTo>
                  <a:pt x="327" y="1328"/>
                  <a:pt x="311" y="1371"/>
                  <a:pt x="298" y="1384"/>
                </a:cubicBezTo>
                <a:cubicBezTo>
                  <a:pt x="267" y="1415"/>
                  <a:pt x="215" y="1415"/>
                  <a:pt x="203" y="1384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0" name="Чеченская республика"/>
          <p:cNvSpPr>
            <a:spLocks/>
          </p:cNvSpPr>
          <p:nvPr/>
        </p:nvSpPr>
        <p:spPr bwMode="auto">
          <a:xfrm>
            <a:off x="1190996" y="4372190"/>
            <a:ext cx="155556" cy="100074"/>
          </a:xfrm>
          <a:custGeom>
            <a:avLst/>
            <a:gdLst/>
            <a:ahLst/>
            <a:cxnLst>
              <a:cxn ang="0">
                <a:pos x="21" y="312"/>
              </a:cxn>
              <a:cxn ang="0">
                <a:pos x="5" y="243"/>
              </a:cxn>
              <a:cxn ang="0">
                <a:pos x="192" y="113"/>
              </a:cxn>
              <a:cxn ang="0">
                <a:pos x="397" y="30"/>
              </a:cxn>
              <a:cxn ang="0">
                <a:pos x="456" y="62"/>
              </a:cxn>
              <a:cxn ang="0">
                <a:pos x="432" y="153"/>
              </a:cxn>
              <a:cxn ang="0">
                <a:pos x="352" y="254"/>
              </a:cxn>
              <a:cxn ang="0">
                <a:pos x="326" y="329"/>
              </a:cxn>
              <a:cxn ang="0">
                <a:pos x="211" y="341"/>
              </a:cxn>
              <a:cxn ang="0">
                <a:pos x="70" y="358"/>
              </a:cxn>
              <a:cxn ang="0">
                <a:pos x="21" y="312"/>
              </a:cxn>
            </a:cxnLst>
            <a:rect l="0" t="0" r="r" b="b"/>
            <a:pathLst>
              <a:path w="512" h="363">
                <a:moveTo>
                  <a:pt x="21" y="312"/>
                </a:moveTo>
                <a:cubicBezTo>
                  <a:pt x="6" y="283"/>
                  <a:pt x="0" y="251"/>
                  <a:pt x="5" y="243"/>
                </a:cubicBezTo>
                <a:cubicBezTo>
                  <a:pt x="11" y="233"/>
                  <a:pt x="94" y="176"/>
                  <a:pt x="192" y="113"/>
                </a:cubicBezTo>
                <a:cubicBezTo>
                  <a:pt x="365" y="1"/>
                  <a:pt x="368" y="0"/>
                  <a:pt x="397" y="30"/>
                </a:cubicBezTo>
                <a:cubicBezTo>
                  <a:pt x="413" y="48"/>
                  <a:pt x="440" y="62"/>
                  <a:pt x="456" y="62"/>
                </a:cubicBezTo>
                <a:cubicBezTo>
                  <a:pt x="512" y="62"/>
                  <a:pt x="494" y="123"/>
                  <a:pt x="432" y="153"/>
                </a:cubicBezTo>
                <a:cubicBezTo>
                  <a:pt x="389" y="174"/>
                  <a:pt x="371" y="195"/>
                  <a:pt x="352" y="254"/>
                </a:cubicBezTo>
                <a:lnTo>
                  <a:pt x="326" y="329"/>
                </a:lnTo>
                <a:lnTo>
                  <a:pt x="211" y="341"/>
                </a:lnTo>
                <a:cubicBezTo>
                  <a:pt x="149" y="347"/>
                  <a:pt x="85" y="355"/>
                  <a:pt x="70" y="358"/>
                </a:cubicBezTo>
                <a:cubicBezTo>
                  <a:pt x="54" y="363"/>
                  <a:pt x="37" y="347"/>
                  <a:pt x="21" y="31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1" name="Республика Чувашия"/>
          <p:cNvSpPr>
            <a:spLocks/>
          </p:cNvSpPr>
          <p:nvPr/>
        </p:nvSpPr>
        <p:spPr bwMode="auto">
          <a:xfrm>
            <a:off x="2052812" y="3406263"/>
            <a:ext cx="142825" cy="134882"/>
          </a:xfrm>
          <a:custGeom>
            <a:avLst/>
            <a:gdLst/>
            <a:ahLst/>
            <a:cxnLst>
              <a:cxn ang="0">
                <a:pos x="56" y="448"/>
              </a:cxn>
              <a:cxn ang="0">
                <a:pos x="21" y="357"/>
              </a:cxn>
              <a:cxn ang="0">
                <a:pos x="24" y="287"/>
              </a:cxn>
              <a:cxn ang="0">
                <a:pos x="63" y="208"/>
              </a:cxn>
              <a:cxn ang="0">
                <a:pos x="119" y="101"/>
              </a:cxn>
              <a:cxn ang="0">
                <a:pos x="180" y="7"/>
              </a:cxn>
              <a:cxn ang="0">
                <a:pos x="325" y="19"/>
              </a:cxn>
              <a:cxn ang="0">
                <a:pos x="418" y="42"/>
              </a:cxn>
              <a:cxn ang="0">
                <a:pos x="447" y="128"/>
              </a:cxn>
              <a:cxn ang="0">
                <a:pos x="484" y="243"/>
              </a:cxn>
              <a:cxn ang="0">
                <a:pos x="399" y="315"/>
              </a:cxn>
              <a:cxn ang="0">
                <a:pos x="311" y="411"/>
              </a:cxn>
              <a:cxn ang="0">
                <a:pos x="191" y="483"/>
              </a:cxn>
              <a:cxn ang="0">
                <a:pos x="56" y="448"/>
              </a:cxn>
            </a:cxnLst>
            <a:rect l="0" t="0" r="r" b="b"/>
            <a:pathLst>
              <a:path w="490" h="490">
                <a:moveTo>
                  <a:pt x="56" y="448"/>
                </a:moveTo>
                <a:cubicBezTo>
                  <a:pt x="10" y="410"/>
                  <a:pt x="7" y="402"/>
                  <a:pt x="21" y="357"/>
                </a:cubicBezTo>
                <a:cubicBezTo>
                  <a:pt x="32" y="328"/>
                  <a:pt x="32" y="299"/>
                  <a:pt x="24" y="287"/>
                </a:cubicBezTo>
                <a:cubicBezTo>
                  <a:pt x="0" y="248"/>
                  <a:pt x="8" y="232"/>
                  <a:pt x="63" y="208"/>
                </a:cubicBezTo>
                <a:cubicBezTo>
                  <a:pt x="109" y="186"/>
                  <a:pt x="114" y="176"/>
                  <a:pt x="119" y="101"/>
                </a:cubicBezTo>
                <a:cubicBezTo>
                  <a:pt x="124" y="19"/>
                  <a:pt x="125" y="16"/>
                  <a:pt x="180" y="7"/>
                </a:cubicBezTo>
                <a:cubicBezTo>
                  <a:pt x="210" y="0"/>
                  <a:pt x="274" y="7"/>
                  <a:pt x="325" y="19"/>
                </a:cubicBezTo>
                <a:lnTo>
                  <a:pt x="418" y="42"/>
                </a:lnTo>
                <a:lnTo>
                  <a:pt x="447" y="128"/>
                </a:lnTo>
                <a:cubicBezTo>
                  <a:pt x="461" y="176"/>
                  <a:pt x="479" y="227"/>
                  <a:pt x="484" y="243"/>
                </a:cubicBezTo>
                <a:cubicBezTo>
                  <a:pt x="490" y="264"/>
                  <a:pt x="471" y="282"/>
                  <a:pt x="399" y="315"/>
                </a:cubicBezTo>
                <a:cubicBezTo>
                  <a:pt x="311" y="357"/>
                  <a:pt x="306" y="363"/>
                  <a:pt x="311" y="411"/>
                </a:cubicBezTo>
                <a:cubicBezTo>
                  <a:pt x="316" y="471"/>
                  <a:pt x="309" y="474"/>
                  <a:pt x="191" y="483"/>
                </a:cubicBezTo>
                <a:cubicBezTo>
                  <a:pt x="119" y="490"/>
                  <a:pt x="101" y="485"/>
                  <a:pt x="56" y="448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2" name="Чукотский автономный округ"/>
          <p:cNvSpPr>
            <a:spLocks/>
          </p:cNvSpPr>
          <p:nvPr/>
        </p:nvSpPr>
        <p:spPr bwMode="auto">
          <a:xfrm>
            <a:off x="7055415" y="665120"/>
            <a:ext cx="1042727" cy="1200882"/>
          </a:xfrm>
          <a:custGeom>
            <a:avLst/>
            <a:gdLst/>
            <a:ahLst/>
            <a:cxnLst>
              <a:cxn ang="0">
                <a:pos x="785" y="4252"/>
              </a:cxn>
              <a:cxn ang="0">
                <a:pos x="620" y="4149"/>
              </a:cxn>
              <a:cxn ang="0">
                <a:pos x="363" y="4159"/>
              </a:cxn>
              <a:cxn ang="0">
                <a:pos x="236" y="3919"/>
              </a:cxn>
              <a:cxn ang="0">
                <a:pos x="348" y="3623"/>
              </a:cxn>
              <a:cxn ang="0">
                <a:pos x="419" y="3405"/>
              </a:cxn>
              <a:cxn ang="0">
                <a:pos x="22" y="3180"/>
              </a:cxn>
              <a:cxn ang="0">
                <a:pos x="332" y="2616"/>
              </a:cxn>
              <a:cxn ang="0">
                <a:pos x="547" y="2541"/>
              </a:cxn>
              <a:cxn ang="0">
                <a:pos x="758" y="2248"/>
              </a:cxn>
              <a:cxn ang="0">
                <a:pos x="449" y="2175"/>
              </a:cxn>
              <a:cxn ang="0">
                <a:pos x="673" y="1610"/>
              </a:cxn>
              <a:cxn ang="0">
                <a:pos x="1940" y="639"/>
              </a:cxn>
              <a:cxn ang="0">
                <a:pos x="2180" y="701"/>
              </a:cxn>
              <a:cxn ang="0">
                <a:pos x="2241" y="485"/>
              </a:cxn>
              <a:cxn ang="0">
                <a:pos x="2204" y="288"/>
              </a:cxn>
              <a:cxn ang="0">
                <a:pos x="2523" y="4"/>
              </a:cxn>
              <a:cxn ang="0">
                <a:pos x="2660" y="92"/>
              </a:cxn>
              <a:cxn ang="0">
                <a:pos x="2868" y="431"/>
              </a:cxn>
              <a:cxn ang="0">
                <a:pos x="3006" y="639"/>
              </a:cxn>
              <a:cxn ang="0">
                <a:pos x="2723" y="858"/>
              </a:cxn>
              <a:cxn ang="0">
                <a:pos x="2484" y="1095"/>
              </a:cxn>
              <a:cxn ang="0">
                <a:pos x="2166" y="1325"/>
              </a:cxn>
              <a:cxn ang="0">
                <a:pos x="2371" y="1477"/>
              </a:cxn>
              <a:cxn ang="0">
                <a:pos x="2588" y="1655"/>
              </a:cxn>
              <a:cxn ang="0">
                <a:pos x="2550" y="1885"/>
              </a:cxn>
              <a:cxn ang="0">
                <a:pos x="2792" y="1975"/>
              </a:cxn>
              <a:cxn ang="0">
                <a:pos x="3206" y="1920"/>
              </a:cxn>
              <a:cxn ang="0">
                <a:pos x="3472" y="1978"/>
              </a:cxn>
              <a:cxn ang="0">
                <a:pos x="3294" y="2487"/>
              </a:cxn>
              <a:cxn ang="0">
                <a:pos x="3228" y="2783"/>
              </a:cxn>
              <a:cxn ang="0">
                <a:pos x="3116" y="2855"/>
              </a:cxn>
              <a:cxn ang="0">
                <a:pos x="3036" y="3170"/>
              </a:cxn>
              <a:cxn ang="0">
                <a:pos x="2995" y="3383"/>
              </a:cxn>
              <a:cxn ang="0">
                <a:pos x="2710" y="3450"/>
              </a:cxn>
              <a:cxn ang="0">
                <a:pos x="2552" y="3391"/>
              </a:cxn>
              <a:cxn ang="0">
                <a:pos x="2144" y="3381"/>
              </a:cxn>
              <a:cxn ang="0">
                <a:pos x="1942" y="3544"/>
              </a:cxn>
              <a:cxn ang="0">
                <a:pos x="1628" y="4002"/>
              </a:cxn>
              <a:cxn ang="0">
                <a:pos x="1318" y="4221"/>
              </a:cxn>
              <a:cxn ang="0">
                <a:pos x="904" y="4298"/>
              </a:cxn>
            </a:cxnLst>
            <a:rect l="0" t="0" r="r" b="b"/>
            <a:pathLst>
              <a:path w="3472" h="4365">
                <a:moveTo>
                  <a:pt x="904" y="4298"/>
                </a:moveTo>
                <a:cubicBezTo>
                  <a:pt x="833" y="4239"/>
                  <a:pt x="824" y="4234"/>
                  <a:pt x="785" y="4252"/>
                </a:cubicBezTo>
                <a:cubicBezTo>
                  <a:pt x="747" y="4269"/>
                  <a:pt x="739" y="4264"/>
                  <a:pt x="681" y="4210"/>
                </a:cubicBezTo>
                <a:lnTo>
                  <a:pt x="620" y="4149"/>
                </a:lnTo>
                <a:lnTo>
                  <a:pt x="492" y="4154"/>
                </a:lnTo>
                <a:lnTo>
                  <a:pt x="363" y="4159"/>
                </a:lnTo>
                <a:lnTo>
                  <a:pt x="300" y="4090"/>
                </a:lnTo>
                <a:cubicBezTo>
                  <a:pt x="240" y="4024"/>
                  <a:pt x="236" y="4015"/>
                  <a:pt x="236" y="3919"/>
                </a:cubicBezTo>
                <a:cubicBezTo>
                  <a:pt x="236" y="3826"/>
                  <a:pt x="241" y="3812"/>
                  <a:pt x="292" y="3749"/>
                </a:cubicBezTo>
                <a:cubicBezTo>
                  <a:pt x="334" y="3700"/>
                  <a:pt x="348" y="3666"/>
                  <a:pt x="348" y="3623"/>
                </a:cubicBezTo>
                <a:cubicBezTo>
                  <a:pt x="348" y="3581"/>
                  <a:pt x="363" y="3546"/>
                  <a:pt x="400" y="3501"/>
                </a:cubicBezTo>
                <a:cubicBezTo>
                  <a:pt x="449" y="3439"/>
                  <a:pt x="449" y="3439"/>
                  <a:pt x="419" y="3405"/>
                </a:cubicBezTo>
                <a:cubicBezTo>
                  <a:pt x="361" y="3341"/>
                  <a:pt x="244" y="3268"/>
                  <a:pt x="140" y="3231"/>
                </a:cubicBezTo>
                <a:cubicBezTo>
                  <a:pt x="83" y="3210"/>
                  <a:pt x="30" y="3188"/>
                  <a:pt x="22" y="3180"/>
                </a:cubicBezTo>
                <a:cubicBezTo>
                  <a:pt x="0" y="3160"/>
                  <a:pt x="48" y="3069"/>
                  <a:pt x="179" y="2887"/>
                </a:cubicBezTo>
                <a:cubicBezTo>
                  <a:pt x="316" y="2698"/>
                  <a:pt x="332" y="2669"/>
                  <a:pt x="332" y="2616"/>
                </a:cubicBezTo>
                <a:cubicBezTo>
                  <a:pt x="332" y="2594"/>
                  <a:pt x="342" y="2570"/>
                  <a:pt x="352" y="2564"/>
                </a:cubicBezTo>
                <a:cubicBezTo>
                  <a:pt x="363" y="2557"/>
                  <a:pt x="451" y="2548"/>
                  <a:pt x="547" y="2541"/>
                </a:cubicBezTo>
                <a:cubicBezTo>
                  <a:pt x="657" y="2533"/>
                  <a:pt x="728" y="2522"/>
                  <a:pt x="740" y="2508"/>
                </a:cubicBezTo>
                <a:cubicBezTo>
                  <a:pt x="768" y="2479"/>
                  <a:pt x="782" y="2277"/>
                  <a:pt x="758" y="2248"/>
                </a:cubicBezTo>
                <a:cubicBezTo>
                  <a:pt x="747" y="2232"/>
                  <a:pt x="700" y="2223"/>
                  <a:pt x="620" y="2220"/>
                </a:cubicBezTo>
                <a:cubicBezTo>
                  <a:pt x="524" y="2215"/>
                  <a:pt x="491" y="2207"/>
                  <a:pt x="449" y="2175"/>
                </a:cubicBezTo>
                <a:cubicBezTo>
                  <a:pt x="420" y="2154"/>
                  <a:pt x="396" y="2125"/>
                  <a:pt x="396" y="2114"/>
                </a:cubicBezTo>
                <a:cubicBezTo>
                  <a:pt x="396" y="2092"/>
                  <a:pt x="572" y="1770"/>
                  <a:pt x="673" y="1610"/>
                </a:cubicBezTo>
                <a:cubicBezTo>
                  <a:pt x="723" y="1530"/>
                  <a:pt x="908" y="1357"/>
                  <a:pt x="1134" y="1183"/>
                </a:cubicBezTo>
                <a:cubicBezTo>
                  <a:pt x="1356" y="1010"/>
                  <a:pt x="1907" y="639"/>
                  <a:pt x="1940" y="639"/>
                </a:cubicBezTo>
                <a:cubicBezTo>
                  <a:pt x="1958" y="639"/>
                  <a:pt x="2012" y="653"/>
                  <a:pt x="2060" y="671"/>
                </a:cubicBezTo>
                <a:cubicBezTo>
                  <a:pt x="2108" y="688"/>
                  <a:pt x="2163" y="703"/>
                  <a:pt x="2180" y="701"/>
                </a:cubicBezTo>
                <a:cubicBezTo>
                  <a:pt x="2224" y="701"/>
                  <a:pt x="2387" y="586"/>
                  <a:pt x="2395" y="551"/>
                </a:cubicBezTo>
                <a:cubicBezTo>
                  <a:pt x="2403" y="511"/>
                  <a:pt x="2374" y="498"/>
                  <a:pt x="2241" y="485"/>
                </a:cubicBezTo>
                <a:cubicBezTo>
                  <a:pt x="2123" y="474"/>
                  <a:pt x="2099" y="456"/>
                  <a:pt x="2148" y="415"/>
                </a:cubicBezTo>
                <a:cubicBezTo>
                  <a:pt x="2161" y="404"/>
                  <a:pt x="2187" y="348"/>
                  <a:pt x="2204" y="288"/>
                </a:cubicBezTo>
                <a:cubicBezTo>
                  <a:pt x="2236" y="183"/>
                  <a:pt x="2236" y="181"/>
                  <a:pt x="2368" y="96"/>
                </a:cubicBezTo>
                <a:cubicBezTo>
                  <a:pt x="2438" y="48"/>
                  <a:pt x="2508" y="7"/>
                  <a:pt x="2523" y="4"/>
                </a:cubicBezTo>
                <a:cubicBezTo>
                  <a:pt x="2537" y="0"/>
                  <a:pt x="2574" y="20"/>
                  <a:pt x="2604" y="45"/>
                </a:cubicBezTo>
                <a:lnTo>
                  <a:pt x="2660" y="92"/>
                </a:lnTo>
                <a:lnTo>
                  <a:pt x="2632" y="200"/>
                </a:lnTo>
                <a:cubicBezTo>
                  <a:pt x="2584" y="388"/>
                  <a:pt x="2576" y="380"/>
                  <a:pt x="2868" y="431"/>
                </a:cubicBezTo>
                <a:cubicBezTo>
                  <a:pt x="2972" y="448"/>
                  <a:pt x="3068" y="471"/>
                  <a:pt x="3080" y="480"/>
                </a:cubicBezTo>
                <a:cubicBezTo>
                  <a:pt x="3132" y="525"/>
                  <a:pt x="3080" y="639"/>
                  <a:pt x="3006" y="639"/>
                </a:cubicBezTo>
                <a:cubicBezTo>
                  <a:pt x="2950" y="639"/>
                  <a:pt x="2929" y="656"/>
                  <a:pt x="2844" y="772"/>
                </a:cubicBezTo>
                <a:cubicBezTo>
                  <a:pt x="2780" y="860"/>
                  <a:pt x="2774" y="866"/>
                  <a:pt x="2723" y="858"/>
                </a:cubicBezTo>
                <a:cubicBezTo>
                  <a:pt x="2678" y="850"/>
                  <a:pt x="2657" y="858"/>
                  <a:pt x="2590" y="912"/>
                </a:cubicBezTo>
                <a:cubicBezTo>
                  <a:pt x="2507" y="978"/>
                  <a:pt x="2500" y="989"/>
                  <a:pt x="2484" y="1095"/>
                </a:cubicBezTo>
                <a:cubicBezTo>
                  <a:pt x="2464" y="1223"/>
                  <a:pt x="2473" y="1215"/>
                  <a:pt x="2328" y="1204"/>
                </a:cubicBezTo>
                <a:cubicBezTo>
                  <a:pt x="2166" y="1192"/>
                  <a:pt x="2150" y="1204"/>
                  <a:pt x="2166" y="1325"/>
                </a:cubicBezTo>
                <a:cubicBezTo>
                  <a:pt x="2172" y="1368"/>
                  <a:pt x="2185" y="1416"/>
                  <a:pt x="2195" y="1429"/>
                </a:cubicBezTo>
                <a:cubicBezTo>
                  <a:pt x="2206" y="1445"/>
                  <a:pt x="2272" y="1463"/>
                  <a:pt x="2371" y="1477"/>
                </a:cubicBezTo>
                <a:cubicBezTo>
                  <a:pt x="2457" y="1490"/>
                  <a:pt x="2536" y="1506"/>
                  <a:pt x="2542" y="1514"/>
                </a:cubicBezTo>
                <a:cubicBezTo>
                  <a:pt x="2550" y="1522"/>
                  <a:pt x="2571" y="1584"/>
                  <a:pt x="2588" y="1655"/>
                </a:cubicBezTo>
                <a:lnTo>
                  <a:pt x="2620" y="1781"/>
                </a:lnTo>
                <a:lnTo>
                  <a:pt x="2550" y="1885"/>
                </a:lnTo>
                <a:cubicBezTo>
                  <a:pt x="2462" y="2012"/>
                  <a:pt x="2470" y="2031"/>
                  <a:pt x="2611" y="2031"/>
                </a:cubicBezTo>
                <a:cubicBezTo>
                  <a:pt x="2697" y="2031"/>
                  <a:pt x="2720" y="2023"/>
                  <a:pt x="2792" y="1975"/>
                </a:cubicBezTo>
                <a:cubicBezTo>
                  <a:pt x="2884" y="1912"/>
                  <a:pt x="2894" y="1911"/>
                  <a:pt x="3020" y="1936"/>
                </a:cubicBezTo>
                <a:cubicBezTo>
                  <a:pt x="3099" y="1952"/>
                  <a:pt x="3120" y="1951"/>
                  <a:pt x="3206" y="1920"/>
                </a:cubicBezTo>
                <a:cubicBezTo>
                  <a:pt x="3334" y="1876"/>
                  <a:pt x="3374" y="1877"/>
                  <a:pt x="3427" y="1932"/>
                </a:cubicBezTo>
                <a:lnTo>
                  <a:pt x="3472" y="1978"/>
                </a:lnTo>
                <a:lnTo>
                  <a:pt x="3232" y="2234"/>
                </a:lnTo>
                <a:lnTo>
                  <a:pt x="3294" y="2487"/>
                </a:lnTo>
                <a:cubicBezTo>
                  <a:pt x="3329" y="2626"/>
                  <a:pt x="3355" y="2749"/>
                  <a:pt x="3350" y="2760"/>
                </a:cubicBezTo>
                <a:cubicBezTo>
                  <a:pt x="3344" y="2776"/>
                  <a:pt x="3308" y="2783"/>
                  <a:pt x="3228" y="2783"/>
                </a:cubicBezTo>
                <a:lnTo>
                  <a:pt x="3116" y="2783"/>
                </a:lnTo>
                <a:lnTo>
                  <a:pt x="3116" y="2855"/>
                </a:lnTo>
                <a:cubicBezTo>
                  <a:pt x="3116" y="2896"/>
                  <a:pt x="3099" y="2968"/>
                  <a:pt x="3076" y="3023"/>
                </a:cubicBezTo>
                <a:cubicBezTo>
                  <a:pt x="3054" y="3074"/>
                  <a:pt x="3036" y="3141"/>
                  <a:pt x="3036" y="3170"/>
                </a:cubicBezTo>
                <a:cubicBezTo>
                  <a:pt x="3036" y="3199"/>
                  <a:pt x="3027" y="3258"/>
                  <a:pt x="3016" y="3303"/>
                </a:cubicBezTo>
                <a:lnTo>
                  <a:pt x="2995" y="3383"/>
                </a:lnTo>
                <a:lnTo>
                  <a:pt x="2883" y="3391"/>
                </a:lnTo>
                <a:cubicBezTo>
                  <a:pt x="2784" y="3397"/>
                  <a:pt x="2763" y="3405"/>
                  <a:pt x="2710" y="3450"/>
                </a:cubicBezTo>
                <a:cubicBezTo>
                  <a:pt x="2678" y="3479"/>
                  <a:pt x="2643" y="3503"/>
                  <a:pt x="2632" y="3503"/>
                </a:cubicBezTo>
                <a:cubicBezTo>
                  <a:pt x="2622" y="3501"/>
                  <a:pt x="2585" y="3452"/>
                  <a:pt x="2552" y="3391"/>
                </a:cubicBezTo>
                <a:cubicBezTo>
                  <a:pt x="2484" y="3263"/>
                  <a:pt x="2481" y="3263"/>
                  <a:pt x="2310" y="3303"/>
                </a:cubicBezTo>
                <a:cubicBezTo>
                  <a:pt x="2171" y="3335"/>
                  <a:pt x="2163" y="3338"/>
                  <a:pt x="2144" y="3381"/>
                </a:cubicBezTo>
                <a:cubicBezTo>
                  <a:pt x="2132" y="3408"/>
                  <a:pt x="2108" y="3423"/>
                  <a:pt x="2065" y="3429"/>
                </a:cubicBezTo>
                <a:cubicBezTo>
                  <a:pt x="2011" y="3439"/>
                  <a:pt x="1998" y="3452"/>
                  <a:pt x="1942" y="3544"/>
                </a:cubicBezTo>
                <a:cubicBezTo>
                  <a:pt x="1908" y="3602"/>
                  <a:pt x="1841" y="3682"/>
                  <a:pt x="1795" y="3722"/>
                </a:cubicBezTo>
                <a:cubicBezTo>
                  <a:pt x="1664" y="3834"/>
                  <a:pt x="1628" y="3893"/>
                  <a:pt x="1628" y="4002"/>
                </a:cubicBezTo>
                <a:cubicBezTo>
                  <a:pt x="1628" y="4111"/>
                  <a:pt x="1601" y="4136"/>
                  <a:pt x="1467" y="4152"/>
                </a:cubicBezTo>
                <a:cubicBezTo>
                  <a:pt x="1400" y="4160"/>
                  <a:pt x="1369" y="4173"/>
                  <a:pt x="1318" y="4221"/>
                </a:cubicBezTo>
                <a:cubicBezTo>
                  <a:pt x="1262" y="4271"/>
                  <a:pt x="1052" y="4365"/>
                  <a:pt x="996" y="4365"/>
                </a:cubicBezTo>
                <a:cubicBezTo>
                  <a:pt x="988" y="4365"/>
                  <a:pt x="945" y="4335"/>
                  <a:pt x="904" y="4298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3" name="Ямало-Ненецкий автономный округ"/>
          <p:cNvSpPr>
            <a:spLocks/>
          </p:cNvSpPr>
          <p:nvPr/>
        </p:nvSpPr>
        <p:spPr bwMode="auto">
          <a:xfrm>
            <a:off x="3275856" y="2355726"/>
            <a:ext cx="1163775" cy="1144064"/>
          </a:xfrm>
          <a:custGeom>
            <a:avLst/>
            <a:gdLst/>
            <a:ahLst/>
            <a:cxnLst>
              <a:cxn ang="0">
                <a:pos x="2952" y="4048"/>
              </a:cxn>
              <a:cxn ang="0">
                <a:pos x="2578" y="3920"/>
              </a:cxn>
              <a:cxn ang="0">
                <a:pos x="2208" y="4000"/>
              </a:cxn>
              <a:cxn ang="0">
                <a:pos x="1848" y="3736"/>
              </a:cxn>
              <a:cxn ang="0">
                <a:pos x="1383" y="3535"/>
              </a:cxn>
              <a:cxn ang="0">
                <a:pos x="1221" y="3403"/>
              </a:cxn>
              <a:cxn ang="0">
                <a:pos x="1079" y="3064"/>
              </a:cxn>
              <a:cxn ang="0">
                <a:pos x="840" y="3023"/>
              </a:cxn>
              <a:cxn ang="0">
                <a:pos x="674" y="3015"/>
              </a:cxn>
              <a:cxn ang="0">
                <a:pos x="253" y="2735"/>
              </a:cxn>
              <a:cxn ang="0">
                <a:pos x="50" y="2493"/>
              </a:cxn>
              <a:cxn ang="0">
                <a:pos x="90" y="2178"/>
              </a:cxn>
              <a:cxn ang="0">
                <a:pos x="264" y="2087"/>
              </a:cxn>
              <a:cxn ang="0">
                <a:pos x="789" y="1843"/>
              </a:cxn>
              <a:cxn ang="0">
                <a:pos x="920" y="1583"/>
              </a:cxn>
              <a:cxn ang="0">
                <a:pos x="970" y="1349"/>
              </a:cxn>
              <a:cxn ang="0">
                <a:pos x="927" y="1120"/>
              </a:cxn>
              <a:cxn ang="0">
                <a:pos x="1292" y="1600"/>
              </a:cxn>
              <a:cxn ang="0">
                <a:pos x="1410" y="1338"/>
              </a:cxn>
              <a:cxn ang="0">
                <a:pos x="1348" y="1066"/>
              </a:cxn>
              <a:cxn ang="0">
                <a:pos x="1325" y="968"/>
              </a:cxn>
              <a:cxn ang="0">
                <a:pos x="1455" y="623"/>
              </a:cxn>
              <a:cxn ang="0">
                <a:pos x="1840" y="167"/>
              </a:cxn>
              <a:cxn ang="0">
                <a:pos x="2221" y="80"/>
              </a:cxn>
              <a:cxn ang="0">
                <a:pos x="2103" y="394"/>
              </a:cxn>
              <a:cxn ang="0">
                <a:pos x="2018" y="691"/>
              </a:cxn>
              <a:cxn ang="0">
                <a:pos x="1960" y="1067"/>
              </a:cxn>
              <a:cxn ang="0">
                <a:pos x="1848" y="1463"/>
              </a:cxn>
              <a:cxn ang="0">
                <a:pos x="1930" y="1690"/>
              </a:cxn>
              <a:cxn ang="0">
                <a:pos x="1784" y="1936"/>
              </a:cxn>
              <a:cxn ang="0">
                <a:pos x="1503" y="2176"/>
              </a:cxn>
              <a:cxn ang="0">
                <a:pos x="1213" y="2283"/>
              </a:cxn>
              <a:cxn ang="0">
                <a:pos x="1885" y="2282"/>
              </a:cxn>
              <a:cxn ang="0">
                <a:pos x="2136" y="2079"/>
              </a:cxn>
              <a:cxn ang="0">
                <a:pos x="2244" y="1655"/>
              </a:cxn>
              <a:cxn ang="0">
                <a:pos x="2501" y="1984"/>
              </a:cxn>
              <a:cxn ang="0">
                <a:pos x="2652" y="1919"/>
              </a:cxn>
              <a:cxn ang="0">
                <a:pos x="2616" y="1655"/>
              </a:cxn>
              <a:cxn ang="0">
                <a:pos x="2274" y="1448"/>
              </a:cxn>
              <a:cxn ang="0">
                <a:pos x="2216" y="1112"/>
              </a:cxn>
              <a:cxn ang="0">
                <a:pos x="2258" y="792"/>
              </a:cxn>
              <a:cxn ang="0">
                <a:pos x="2517" y="365"/>
              </a:cxn>
              <a:cxn ang="0">
                <a:pos x="2408" y="703"/>
              </a:cxn>
              <a:cxn ang="0">
                <a:pos x="2856" y="834"/>
              </a:cxn>
              <a:cxn ang="0">
                <a:pos x="2648" y="555"/>
              </a:cxn>
              <a:cxn ang="0">
                <a:pos x="2842" y="559"/>
              </a:cxn>
              <a:cxn ang="0">
                <a:pos x="2808" y="327"/>
              </a:cxn>
              <a:cxn ang="0">
                <a:pos x="2888" y="437"/>
              </a:cxn>
              <a:cxn ang="0">
                <a:pos x="3053" y="610"/>
              </a:cxn>
              <a:cxn ang="0">
                <a:pos x="2904" y="778"/>
              </a:cxn>
              <a:cxn ang="0">
                <a:pos x="3031" y="1090"/>
              </a:cxn>
              <a:cxn ang="0">
                <a:pos x="2786" y="1339"/>
              </a:cxn>
              <a:cxn ang="0">
                <a:pos x="3052" y="1621"/>
              </a:cxn>
              <a:cxn ang="0">
                <a:pos x="3184" y="1741"/>
              </a:cxn>
              <a:cxn ang="0">
                <a:pos x="3144" y="2015"/>
              </a:cxn>
              <a:cxn ang="0">
                <a:pos x="3082" y="2298"/>
              </a:cxn>
              <a:cxn ang="0">
                <a:pos x="3205" y="2752"/>
              </a:cxn>
              <a:cxn ang="0">
                <a:pos x="3336" y="3138"/>
              </a:cxn>
              <a:cxn ang="0">
                <a:pos x="3544" y="3495"/>
              </a:cxn>
              <a:cxn ang="0">
                <a:pos x="3412" y="3795"/>
              </a:cxn>
              <a:cxn ang="0">
                <a:pos x="3464" y="3986"/>
              </a:cxn>
              <a:cxn ang="0">
                <a:pos x="3141" y="4120"/>
              </a:cxn>
            </a:cxnLst>
            <a:rect l="0" t="0" r="r" b="b"/>
            <a:pathLst>
              <a:path w="3544" h="4192">
                <a:moveTo>
                  <a:pt x="3141" y="4120"/>
                </a:moveTo>
                <a:cubicBezTo>
                  <a:pt x="3050" y="4066"/>
                  <a:pt x="3000" y="4048"/>
                  <a:pt x="2952" y="4048"/>
                </a:cubicBezTo>
                <a:cubicBezTo>
                  <a:pt x="2895" y="4048"/>
                  <a:pt x="2879" y="4039"/>
                  <a:pt x="2805" y="3959"/>
                </a:cubicBezTo>
                <a:cubicBezTo>
                  <a:pt x="2685" y="3829"/>
                  <a:pt x="2685" y="3829"/>
                  <a:pt x="2578" y="3920"/>
                </a:cubicBezTo>
                <a:lnTo>
                  <a:pt x="2485" y="4000"/>
                </a:lnTo>
                <a:lnTo>
                  <a:pt x="2208" y="4000"/>
                </a:lnTo>
                <a:lnTo>
                  <a:pt x="1994" y="3763"/>
                </a:lnTo>
                <a:lnTo>
                  <a:pt x="1848" y="3736"/>
                </a:lnTo>
                <a:cubicBezTo>
                  <a:pt x="1714" y="3709"/>
                  <a:pt x="1693" y="3699"/>
                  <a:pt x="1594" y="3621"/>
                </a:cubicBezTo>
                <a:cubicBezTo>
                  <a:pt x="1488" y="3539"/>
                  <a:pt x="1480" y="3536"/>
                  <a:pt x="1383" y="3535"/>
                </a:cubicBezTo>
                <a:lnTo>
                  <a:pt x="1282" y="3535"/>
                </a:lnTo>
                <a:lnTo>
                  <a:pt x="1221" y="3403"/>
                </a:lnTo>
                <a:cubicBezTo>
                  <a:pt x="1183" y="3317"/>
                  <a:pt x="1162" y="3248"/>
                  <a:pt x="1162" y="3205"/>
                </a:cubicBezTo>
                <a:cubicBezTo>
                  <a:pt x="1162" y="3144"/>
                  <a:pt x="1154" y="3131"/>
                  <a:pt x="1079" y="3064"/>
                </a:cubicBezTo>
                <a:cubicBezTo>
                  <a:pt x="1032" y="3024"/>
                  <a:pt x="983" y="2992"/>
                  <a:pt x="968" y="2992"/>
                </a:cubicBezTo>
                <a:cubicBezTo>
                  <a:pt x="952" y="2992"/>
                  <a:pt x="896" y="3005"/>
                  <a:pt x="840" y="3023"/>
                </a:cubicBezTo>
                <a:lnTo>
                  <a:pt x="741" y="3055"/>
                </a:lnTo>
                <a:lnTo>
                  <a:pt x="674" y="3015"/>
                </a:lnTo>
                <a:cubicBezTo>
                  <a:pt x="613" y="2979"/>
                  <a:pt x="607" y="2970"/>
                  <a:pt x="607" y="2909"/>
                </a:cubicBezTo>
                <a:cubicBezTo>
                  <a:pt x="607" y="2807"/>
                  <a:pt x="525" y="2767"/>
                  <a:pt x="253" y="2735"/>
                </a:cubicBezTo>
                <a:cubicBezTo>
                  <a:pt x="90" y="2715"/>
                  <a:pt x="88" y="2715"/>
                  <a:pt x="50" y="2658"/>
                </a:cubicBezTo>
                <a:cubicBezTo>
                  <a:pt x="0" y="2586"/>
                  <a:pt x="0" y="2579"/>
                  <a:pt x="50" y="2493"/>
                </a:cubicBezTo>
                <a:cubicBezTo>
                  <a:pt x="82" y="2435"/>
                  <a:pt x="90" y="2402"/>
                  <a:pt x="90" y="2301"/>
                </a:cubicBezTo>
                <a:lnTo>
                  <a:pt x="90" y="2178"/>
                </a:lnTo>
                <a:lnTo>
                  <a:pt x="138" y="2168"/>
                </a:lnTo>
                <a:cubicBezTo>
                  <a:pt x="164" y="2162"/>
                  <a:pt x="221" y="2125"/>
                  <a:pt x="264" y="2087"/>
                </a:cubicBezTo>
                <a:cubicBezTo>
                  <a:pt x="338" y="2019"/>
                  <a:pt x="356" y="2013"/>
                  <a:pt x="485" y="1991"/>
                </a:cubicBezTo>
                <a:cubicBezTo>
                  <a:pt x="677" y="1957"/>
                  <a:pt x="663" y="1963"/>
                  <a:pt x="789" y="1843"/>
                </a:cubicBezTo>
                <a:cubicBezTo>
                  <a:pt x="872" y="1763"/>
                  <a:pt x="909" y="1715"/>
                  <a:pt x="924" y="1666"/>
                </a:cubicBezTo>
                <a:cubicBezTo>
                  <a:pt x="941" y="1607"/>
                  <a:pt x="941" y="1594"/>
                  <a:pt x="920" y="1583"/>
                </a:cubicBezTo>
                <a:cubicBezTo>
                  <a:pt x="850" y="1539"/>
                  <a:pt x="850" y="1543"/>
                  <a:pt x="911" y="1453"/>
                </a:cubicBezTo>
                <a:cubicBezTo>
                  <a:pt x="944" y="1407"/>
                  <a:pt x="970" y="1359"/>
                  <a:pt x="970" y="1349"/>
                </a:cubicBezTo>
                <a:cubicBezTo>
                  <a:pt x="970" y="1339"/>
                  <a:pt x="951" y="1293"/>
                  <a:pt x="928" y="1248"/>
                </a:cubicBezTo>
                <a:cubicBezTo>
                  <a:pt x="887" y="1165"/>
                  <a:pt x="887" y="1120"/>
                  <a:pt x="927" y="1120"/>
                </a:cubicBezTo>
                <a:cubicBezTo>
                  <a:pt x="938" y="1120"/>
                  <a:pt x="1018" y="1227"/>
                  <a:pt x="1104" y="1360"/>
                </a:cubicBezTo>
                <a:cubicBezTo>
                  <a:pt x="1216" y="1530"/>
                  <a:pt x="1271" y="1600"/>
                  <a:pt x="1292" y="1600"/>
                </a:cubicBezTo>
                <a:cubicBezTo>
                  <a:pt x="1311" y="1600"/>
                  <a:pt x="1341" y="1571"/>
                  <a:pt x="1372" y="1523"/>
                </a:cubicBezTo>
                <a:cubicBezTo>
                  <a:pt x="1434" y="1424"/>
                  <a:pt x="1442" y="1387"/>
                  <a:pt x="1410" y="1338"/>
                </a:cubicBezTo>
                <a:cubicBezTo>
                  <a:pt x="1389" y="1306"/>
                  <a:pt x="1386" y="1279"/>
                  <a:pt x="1396" y="1207"/>
                </a:cubicBezTo>
                <a:cubicBezTo>
                  <a:pt x="1407" y="1115"/>
                  <a:pt x="1407" y="1115"/>
                  <a:pt x="1348" y="1066"/>
                </a:cubicBezTo>
                <a:lnTo>
                  <a:pt x="1287" y="1016"/>
                </a:lnTo>
                <a:lnTo>
                  <a:pt x="1325" y="968"/>
                </a:lnTo>
                <a:cubicBezTo>
                  <a:pt x="1344" y="943"/>
                  <a:pt x="1389" y="864"/>
                  <a:pt x="1421" y="794"/>
                </a:cubicBezTo>
                <a:cubicBezTo>
                  <a:pt x="1477" y="671"/>
                  <a:pt x="1479" y="664"/>
                  <a:pt x="1455" y="623"/>
                </a:cubicBezTo>
                <a:cubicBezTo>
                  <a:pt x="1412" y="549"/>
                  <a:pt x="1436" y="509"/>
                  <a:pt x="1584" y="416"/>
                </a:cubicBezTo>
                <a:cubicBezTo>
                  <a:pt x="1704" y="341"/>
                  <a:pt x="1732" y="314"/>
                  <a:pt x="1840" y="167"/>
                </a:cubicBezTo>
                <a:cubicBezTo>
                  <a:pt x="1919" y="59"/>
                  <a:pt x="1973" y="0"/>
                  <a:pt x="1992" y="0"/>
                </a:cubicBezTo>
                <a:cubicBezTo>
                  <a:pt x="2023" y="0"/>
                  <a:pt x="2200" y="61"/>
                  <a:pt x="2221" y="80"/>
                </a:cubicBezTo>
                <a:cubicBezTo>
                  <a:pt x="2229" y="87"/>
                  <a:pt x="2229" y="128"/>
                  <a:pt x="2223" y="175"/>
                </a:cubicBezTo>
                <a:cubicBezTo>
                  <a:pt x="2213" y="245"/>
                  <a:pt x="2196" y="277"/>
                  <a:pt x="2103" y="394"/>
                </a:cubicBezTo>
                <a:cubicBezTo>
                  <a:pt x="2042" y="471"/>
                  <a:pt x="1992" y="546"/>
                  <a:pt x="1992" y="565"/>
                </a:cubicBezTo>
                <a:cubicBezTo>
                  <a:pt x="1992" y="583"/>
                  <a:pt x="2004" y="640"/>
                  <a:pt x="2018" y="691"/>
                </a:cubicBezTo>
                <a:cubicBezTo>
                  <a:pt x="2044" y="783"/>
                  <a:pt x="2044" y="786"/>
                  <a:pt x="2002" y="911"/>
                </a:cubicBezTo>
                <a:cubicBezTo>
                  <a:pt x="1980" y="981"/>
                  <a:pt x="1960" y="1051"/>
                  <a:pt x="1960" y="1067"/>
                </a:cubicBezTo>
                <a:cubicBezTo>
                  <a:pt x="1960" y="1083"/>
                  <a:pt x="1935" y="1173"/>
                  <a:pt x="1904" y="1264"/>
                </a:cubicBezTo>
                <a:cubicBezTo>
                  <a:pt x="1874" y="1355"/>
                  <a:pt x="1848" y="1445"/>
                  <a:pt x="1848" y="1463"/>
                </a:cubicBezTo>
                <a:cubicBezTo>
                  <a:pt x="1848" y="1480"/>
                  <a:pt x="1868" y="1539"/>
                  <a:pt x="1890" y="1592"/>
                </a:cubicBezTo>
                <a:lnTo>
                  <a:pt x="1930" y="1690"/>
                </a:lnTo>
                <a:lnTo>
                  <a:pt x="1864" y="1813"/>
                </a:lnTo>
                <a:cubicBezTo>
                  <a:pt x="1828" y="1880"/>
                  <a:pt x="1792" y="1936"/>
                  <a:pt x="1784" y="1936"/>
                </a:cubicBezTo>
                <a:cubicBezTo>
                  <a:pt x="1776" y="1936"/>
                  <a:pt x="1727" y="1989"/>
                  <a:pt x="1672" y="2056"/>
                </a:cubicBezTo>
                <a:cubicBezTo>
                  <a:pt x="1578" y="2173"/>
                  <a:pt x="1575" y="2176"/>
                  <a:pt x="1503" y="2176"/>
                </a:cubicBezTo>
                <a:cubicBezTo>
                  <a:pt x="1464" y="2176"/>
                  <a:pt x="1381" y="2160"/>
                  <a:pt x="1322" y="2143"/>
                </a:cubicBezTo>
                <a:cubicBezTo>
                  <a:pt x="1098" y="2074"/>
                  <a:pt x="1058" y="2125"/>
                  <a:pt x="1213" y="2283"/>
                </a:cubicBezTo>
                <a:cubicBezTo>
                  <a:pt x="1324" y="2397"/>
                  <a:pt x="1442" y="2463"/>
                  <a:pt x="1533" y="2464"/>
                </a:cubicBezTo>
                <a:cubicBezTo>
                  <a:pt x="1629" y="2464"/>
                  <a:pt x="1815" y="2370"/>
                  <a:pt x="1885" y="2282"/>
                </a:cubicBezTo>
                <a:cubicBezTo>
                  <a:pt x="1919" y="2240"/>
                  <a:pt x="1989" y="2178"/>
                  <a:pt x="2042" y="2143"/>
                </a:cubicBezTo>
                <a:lnTo>
                  <a:pt x="2136" y="2079"/>
                </a:lnTo>
                <a:lnTo>
                  <a:pt x="2136" y="1896"/>
                </a:lnTo>
                <a:cubicBezTo>
                  <a:pt x="2136" y="1691"/>
                  <a:pt x="2144" y="1672"/>
                  <a:pt x="2244" y="1655"/>
                </a:cubicBezTo>
                <a:cubicBezTo>
                  <a:pt x="2335" y="1637"/>
                  <a:pt x="2378" y="1671"/>
                  <a:pt x="2405" y="1776"/>
                </a:cubicBezTo>
                <a:cubicBezTo>
                  <a:pt x="2458" y="1991"/>
                  <a:pt x="2455" y="1984"/>
                  <a:pt x="2501" y="1984"/>
                </a:cubicBezTo>
                <a:cubicBezTo>
                  <a:pt x="2525" y="1984"/>
                  <a:pt x="2568" y="1968"/>
                  <a:pt x="2599" y="1951"/>
                </a:cubicBezTo>
                <a:lnTo>
                  <a:pt x="2652" y="1919"/>
                </a:lnTo>
                <a:lnTo>
                  <a:pt x="2640" y="1803"/>
                </a:lnTo>
                <a:cubicBezTo>
                  <a:pt x="2634" y="1739"/>
                  <a:pt x="2623" y="1672"/>
                  <a:pt x="2616" y="1655"/>
                </a:cubicBezTo>
                <a:cubicBezTo>
                  <a:pt x="2608" y="1635"/>
                  <a:pt x="2554" y="1586"/>
                  <a:pt x="2495" y="1543"/>
                </a:cubicBezTo>
                <a:cubicBezTo>
                  <a:pt x="2404" y="1477"/>
                  <a:pt x="2368" y="1463"/>
                  <a:pt x="2274" y="1448"/>
                </a:cubicBezTo>
                <a:cubicBezTo>
                  <a:pt x="2175" y="1434"/>
                  <a:pt x="2160" y="1427"/>
                  <a:pt x="2151" y="1392"/>
                </a:cubicBezTo>
                <a:cubicBezTo>
                  <a:pt x="2124" y="1291"/>
                  <a:pt x="2135" y="1240"/>
                  <a:pt x="2216" y="1112"/>
                </a:cubicBezTo>
                <a:cubicBezTo>
                  <a:pt x="2261" y="1042"/>
                  <a:pt x="2296" y="978"/>
                  <a:pt x="2296" y="968"/>
                </a:cubicBezTo>
                <a:cubicBezTo>
                  <a:pt x="2296" y="959"/>
                  <a:pt x="2279" y="880"/>
                  <a:pt x="2258" y="792"/>
                </a:cubicBezTo>
                <a:cubicBezTo>
                  <a:pt x="2213" y="613"/>
                  <a:pt x="2218" y="592"/>
                  <a:pt x="2316" y="503"/>
                </a:cubicBezTo>
                <a:cubicBezTo>
                  <a:pt x="2397" y="426"/>
                  <a:pt x="2512" y="349"/>
                  <a:pt x="2517" y="365"/>
                </a:cubicBezTo>
                <a:cubicBezTo>
                  <a:pt x="2520" y="375"/>
                  <a:pt x="2496" y="448"/>
                  <a:pt x="2466" y="533"/>
                </a:cubicBezTo>
                <a:cubicBezTo>
                  <a:pt x="2434" y="616"/>
                  <a:pt x="2408" y="693"/>
                  <a:pt x="2408" y="703"/>
                </a:cubicBezTo>
                <a:cubicBezTo>
                  <a:pt x="2408" y="738"/>
                  <a:pt x="2714" y="912"/>
                  <a:pt x="2778" y="912"/>
                </a:cubicBezTo>
                <a:cubicBezTo>
                  <a:pt x="2815" y="912"/>
                  <a:pt x="2855" y="871"/>
                  <a:pt x="2856" y="834"/>
                </a:cubicBezTo>
                <a:cubicBezTo>
                  <a:pt x="2856" y="823"/>
                  <a:pt x="2810" y="760"/>
                  <a:pt x="2752" y="696"/>
                </a:cubicBezTo>
                <a:cubicBezTo>
                  <a:pt x="2695" y="632"/>
                  <a:pt x="2648" y="568"/>
                  <a:pt x="2648" y="555"/>
                </a:cubicBezTo>
                <a:cubicBezTo>
                  <a:pt x="2648" y="512"/>
                  <a:pt x="2680" y="506"/>
                  <a:pt x="2719" y="543"/>
                </a:cubicBezTo>
                <a:cubicBezTo>
                  <a:pt x="2759" y="579"/>
                  <a:pt x="2794" y="584"/>
                  <a:pt x="2842" y="559"/>
                </a:cubicBezTo>
                <a:cubicBezTo>
                  <a:pt x="2884" y="538"/>
                  <a:pt x="2880" y="507"/>
                  <a:pt x="2831" y="423"/>
                </a:cubicBezTo>
                <a:cubicBezTo>
                  <a:pt x="2797" y="365"/>
                  <a:pt x="2792" y="347"/>
                  <a:pt x="2808" y="327"/>
                </a:cubicBezTo>
                <a:cubicBezTo>
                  <a:pt x="2856" y="271"/>
                  <a:pt x="2924" y="322"/>
                  <a:pt x="2884" y="386"/>
                </a:cubicBezTo>
                <a:cubicBezTo>
                  <a:pt x="2868" y="411"/>
                  <a:pt x="2869" y="421"/>
                  <a:pt x="2888" y="437"/>
                </a:cubicBezTo>
                <a:cubicBezTo>
                  <a:pt x="2903" y="447"/>
                  <a:pt x="2946" y="490"/>
                  <a:pt x="2984" y="533"/>
                </a:cubicBezTo>
                <a:lnTo>
                  <a:pt x="3053" y="610"/>
                </a:lnTo>
                <a:lnTo>
                  <a:pt x="2980" y="685"/>
                </a:lnTo>
                <a:cubicBezTo>
                  <a:pt x="2938" y="727"/>
                  <a:pt x="2904" y="768"/>
                  <a:pt x="2904" y="778"/>
                </a:cubicBezTo>
                <a:cubicBezTo>
                  <a:pt x="2904" y="789"/>
                  <a:pt x="2936" y="832"/>
                  <a:pt x="2976" y="877"/>
                </a:cubicBezTo>
                <a:cubicBezTo>
                  <a:pt x="3053" y="960"/>
                  <a:pt x="3060" y="991"/>
                  <a:pt x="3031" y="1090"/>
                </a:cubicBezTo>
                <a:cubicBezTo>
                  <a:pt x="3016" y="1136"/>
                  <a:pt x="2986" y="1171"/>
                  <a:pt x="2903" y="1235"/>
                </a:cubicBezTo>
                <a:cubicBezTo>
                  <a:pt x="2844" y="1282"/>
                  <a:pt x="2791" y="1328"/>
                  <a:pt x="2786" y="1339"/>
                </a:cubicBezTo>
                <a:cubicBezTo>
                  <a:pt x="2778" y="1357"/>
                  <a:pt x="2850" y="1472"/>
                  <a:pt x="2940" y="1584"/>
                </a:cubicBezTo>
                <a:cubicBezTo>
                  <a:pt x="2983" y="1639"/>
                  <a:pt x="2984" y="1639"/>
                  <a:pt x="3052" y="1621"/>
                </a:cubicBezTo>
                <a:cubicBezTo>
                  <a:pt x="3090" y="1610"/>
                  <a:pt x="3125" y="1607"/>
                  <a:pt x="3132" y="1613"/>
                </a:cubicBezTo>
                <a:cubicBezTo>
                  <a:pt x="3138" y="1619"/>
                  <a:pt x="3162" y="1677"/>
                  <a:pt x="3184" y="1741"/>
                </a:cubicBezTo>
                <a:lnTo>
                  <a:pt x="3224" y="1856"/>
                </a:lnTo>
                <a:lnTo>
                  <a:pt x="3144" y="2015"/>
                </a:lnTo>
                <a:lnTo>
                  <a:pt x="3064" y="2171"/>
                </a:lnTo>
                <a:lnTo>
                  <a:pt x="3082" y="2298"/>
                </a:lnTo>
                <a:cubicBezTo>
                  <a:pt x="3095" y="2384"/>
                  <a:pt x="3116" y="2451"/>
                  <a:pt x="3149" y="2512"/>
                </a:cubicBezTo>
                <a:cubicBezTo>
                  <a:pt x="3192" y="2589"/>
                  <a:pt x="3199" y="2619"/>
                  <a:pt x="3205" y="2752"/>
                </a:cubicBezTo>
                <a:cubicBezTo>
                  <a:pt x="3213" y="2917"/>
                  <a:pt x="3226" y="2960"/>
                  <a:pt x="3269" y="2960"/>
                </a:cubicBezTo>
                <a:cubicBezTo>
                  <a:pt x="3324" y="2960"/>
                  <a:pt x="3336" y="2994"/>
                  <a:pt x="3336" y="3138"/>
                </a:cubicBezTo>
                <a:cubicBezTo>
                  <a:pt x="3336" y="3293"/>
                  <a:pt x="3348" y="3311"/>
                  <a:pt x="3456" y="3336"/>
                </a:cubicBezTo>
                <a:cubicBezTo>
                  <a:pt x="3536" y="3355"/>
                  <a:pt x="3544" y="3371"/>
                  <a:pt x="3544" y="3495"/>
                </a:cubicBezTo>
                <a:cubicBezTo>
                  <a:pt x="3544" y="3605"/>
                  <a:pt x="3541" y="3615"/>
                  <a:pt x="3479" y="3703"/>
                </a:cubicBezTo>
                <a:lnTo>
                  <a:pt x="3412" y="3795"/>
                </a:lnTo>
                <a:lnTo>
                  <a:pt x="3439" y="3879"/>
                </a:lnTo>
                <a:cubicBezTo>
                  <a:pt x="3453" y="3925"/>
                  <a:pt x="3464" y="3973"/>
                  <a:pt x="3464" y="3986"/>
                </a:cubicBezTo>
                <a:cubicBezTo>
                  <a:pt x="3464" y="4015"/>
                  <a:pt x="3308" y="4192"/>
                  <a:pt x="3284" y="4192"/>
                </a:cubicBezTo>
                <a:cubicBezTo>
                  <a:pt x="3272" y="4192"/>
                  <a:pt x="3208" y="4159"/>
                  <a:pt x="3141" y="412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4" name="Ярославская область"/>
          <p:cNvSpPr>
            <a:spLocks/>
          </p:cNvSpPr>
          <p:nvPr/>
        </p:nvSpPr>
        <p:spPr bwMode="auto">
          <a:xfrm>
            <a:off x="1797279" y="2918949"/>
            <a:ext cx="207925" cy="191445"/>
          </a:xfrm>
          <a:custGeom>
            <a:avLst/>
            <a:gdLst/>
            <a:ahLst/>
            <a:cxnLst>
              <a:cxn ang="0">
                <a:pos x="36" y="664"/>
              </a:cxn>
              <a:cxn ang="0">
                <a:pos x="82" y="496"/>
              </a:cxn>
              <a:cxn ang="0">
                <a:pos x="136" y="357"/>
              </a:cxn>
              <a:cxn ang="0">
                <a:pos x="244" y="107"/>
              </a:cxn>
              <a:cxn ang="0">
                <a:pos x="471" y="91"/>
              </a:cxn>
              <a:cxn ang="0">
                <a:pos x="535" y="159"/>
              </a:cxn>
              <a:cxn ang="0">
                <a:pos x="580" y="128"/>
              </a:cxn>
              <a:cxn ang="0">
                <a:pos x="644" y="127"/>
              </a:cxn>
              <a:cxn ang="0">
                <a:pos x="698" y="447"/>
              </a:cxn>
              <a:cxn ang="0">
                <a:pos x="661" y="509"/>
              </a:cxn>
              <a:cxn ang="0">
                <a:pos x="540" y="592"/>
              </a:cxn>
              <a:cxn ang="0">
                <a:pos x="420" y="655"/>
              </a:cxn>
              <a:cxn ang="0">
                <a:pos x="143" y="672"/>
              </a:cxn>
              <a:cxn ang="0">
                <a:pos x="36" y="664"/>
              </a:cxn>
            </a:cxnLst>
            <a:rect l="0" t="0" r="r" b="b"/>
            <a:pathLst>
              <a:path w="698" h="704">
                <a:moveTo>
                  <a:pt x="36" y="664"/>
                </a:moveTo>
                <a:cubicBezTo>
                  <a:pt x="0" y="626"/>
                  <a:pt x="12" y="583"/>
                  <a:pt x="82" y="496"/>
                </a:cubicBezTo>
                <a:cubicBezTo>
                  <a:pt x="154" y="405"/>
                  <a:pt x="157" y="397"/>
                  <a:pt x="136" y="357"/>
                </a:cubicBezTo>
                <a:cubicBezTo>
                  <a:pt x="106" y="301"/>
                  <a:pt x="148" y="203"/>
                  <a:pt x="244" y="107"/>
                </a:cubicBezTo>
                <a:cubicBezTo>
                  <a:pt x="351" y="2"/>
                  <a:pt x="386" y="0"/>
                  <a:pt x="471" y="91"/>
                </a:cubicBezTo>
                <a:lnTo>
                  <a:pt x="535" y="159"/>
                </a:lnTo>
                <a:lnTo>
                  <a:pt x="580" y="128"/>
                </a:lnTo>
                <a:cubicBezTo>
                  <a:pt x="620" y="101"/>
                  <a:pt x="624" y="101"/>
                  <a:pt x="644" y="127"/>
                </a:cubicBezTo>
                <a:cubicBezTo>
                  <a:pt x="663" y="154"/>
                  <a:pt x="698" y="355"/>
                  <a:pt x="698" y="447"/>
                </a:cubicBezTo>
                <a:cubicBezTo>
                  <a:pt x="698" y="488"/>
                  <a:pt x="690" y="503"/>
                  <a:pt x="661" y="509"/>
                </a:cubicBezTo>
                <a:cubicBezTo>
                  <a:pt x="642" y="514"/>
                  <a:pt x="588" y="552"/>
                  <a:pt x="540" y="592"/>
                </a:cubicBezTo>
                <a:cubicBezTo>
                  <a:pt x="472" y="650"/>
                  <a:pt x="445" y="664"/>
                  <a:pt x="420" y="655"/>
                </a:cubicBezTo>
                <a:cubicBezTo>
                  <a:pt x="362" y="635"/>
                  <a:pt x="168" y="648"/>
                  <a:pt x="143" y="672"/>
                </a:cubicBezTo>
                <a:cubicBezTo>
                  <a:pt x="111" y="704"/>
                  <a:pt x="68" y="701"/>
                  <a:pt x="36" y="664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9050">
            <a:noFill/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5" name="Республика Крым"/>
          <p:cNvSpPr>
            <a:spLocks/>
          </p:cNvSpPr>
          <p:nvPr/>
        </p:nvSpPr>
        <p:spPr bwMode="auto">
          <a:xfrm rot="694646">
            <a:off x="674820" y="3613851"/>
            <a:ext cx="220334" cy="266019"/>
          </a:xfrm>
          <a:custGeom>
            <a:avLst/>
            <a:gdLst>
              <a:gd name="T0" fmla="*/ 19 w 91"/>
              <a:gd name="T1" fmla="*/ 0 h 123"/>
              <a:gd name="T2" fmla="*/ 58 w 91"/>
              <a:gd name="T3" fmla="*/ 27 h 123"/>
              <a:gd name="T4" fmla="*/ 68 w 91"/>
              <a:gd name="T5" fmla="*/ 20 h 123"/>
              <a:gd name="T6" fmla="*/ 79 w 91"/>
              <a:gd name="T7" fmla="*/ 30 h 123"/>
              <a:gd name="T8" fmla="*/ 64 w 91"/>
              <a:gd name="T9" fmla="*/ 74 h 123"/>
              <a:gd name="T10" fmla="*/ 91 w 91"/>
              <a:gd name="T11" fmla="*/ 110 h 123"/>
              <a:gd name="T12" fmla="*/ 78 w 91"/>
              <a:gd name="T13" fmla="*/ 123 h 123"/>
              <a:gd name="T14" fmla="*/ 59 w 91"/>
              <a:gd name="T15" fmla="*/ 112 h 123"/>
              <a:gd name="T16" fmla="*/ 30 w 91"/>
              <a:gd name="T17" fmla="*/ 76 h 123"/>
              <a:gd name="T18" fmla="*/ 4 w 91"/>
              <a:gd name="T19" fmla="*/ 77 h 123"/>
              <a:gd name="T20" fmla="*/ 0 w 91"/>
              <a:gd name="T21" fmla="*/ 56 h 123"/>
              <a:gd name="T22" fmla="*/ 15 w 91"/>
              <a:gd name="T23" fmla="*/ 40 h 123"/>
              <a:gd name="T24" fmla="*/ 13 w 91"/>
              <a:gd name="T25" fmla="*/ 8 h 123"/>
              <a:gd name="T26" fmla="*/ 19 w 91"/>
              <a:gd name="T2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1" h="123">
                <a:moveTo>
                  <a:pt x="19" y="0"/>
                </a:moveTo>
                <a:lnTo>
                  <a:pt x="58" y="27"/>
                </a:lnTo>
                <a:lnTo>
                  <a:pt x="68" y="20"/>
                </a:lnTo>
                <a:lnTo>
                  <a:pt x="79" y="30"/>
                </a:lnTo>
                <a:lnTo>
                  <a:pt x="64" y="74"/>
                </a:lnTo>
                <a:lnTo>
                  <a:pt x="91" y="110"/>
                </a:lnTo>
                <a:lnTo>
                  <a:pt x="78" y="123"/>
                </a:lnTo>
                <a:lnTo>
                  <a:pt x="59" y="112"/>
                </a:lnTo>
                <a:lnTo>
                  <a:pt x="30" y="76"/>
                </a:lnTo>
                <a:lnTo>
                  <a:pt x="4" y="77"/>
                </a:lnTo>
                <a:lnTo>
                  <a:pt x="0" y="56"/>
                </a:lnTo>
                <a:lnTo>
                  <a:pt x="15" y="40"/>
                </a:lnTo>
                <a:lnTo>
                  <a:pt x="13" y="8"/>
                </a:lnTo>
                <a:lnTo>
                  <a:pt x="19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sp>
      <p:sp>
        <p:nvSpPr>
          <p:cNvPr id="216" name="Севастополь"/>
          <p:cNvSpPr>
            <a:spLocks/>
          </p:cNvSpPr>
          <p:nvPr/>
        </p:nvSpPr>
        <p:spPr bwMode="auto">
          <a:xfrm>
            <a:off x="598608" y="3723230"/>
            <a:ext cx="93099" cy="62811"/>
          </a:xfrm>
          <a:custGeom>
            <a:avLst/>
            <a:gdLst/>
            <a:ahLst/>
            <a:cxnLst>
              <a:cxn ang="0">
                <a:pos x="760" y="1204"/>
              </a:cxn>
              <a:cxn ang="0">
                <a:pos x="660" y="1124"/>
              </a:cxn>
              <a:cxn ang="0">
                <a:pos x="604" y="1024"/>
              </a:cxn>
              <a:cxn ang="0">
                <a:pos x="508" y="1001"/>
              </a:cxn>
              <a:cxn ang="0">
                <a:pos x="260" y="1011"/>
              </a:cxn>
              <a:cxn ang="0">
                <a:pos x="14" y="684"/>
              </a:cxn>
              <a:cxn ang="0">
                <a:pos x="60" y="673"/>
              </a:cxn>
              <a:cxn ang="0">
                <a:pos x="120" y="608"/>
              </a:cxn>
              <a:cxn ang="0">
                <a:pos x="115" y="528"/>
              </a:cxn>
              <a:cxn ang="0">
                <a:pos x="169" y="428"/>
              </a:cxn>
              <a:cxn ang="0">
                <a:pos x="371" y="289"/>
              </a:cxn>
              <a:cxn ang="0">
                <a:pos x="552" y="208"/>
              </a:cxn>
              <a:cxn ang="0">
                <a:pos x="652" y="121"/>
              </a:cxn>
              <a:cxn ang="0">
                <a:pos x="819" y="32"/>
              </a:cxn>
              <a:cxn ang="0">
                <a:pos x="961" y="72"/>
              </a:cxn>
              <a:cxn ang="0">
                <a:pos x="913" y="177"/>
              </a:cxn>
              <a:cxn ang="0">
                <a:pos x="872" y="328"/>
              </a:cxn>
              <a:cxn ang="0">
                <a:pos x="876" y="440"/>
              </a:cxn>
              <a:cxn ang="0">
                <a:pos x="947" y="460"/>
              </a:cxn>
              <a:cxn ang="0">
                <a:pos x="1052" y="457"/>
              </a:cxn>
              <a:cxn ang="0">
                <a:pos x="1137" y="542"/>
              </a:cxn>
              <a:cxn ang="0">
                <a:pos x="1222" y="708"/>
              </a:cxn>
              <a:cxn ang="0">
                <a:pos x="1259" y="769"/>
              </a:cxn>
              <a:cxn ang="0">
                <a:pos x="1214" y="816"/>
              </a:cxn>
              <a:cxn ang="0">
                <a:pos x="1168" y="864"/>
              </a:cxn>
              <a:cxn ang="0">
                <a:pos x="1217" y="920"/>
              </a:cxn>
              <a:cxn ang="0">
                <a:pos x="1232" y="1028"/>
              </a:cxn>
              <a:cxn ang="0">
                <a:pos x="1078" y="1067"/>
              </a:cxn>
              <a:cxn ang="0">
                <a:pos x="896" y="1156"/>
              </a:cxn>
              <a:cxn ang="0">
                <a:pos x="830" y="1214"/>
              </a:cxn>
              <a:cxn ang="0">
                <a:pos x="760" y="1204"/>
              </a:cxn>
            </a:cxnLst>
            <a:rect l="0" t="0" r="r" b="b"/>
            <a:pathLst>
              <a:path w="1270" h="1216">
                <a:moveTo>
                  <a:pt x="760" y="1204"/>
                </a:moveTo>
                <a:cubicBezTo>
                  <a:pt x="716" y="1200"/>
                  <a:pt x="697" y="1184"/>
                  <a:pt x="660" y="1124"/>
                </a:cubicBezTo>
                <a:cubicBezTo>
                  <a:pt x="633" y="1084"/>
                  <a:pt x="609" y="1038"/>
                  <a:pt x="604" y="1024"/>
                </a:cubicBezTo>
                <a:cubicBezTo>
                  <a:pt x="592" y="984"/>
                  <a:pt x="558" y="976"/>
                  <a:pt x="508" y="1001"/>
                </a:cubicBezTo>
                <a:cubicBezTo>
                  <a:pt x="464" y="1025"/>
                  <a:pt x="331" y="1030"/>
                  <a:pt x="260" y="1011"/>
                </a:cubicBezTo>
                <a:cubicBezTo>
                  <a:pt x="219" y="1000"/>
                  <a:pt x="0" y="708"/>
                  <a:pt x="14" y="684"/>
                </a:cubicBezTo>
                <a:cubicBezTo>
                  <a:pt x="19" y="678"/>
                  <a:pt x="40" y="673"/>
                  <a:pt x="60" y="673"/>
                </a:cubicBezTo>
                <a:cubicBezTo>
                  <a:pt x="92" y="673"/>
                  <a:pt x="104" y="660"/>
                  <a:pt x="120" y="608"/>
                </a:cubicBezTo>
                <a:cubicBezTo>
                  <a:pt x="136" y="552"/>
                  <a:pt x="136" y="539"/>
                  <a:pt x="115" y="528"/>
                </a:cubicBezTo>
                <a:cubicBezTo>
                  <a:pt x="27" y="476"/>
                  <a:pt x="28" y="475"/>
                  <a:pt x="169" y="428"/>
                </a:cubicBezTo>
                <a:cubicBezTo>
                  <a:pt x="300" y="385"/>
                  <a:pt x="307" y="380"/>
                  <a:pt x="371" y="289"/>
                </a:cubicBezTo>
                <a:cubicBezTo>
                  <a:pt x="441" y="188"/>
                  <a:pt x="452" y="184"/>
                  <a:pt x="552" y="208"/>
                </a:cubicBezTo>
                <a:cubicBezTo>
                  <a:pt x="622" y="224"/>
                  <a:pt x="635" y="212"/>
                  <a:pt x="652" y="121"/>
                </a:cubicBezTo>
                <a:cubicBezTo>
                  <a:pt x="673" y="1"/>
                  <a:pt x="675" y="0"/>
                  <a:pt x="819" y="32"/>
                </a:cubicBezTo>
                <a:cubicBezTo>
                  <a:pt x="888" y="48"/>
                  <a:pt x="952" y="65"/>
                  <a:pt x="961" y="72"/>
                </a:cubicBezTo>
                <a:cubicBezTo>
                  <a:pt x="987" y="86"/>
                  <a:pt x="966" y="131"/>
                  <a:pt x="913" y="177"/>
                </a:cubicBezTo>
                <a:cubicBezTo>
                  <a:pt x="868" y="214"/>
                  <a:pt x="867" y="222"/>
                  <a:pt x="872" y="328"/>
                </a:cubicBezTo>
                <a:lnTo>
                  <a:pt x="876" y="440"/>
                </a:lnTo>
                <a:lnTo>
                  <a:pt x="947" y="460"/>
                </a:lnTo>
                <a:cubicBezTo>
                  <a:pt x="1008" y="476"/>
                  <a:pt x="1024" y="476"/>
                  <a:pt x="1052" y="457"/>
                </a:cubicBezTo>
                <a:cubicBezTo>
                  <a:pt x="1086" y="436"/>
                  <a:pt x="1089" y="440"/>
                  <a:pt x="1137" y="542"/>
                </a:cubicBezTo>
                <a:cubicBezTo>
                  <a:pt x="1164" y="601"/>
                  <a:pt x="1203" y="676"/>
                  <a:pt x="1222" y="708"/>
                </a:cubicBezTo>
                <a:lnTo>
                  <a:pt x="1259" y="769"/>
                </a:lnTo>
                <a:lnTo>
                  <a:pt x="1214" y="816"/>
                </a:lnTo>
                <a:lnTo>
                  <a:pt x="1168" y="864"/>
                </a:lnTo>
                <a:lnTo>
                  <a:pt x="1217" y="920"/>
                </a:lnTo>
                <a:cubicBezTo>
                  <a:pt x="1265" y="974"/>
                  <a:pt x="1270" y="1016"/>
                  <a:pt x="1232" y="1028"/>
                </a:cubicBezTo>
                <a:cubicBezTo>
                  <a:pt x="1220" y="1033"/>
                  <a:pt x="1152" y="1049"/>
                  <a:pt x="1078" y="1067"/>
                </a:cubicBezTo>
                <a:cubicBezTo>
                  <a:pt x="960" y="1094"/>
                  <a:pt x="939" y="1104"/>
                  <a:pt x="896" y="1156"/>
                </a:cubicBezTo>
                <a:cubicBezTo>
                  <a:pt x="868" y="1190"/>
                  <a:pt x="840" y="1216"/>
                  <a:pt x="830" y="1214"/>
                </a:cubicBezTo>
                <a:cubicBezTo>
                  <a:pt x="820" y="1212"/>
                  <a:pt x="788" y="1209"/>
                  <a:pt x="760" y="1204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9" name="TextBox 103"/>
          <p:cNvSpPr txBox="1"/>
          <p:nvPr/>
        </p:nvSpPr>
        <p:spPr>
          <a:xfrm>
            <a:off x="2099470" y="2631058"/>
            <a:ext cx="733796" cy="2880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E21A1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рхангельская область</a:t>
            </a:r>
          </a:p>
        </p:txBody>
      </p:sp>
      <p:sp>
        <p:nvSpPr>
          <p:cNvPr id="220" name="TextBox 156"/>
          <p:cNvSpPr txBox="1"/>
          <p:nvPr/>
        </p:nvSpPr>
        <p:spPr>
          <a:xfrm>
            <a:off x="2610892" y="2798316"/>
            <a:ext cx="706775" cy="21602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спублика Коми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1" name="TextBox 164"/>
          <p:cNvSpPr txBox="1"/>
          <p:nvPr/>
        </p:nvSpPr>
        <p:spPr>
          <a:xfrm>
            <a:off x="539552" y="3415101"/>
            <a:ext cx="1080120" cy="16476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елгородская</a:t>
            </a:r>
            <a:r>
              <a:rPr lang="ru-RU" sz="5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ru-RU" sz="550" dirty="0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55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ласть</a:t>
            </a:r>
            <a:endParaRPr lang="ru-RU"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2" name="TextBox 164"/>
          <p:cNvSpPr txBox="1"/>
          <p:nvPr/>
        </p:nvSpPr>
        <p:spPr>
          <a:xfrm>
            <a:off x="698427" y="3185914"/>
            <a:ext cx="792087" cy="14401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урская </a:t>
            </a:r>
            <a:endParaRPr lang="ru-RU" sz="550" b="1" dirty="0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55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ласть</a:t>
            </a:r>
            <a:endParaRPr lang="ru-RU"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7" name="TextBox 174"/>
          <p:cNvSpPr txBox="1"/>
          <p:nvPr/>
        </p:nvSpPr>
        <p:spPr>
          <a:xfrm>
            <a:off x="6660232" y="3677270"/>
            <a:ext cx="681064" cy="25613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0070B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мурская область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8" name="TextBox 174"/>
          <p:cNvSpPr txBox="1"/>
          <p:nvPr/>
        </p:nvSpPr>
        <p:spPr>
          <a:xfrm>
            <a:off x="5115072" y="4043808"/>
            <a:ext cx="681064" cy="25613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0070B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ркутская</a:t>
            </a:r>
          </a:p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ласть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9" name="TextBox 170"/>
          <p:cNvSpPr txBox="1"/>
          <p:nvPr/>
        </p:nvSpPr>
        <p:spPr>
          <a:xfrm>
            <a:off x="3642246" y="4041842"/>
            <a:ext cx="729416" cy="186092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осибирская область</a:t>
            </a:r>
          </a:p>
        </p:txBody>
      </p:sp>
      <p:sp>
        <p:nvSpPr>
          <p:cNvPr id="230" name="TextBox 164"/>
          <p:cNvSpPr txBox="1"/>
          <p:nvPr/>
        </p:nvSpPr>
        <p:spPr>
          <a:xfrm>
            <a:off x="1619672" y="3711310"/>
            <a:ext cx="609401" cy="16476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ратовская область</a:t>
            </a:r>
          </a:p>
        </p:txBody>
      </p:sp>
      <p:sp>
        <p:nvSpPr>
          <p:cNvPr id="231" name="TextBox 164"/>
          <p:cNvSpPr txBox="1"/>
          <p:nvPr/>
        </p:nvSpPr>
        <p:spPr>
          <a:xfrm>
            <a:off x="1331640" y="3507854"/>
            <a:ext cx="648072" cy="21602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ронежская область</a:t>
            </a:r>
          </a:p>
        </p:txBody>
      </p:sp>
      <p:sp>
        <p:nvSpPr>
          <p:cNvPr id="232" name="TextBox 164"/>
          <p:cNvSpPr txBox="1"/>
          <p:nvPr/>
        </p:nvSpPr>
        <p:spPr>
          <a:xfrm>
            <a:off x="1259632" y="3219822"/>
            <a:ext cx="504056" cy="20115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пецкая область</a:t>
            </a:r>
          </a:p>
        </p:txBody>
      </p:sp>
      <p:sp>
        <p:nvSpPr>
          <p:cNvPr id="233" name="TextBox 103"/>
          <p:cNvSpPr txBox="1"/>
          <p:nvPr/>
        </p:nvSpPr>
        <p:spPr>
          <a:xfrm>
            <a:off x="1651422" y="3219822"/>
            <a:ext cx="805804" cy="14401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E21A1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</a:t>
            </a:r>
            <a:r>
              <a:rPr lang="ru-RU" sz="550"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жегородская</a:t>
            </a:r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область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4" name="TextBox 156"/>
          <p:cNvSpPr txBox="1"/>
          <p:nvPr/>
        </p:nvSpPr>
        <p:spPr>
          <a:xfrm>
            <a:off x="2267744" y="3188072"/>
            <a:ext cx="977911" cy="16639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sz="550"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иров</a:t>
            </a:r>
            <a:r>
              <a:rPr lang="ru-RU" sz="550"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кая</a:t>
            </a:r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ru-RU" sz="550" b="1" dirty="0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55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ласть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5" name="TextBox 103"/>
          <p:cNvSpPr txBox="1"/>
          <p:nvPr/>
        </p:nvSpPr>
        <p:spPr>
          <a:xfrm>
            <a:off x="1602842" y="3018430"/>
            <a:ext cx="720080" cy="21602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E21A1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ладимирская область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6" name="TextBox 174"/>
          <p:cNvSpPr txBox="1"/>
          <p:nvPr/>
        </p:nvSpPr>
        <p:spPr>
          <a:xfrm>
            <a:off x="5702920" y="3939902"/>
            <a:ext cx="609056" cy="25613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0070B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спублика Бурятия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8" name="TextBox 115"/>
          <p:cNvSpPr txBox="1"/>
          <p:nvPr/>
        </p:nvSpPr>
        <p:spPr>
          <a:xfrm>
            <a:off x="2195736" y="3596845"/>
            <a:ext cx="576064" cy="19904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E21A1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спублика </a:t>
            </a:r>
            <a:endParaRPr lang="ru-RU" sz="550" b="1" dirty="0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55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тарстан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9" name="TextBox 174"/>
          <p:cNvSpPr txBox="1"/>
          <p:nvPr/>
        </p:nvSpPr>
        <p:spPr>
          <a:xfrm>
            <a:off x="6012160" y="4194026"/>
            <a:ext cx="753072" cy="2880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0070B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байкальский край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0" name="TextBox 174"/>
          <p:cNvSpPr txBox="1"/>
          <p:nvPr/>
        </p:nvSpPr>
        <p:spPr>
          <a:xfrm>
            <a:off x="3923928" y="4371950"/>
            <a:ext cx="537048" cy="288032"/>
          </a:xfrm>
          <a:prstGeom prst="rect">
            <a:avLst/>
          </a:prstGeom>
          <a:noFill/>
          <a:ln w="3175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0070BA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лтайский </a:t>
            </a:r>
          </a:p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ай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1" name="TextBox 177"/>
          <p:cNvSpPr txBox="1"/>
          <p:nvPr/>
        </p:nvSpPr>
        <p:spPr>
          <a:xfrm>
            <a:off x="7846268" y="3232522"/>
            <a:ext cx="648072" cy="14401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халинская область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2" name="TextBox 164"/>
          <p:cNvSpPr txBox="1"/>
          <p:nvPr/>
        </p:nvSpPr>
        <p:spPr>
          <a:xfrm>
            <a:off x="924992" y="3775141"/>
            <a:ext cx="648072" cy="16476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стовская область</a:t>
            </a:r>
          </a:p>
        </p:txBody>
      </p:sp>
      <p:sp>
        <p:nvSpPr>
          <p:cNvPr id="247" name="Псковская область"/>
          <p:cNvSpPr>
            <a:spLocks/>
          </p:cNvSpPr>
          <p:nvPr/>
        </p:nvSpPr>
        <p:spPr bwMode="auto">
          <a:xfrm>
            <a:off x="1494190" y="2671055"/>
            <a:ext cx="233280" cy="335029"/>
          </a:xfrm>
          <a:custGeom>
            <a:avLst/>
            <a:gdLst/>
            <a:ahLst/>
            <a:cxnLst>
              <a:cxn ang="0">
                <a:pos x="193" y="1171"/>
              </a:cxn>
              <a:cxn ang="0">
                <a:pos x="9" y="677"/>
              </a:cxn>
              <a:cxn ang="0">
                <a:pos x="251" y="267"/>
              </a:cxn>
              <a:cxn ang="0">
                <a:pos x="324" y="240"/>
              </a:cxn>
              <a:cxn ang="0">
                <a:pos x="492" y="114"/>
              </a:cxn>
              <a:cxn ang="0">
                <a:pos x="670" y="0"/>
              </a:cxn>
              <a:cxn ang="0">
                <a:pos x="776" y="283"/>
              </a:cxn>
              <a:cxn ang="0">
                <a:pos x="787" y="400"/>
              </a:cxn>
              <a:cxn ang="0">
                <a:pos x="747" y="400"/>
              </a:cxn>
              <a:cxn ang="0">
                <a:pos x="675" y="515"/>
              </a:cxn>
              <a:cxn ang="0">
                <a:pos x="694" y="616"/>
              </a:cxn>
              <a:cxn ang="0">
                <a:pos x="630" y="728"/>
              </a:cxn>
              <a:cxn ang="0">
                <a:pos x="400" y="1063"/>
              </a:cxn>
              <a:cxn ang="0">
                <a:pos x="382" y="1163"/>
              </a:cxn>
              <a:cxn ang="0">
                <a:pos x="252" y="1232"/>
              </a:cxn>
              <a:cxn ang="0">
                <a:pos x="193" y="1171"/>
              </a:cxn>
            </a:cxnLst>
            <a:rect l="0" t="0" r="r" b="b"/>
            <a:pathLst>
              <a:path w="787" h="1232">
                <a:moveTo>
                  <a:pt x="193" y="1171"/>
                </a:moveTo>
                <a:cubicBezTo>
                  <a:pt x="123" y="1034"/>
                  <a:pt x="0" y="704"/>
                  <a:pt x="9" y="677"/>
                </a:cubicBezTo>
                <a:cubicBezTo>
                  <a:pt x="24" y="635"/>
                  <a:pt x="222" y="301"/>
                  <a:pt x="251" y="267"/>
                </a:cubicBezTo>
                <a:cubicBezTo>
                  <a:pt x="264" y="253"/>
                  <a:pt x="297" y="240"/>
                  <a:pt x="324" y="240"/>
                </a:cubicBezTo>
                <a:cubicBezTo>
                  <a:pt x="392" y="240"/>
                  <a:pt x="432" y="210"/>
                  <a:pt x="492" y="114"/>
                </a:cubicBezTo>
                <a:cubicBezTo>
                  <a:pt x="542" y="37"/>
                  <a:pt x="601" y="0"/>
                  <a:pt x="670" y="0"/>
                </a:cubicBezTo>
                <a:cubicBezTo>
                  <a:pt x="708" y="0"/>
                  <a:pt x="763" y="146"/>
                  <a:pt x="776" y="283"/>
                </a:cubicBezTo>
                <a:lnTo>
                  <a:pt x="787" y="400"/>
                </a:lnTo>
                <a:lnTo>
                  <a:pt x="747" y="400"/>
                </a:lnTo>
                <a:cubicBezTo>
                  <a:pt x="688" y="400"/>
                  <a:pt x="665" y="437"/>
                  <a:pt x="675" y="515"/>
                </a:cubicBezTo>
                <a:cubicBezTo>
                  <a:pt x="680" y="554"/>
                  <a:pt x="688" y="599"/>
                  <a:pt x="694" y="616"/>
                </a:cubicBezTo>
                <a:cubicBezTo>
                  <a:pt x="700" y="639"/>
                  <a:pt x="683" y="669"/>
                  <a:pt x="630" y="728"/>
                </a:cubicBezTo>
                <a:cubicBezTo>
                  <a:pt x="435" y="939"/>
                  <a:pt x="417" y="965"/>
                  <a:pt x="400" y="1063"/>
                </a:cubicBezTo>
                <a:cubicBezTo>
                  <a:pt x="390" y="1115"/>
                  <a:pt x="382" y="1160"/>
                  <a:pt x="382" y="1163"/>
                </a:cubicBezTo>
                <a:cubicBezTo>
                  <a:pt x="382" y="1176"/>
                  <a:pt x="276" y="1232"/>
                  <a:pt x="252" y="1232"/>
                </a:cubicBezTo>
                <a:cubicBezTo>
                  <a:pt x="238" y="1232"/>
                  <a:pt x="211" y="1205"/>
                  <a:pt x="193" y="1171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37" name="TextBox 156"/>
          <p:cNvSpPr txBox="1"/>
          <p:nvPr/>
        </p:nvSpPr>
        <p:spPr>
          <a:xfrm>
            <a:off x="2383710" y="3386342"/>
            <a:ext cx="648072" cy="16639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дмуртская</a:t>
            </a:r>
          </a:p>
          <a:p>
            <a:pPr algn="ctr"/>
            <a:r>
              <a:rPr lang="ru-RU" sz="55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Республика</a:t>
            </a:r>
            <a:endParaRPr sz="55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" name="TextBox 177"/>
          <p:cNvSpPr txBox="1"/>
          <p:nvPr/>
        </p:nvSpPr>
        <p:spPr>
          <a:xfrm>
            <a:off x="8028384" y="4155926"/>
            <a:ext cx="595141" cy="11805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algn="ctr"/>
            <a:r>
              <a:rPr lang="ru-RU" sz="55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орский край</a:t>
            </a:r>
          </a:p>
          <a:p>
            <a:endParaRPr sz="55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" name="TextBox 170"/>
          <p:cNvSpPr txBox="1"/>
          <p:nvPr/>
        </p:nvSpPr>
        <p:spPr>
          <a:xfrm>
            <a:off x="238123" y="1438088"/>
            <a:ext cx="3384376" cy="1582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0795" tIns="20795" rIns="20795" bIns="20795"/>
          <a:lstStyle>
            <a:lvl1pPr algn="l" defTabSz="1109609">
              <a:defRPr sz="1400" b="0">
                <a:solidFill>
                  <a:srgbClr val="183B61"/>
                </a:solidFill>
                <a:latin typeface="PT Sans"/>
                <a:ea typeface="PT Sans"/>
                <a:cs typeface="PT Sans"/>
                <a:sym typeface="PT Sans"/>
              </a:defRPr>
            </a:lvl1pPr>
          </a:lstStyle>
          <a:p>
            <a:pPr defTabSz="914400"/>
            <a:r>
              <a:rPr lang="ru-RU" sz="900" b="1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Традиционный подвижной состав</a:t>
            </a:r>
            <a:endParaRPr lang="ru-RU" sz="9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9" name="Прямоугольник 48"/>
          <p:cNvSpPr txBox="1"/>
          <p:nvPr/>
        </p:nvSpPr>
        <p:spPr>
          <a:xfrm>
            <a:off x="197700" y="1707654"/>
            <a:ext cx="904519" cy="190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20" tIns="45720" rIns="45720" bIns="45720">
            <a:spAutoFit/>
          </a:bodyPr>
          <a:lstStyle/>
          <a:p>
            <a:pPr defTabSz="416103">
              <a:lnSpc>
                <a:spcPct val="80000"/>
              </a:lnSpc>
              <a:spcBef>
                <a:spcPts val="563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8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019</a:t>
            </a:r>
            <a:endParaRPr sz="800" b="1" dirty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8" name="Прямоугольник 48"/>
          <p:cNvSpPr txBox="1"/>
          <p:nvPr/>
        </p:nvSpPr>
        <p:spPr>
          <a:xfrm>
            <a:off x="1925892" y="1654112"/>
            <a:ext cx="688495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20" tIns="45720" rIns="45720" bIns="45720">
            <a:spAutoFit/>
          </a:bodyPr>
          <a:lstStyle/>
          <a:p>
            <a:pPr defTabSz="416103">
              <a:spcBef>
                <a:spcPts val="0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8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2020 </a:t>
            </a:r>
            <a:endParaRPr lang="ru-RU" sz="800" b="1" dirty="0" smtClean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  <a:sym typeface="PT Sans"/>
            </a:endParaRPr>
          </a:p>
          <a:p>
            <a:pPr defTabSz="416103">
              <a:spcBef>
                <a:spcPts val="0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800" dirty="0" smtClean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(</a:t>
            </a:r>
            <a:r>
              <a:rPr lang="ru-RU" sz="800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план</a:t>
            </a:r>
            <a:r>
              <a:rPr lang="ru-RU" sz="800" dirty="0" smtClean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)</a:t>
            </a:r>
            <a:endParaRPr lang="ru-RU" sz="800" dirty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  <a:sym typeface="PT Sans"/>
            </a:endParaRPr>
          </a:p>
        </p:txBody>
      </p:sp>
      <p:sp>
        <p:nvSpPr>
          <p:cNvPr id="217" name="Прямоугольник 48"/>
          <p:cNvSpPr txBox="1"/>
          <p:nvPr/>
        </p:nvSpPr>
        <p:spPr>
          <a:xfrm>
            <a:off x="611560" y="1635646"/>
            <a:ext cx="2002827" cy="3877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20" tIns="45720" rIns="45720" bIns="45720">
            <a:spAutoFit/>
          </a:bodyPr>
          <a:lstStyle/>
          <a:p>
            <a:pPr defTabSz="416103">
              <a:lnSpc>
                <a:spcPct val="80000"/>
              </a:lnSpc>
              <a:spcBef>
                <a:spcPts val="563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2000" b="1" dirty="0" smtClean="0">
                <a:solidFill>
                  <a:schemeClr val="accent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58</a:t>
            </a:r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агонов</a:t>
            </a:r>
            <a:endParaRPr sz="800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8" name="Прямоугольник 48"/>
          <p:cNvSpPr txBox="1"/>
          <p:nvPr/>
        </p:nvSpPr>
        <p:spPr>
          <a:xfrm>
            <a:off x="2501956" y="1601526"/>
            <a:ext cx="1696607" cy="3877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20" tIns="45720" rIns="45720" bIns="45720">
            <a:spAutoFit/>
          </a:bodyPr>
          <a:lstStyle/>
          <a:p>
            <a:pPr defTabSz="416103">
              <a:lnSpc>
                <a:spcPct val="80000"/>
              </a:lnSpc>
              <a:spcBef>
                <a:spcPts val="563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2000" b="1" dirty="0" smtClean="0">
                <a:solidFill>
                  <a:schemeClr val="accent2"/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198</a:t>
            </a:r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 </a:t>
            </a: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вагонов</a:t>
            </a:r>
          </a:p>
        </p:txBody>
      </p:sp>
      <p:sp>
        <p:nvSpPr>
          <p:cNvPr id="223" name="Прямоугольник 222"/>
          <p:cNvSpPr/>
          <p:nvPr/>
        </p:nvSpPr>
        <p:spPr>
          <a:xfrm>
            <a:off x="179512" y="627534"/>
            <a:ext cx="3312368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00" b="1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Новый парк в пригородном сообщении</a:t>
            </a:r>
          </a:p>
          <a:p>
            <a:r>
              <a:rPr lang="ru-R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Традиционный + «Ласточка»)</a:t>
            </a:r>
          </a:p>
        </p:txBody>
      </p:sp>
      <p:sp>
        <p:nvSpPr>
          <p:cNvPr id="224" name="Прямоугольник 48"/>
          <p:cNvSpPr txBox="1"/>
          <p:nvPr/>
        </p:nvSpPr>
        <p:spPr>
          <a:xfrm>
            <a:off x="211097" y="1059582"/>
            <a:ext cx="845908" cy="190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20" tIns="45720" rIns="45720" bIns="45720">
            <a:spAutoFit/>
          </a:bodyPr>
          <a:lstStyle/>
          <a:p>
            <a:pPr defTabSz="416103">
              <a:lnSpc>
                <a:spcPct val="80000"/>
              </a:lnSpc>
              <a:spcBef>
                <a:spcPts val="563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8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019</a:t>
            </a:r>
            <a:endParaRPr sz="800" b="1" dirty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5" name="Прямоугольник 48"/>
          <p:cNvSpPr txBox="1"/>
          <p:nvPr/>
        </p:nvSpPr>
        <p:spPr>
          <a:xfrm>
            <a:off x="1939289" y="1040124"/>
            <a:ext cx="576064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20" tIns="45720" rIns="45720" bIns="45720">
            <a:spAutoFit/>
          </a:bodyPr>
          <a:lstStyle/>
          <a:p>
            <a:pPr defTabSz="416103">
              <a:spcBef>
                <a:spcPts val="0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8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2020 </a:t>
            </a:r>
            <a:endParaRPr lang="ru-RU" sz="800" b="1" dirty="0" smtClean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  <a:sym typeface="PT Sans"/>
            </a:endParaRPr>
          </a:p>
          <a:p>
            <a:pPr defTabSz="416103">
              <a:spcBef>
                <a:spcPts val="0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800" dirty="0" smtClean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(</a:t>
            </a:r>
            <a:r>
              <a:rPr lang="ru-RU" sz="800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план</a:t>
            </a:r>
            <a:r>
              <a:rPr lang="ru-RU" sz="800" dirty="0" smtClean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)</a:t>
            </a:r>
            <a:endParaRPr lang="ru-RU" sz="800" dirty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  <a:sym typeface="PT Sans"/>
            </a:endParaRPr>
          </a:p>
        </p:txBody>
      </p:sp>
      <p:sp>
        <p:nvSpPr>
          <p:cNvPr id="226" name="Прямоугольник 48"/>
          <p:cNvSpPr txBox="1"/>
          <p:nvPr/>
        </p:nvSpPr>
        <p:spPr>
          <a:xfrm>
            <a:off x="643145" y="984438"/>
            <a:ext cx="1944216" cy="3877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20" tIns="45720" rIns="45720" bIns="45720">
            <a:spAutoFit/>
          </a:bodyPr>
          <a:lstStyle/>
          <a:p>
            <a:pPr defTabSz="416103">
              <a:lnSpc>
                <a:spcPct val="80000"/>
              </a:lnSpc>
              <a:spcBef>
                <a:spcPts val="563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2000" b="1" dirty="0" smtClean="0">
                <a:solidFill>
                  <a:schemeClr val="accent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87</a:t>
            </a:r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вагонов</a:t>
            </a:r>
            <a:endParaRPr lang="ru-RU" sz="800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  <a:sym typeface="PT Sans"/>
            </a:endParaRPr>
          </a:p>
        </p:txBody>
      </p:sp>
      <p:sp>
        <p:nvSpPr>
          <p:cNvPr id="243" name="Прямоугольник 48"/>
          <p:cNvSpPr txBox="1"/>
          <p:nvPr/>
        </p:nvSpPr>
        <p:spPr>
          <a:xfrm>
            <a:off x="2540763" y="973405"/>
            <a:ext cx="1440160" cy="3877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20" tIns="45720" rIns="45720" bIns="45720">
            <a:spAutoFit/>
          </a:bodyPr>
          <a:lstStyle/>
          <a:p>
            <a:pPr defTabSz="416103">
              <a:lnSpc>
                <a:spcPct val="80000"/>
              </a:lnSpc>
              <a:spcBef>
                <a:spcPts val="563"/>
              </a:spcBef>
              <a:defRPr sz="2200" b="0">
                <a:solidFill>
                  <a:srgbClr val="5E5E5E"/>
                </a:solidFill>
                <a:latin typeface="PT Sans"/>
                <a:ea typeface="PT Sans"/>
                <a:cs typeface="PT Sans"/>
                <a:sym typeface="PT Sans"/>
              </a:defRPr>
            </a:pPr>
            <a:r>
              <a:rPr lang="ru-RU" sz="2000" b="1" dirty="0" smtClean="0">
                <a:solidFill>
                  <a:schemeClr val="accent2"/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322</a:t>
            </a:r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 </a:t>
            </a:r>
            <a:r>
              <a:rPr lang="ru-RU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PT Sans"/>
              </a:rPr>
              <a:t>вагона</a:t>
            </a:r>
          </a:p>
        </p:txBody>
      </p:sp>
      <p:cxnSp>
        <p:nvCxnSpPr>
          <p:cNvPr id="129" name="Прямая соединительная линия 128"/>
          <p:cNvCxnSpPr/>
          <p:nvPr/>
        </p:nvCxnSpPr>
        <p:spPr>
          <a:xfrm>
            <a:off x="251520" y="987574"/>
            <a:ext cx="2304256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129"/>
          <p:cNvCxnSpPr/>
          <p:nvPr/>
        </p:nvCxnSpPr>
        <p:spPr>
          <a:xfrm>
            <a:off x="238123" y="1663404"/>
            <a:ext cx="2304256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5552521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Равнобедренный треугольник 57"/>
          <p:cNvSpPr/>
          <p:nvPr/>
        </p:nvSpPr>
        <p:spPr>
          <a:xfrm>
            <a:off x="7208838" y="700088"/>
            <a:ext cx="1931987" cy="2849562"/>
          </a:xfrm>
          <a:prstGeom prst="triangle">
            <a:avLst>
              <a:gd name="adj" fmla="val 100000"/>
            </a:avLst>
          </a:prstGeom>
          <a:solidFill>
            <a:srgbClr val="6478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2851150" y="2474913"/>
            <a:ext cx="6292850" cy="2678112"/>
          </a:xfrm>
          <a:prstGeom prst="rect">
            <a:avLst/>
          </a:prstGeom>
          <a:solidFill>
            <a:srgbClr val="6478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07" name="RelativeShape4"/>
          <p:cNvSpPr/>
          <p:nvPr/>
        </p:nvSpPr>
        <p:spPr>
          <a:xfrm>
            <a:off x="2036763" y="-757238"/>
            <a:ext cx="392112" cy="18319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pic>
        <p:nvPicPr>
          <p:cNvPr id="5126" name="Рисунок 9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98750" y="446088"/>
            <a:ext cx="6680200" cy="327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7" name="CustomText"/>
          <p:cNvSpPr>
            <a:spLocks noChangeArrowheads="1"/>
          </p:cNvSpPr>
          <p:nvPr/>
        </p:nvSpPr>
        <p:spPr bwMode="auto">
          <a:xfrm>
            <a:off x="3748088" y="1909763"/>
            <a:ext cx="1098550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914400" eaLnBrk="1" hangingPunct="1">
              <a:lnSpc>
                <a:spcPct val="6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Кировская</a:t>
            </a:r>
          </a:p>
          <a:p>
            <a:pPr algn="ctr" defTabSz="914400" eaLnBrk="1" hangingPunct="1">
              <a:lnSpc>
                <a:spcPct val="6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область</a:t>
            </a:r>
            <a:endParaRPr lang="en-US" altLang="zh-CN" sz="600" b="1">
              <a:latin typeface="Verdana" pitchFamily="34" charset="0"/>
              <a:ea typeface="SimSun" pitchFamily="2" charset="-122"/>
            </a:endParaRPr>
          </a:p>
        </p:txBody>
      </p:sp>
      <p:sp>
        <p:nvSpPr>
          <p:cNvPr id="5128" name="CustomText"/>
          <p:cNvSpPr>
            <a:spLocks noChangeArrowheads="1"/>
          </p:cNvSpPr>
          <p:nvPr/>
        </p:nvSpPr>
        <p:spPr bwMode="auto">
          <a:xfrm>
            <a:off x="2490788" y="1952625"/>
            <a:ext cx="1096962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914400" eaLnBrk="1" hangingPunct="1">
              <a:lnSpc>
                <a:spcPct val="7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Курская </a:t>
            </a:r>
          </a:p>
          <a:p>
            <a:pPr algn="ctr" defTabSz="914400" eaLnBrk="1" hangingPunct="1">
              <a:lnSpc>
                <a:spcPct val="7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область</a:t>
            </a:r>
            <a:endParaRPr lang="en-US" altLang="zh-CN" sz="600" b="1">
              <a:latin typeface="Verdana" pitchFamily="34" charset="0"/>
              <a:ea typeface="SimSun" pitchFamily="2" charset="-122"/>
            </a:endParaRPr>
          </a:p>
        </p:txBody>
      </p:sp>
      <p:sp>
        <p:nvSpPr>
          <p:cNvPr id="5129" name="CustomText"/>
          <p:cNvSpPr>
            <a:spLocks noChangeArrowheads="1"/>
          </p:cNvSpPr>
          <p:nvPr/>
        </p:nvSpPr>
        <p:spPr bwMode="auto">
          <a:xfrm>
            <a:off x="3676650" y="1239838"/>
            <a:ext cx="1096963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914400" eaLnBrk="1" hangingPunct="1">
              <a:lnSpc>
                <a:spcPct val="6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Санкт-Петербург </a:t>
            </a:r>
          </a:p>
          <a:p>
            <a:pPr algn="ctr" defTabSz="914400" eaLnBrk="1" hangingPunct="1">
              <a:lnSpc>
                <a:spcPct val="6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Ленинградская </a:t>
            </a:r>
          </a:p>
          <a:p>
            <a:pPr algn="ctr" defTabSz="914400" eaLnBrk="1" hangingPunct="1">
              <a:lnSpc>
                <a:spcPct val="6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область</a:t>
            </a:r>
            <a:endParaRPr lang="en-US" altLang="zh-CN" sz="600" b="1">
              <a:latin typeface="Verdana" pitchFamily="34" charset="0"/>
              <a:ea typeface="SimSun" pitchFamily="2" charset="-122"/>
            </a:endParaRPr>
          </a:p>
        </p:txBody>
      </p:sp>
      <p:sp>
        <p:nvSpPr>
          <p:cNvPr id="5130" name="CustomText"/>
          <p:cNvSpPr>
            <a:spLocks noChangeArrowheads="1"/>
          </p:cNvSpPr>
          <p:nvPr/>
        </p:nvSpPr>
        <p:spPr bwMode="auto">
          <a:xfrm>
            <a:off x="4865688" y="2924175"/>
            <a:ext cx="1096962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914400" eaLnBrk="1" hangingPunct="1">
              <a:lnSpc>
                <a:spcPct val="7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Новосибирская область</a:t>
            </a:r>
            <a:endParaRPr lang="en-US" altLang="zh-CN" sz="600" b="1">
              <a:latin typeface="Verdana" pitchFamily="34" charset="0"/>
              <a:ea typeface="SimSun" pitchFamily="2" charset="-122"/>
            </a:endParaRPr>
          </a:p>
        </p:txBody>
      </p:sp>
      <p:sp>
        <p:nvSpPr>
          <p:cNvPr id="5131" name="CustomText"/>
          <p:cNvSpPr>
            <a:spLocks noChangeArrowheads="1"/>
          </p:cNvSpPr>
          <p:nvPr/>
        </p:nvSpPr>
        <p:spPr bwMode="auto">
          <a:xfrm>
            <a:off x="6772275" y="3171825"/>
            <a:ext cx="1096963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914400" eaLnBrk="1" hangingPunct="1">
              <a:lnSpc>
                <a:spcPct val="7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Забайкальский </a:t>
            </a:r>
          </a:p>
          <a:p>
            <a:pPr algn="ctr" defTabSz="914400" eaLnBrk="1" hangingPunct="1">
              <a:lnSpc>
                <a:spcPct val="7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край</a:t>
            </a:r>
            <a:endParaRPr lang="en-US" altLang="zh-CN" sz="600" b="1">
              <a:latin typeface="Verdana" pitchFamily="34" charset="0"/>
              <a:ea typeface="SimSun" pitchFamily="2" charset="-122"/>
            </a:endParaRPr>
          </a:p>
        </p:txBody>
      </p:sp>
      <p:sp>
        <p:nvSpPr>
          <p:cNvPr id="5132" name="CustomText"/>
          <p:cNvSpPr>
            <a:spLocks noChangeArrowheads="1"/>
          </p:cNvSpPr>
          <p:nvPr/>
        </p:nvSpPr>
        <p:spPr bwMode="auto">
          <a:xfrm>
            <a:off x="3530600" y="2290763"/>
            <a:ext cx="1096963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914400" eaLnBrk="1" hangingPunct="1">
              <a:lnSpc>
                <a:spcPct val="7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Владимирская область</a:t>
            </a:r>
            <a:endParaRPr lang="en-US" altLang="zh-CN" sz="600" b="1">
              <a:latin typeface="Verdana" pitchFamily="34" charset="0"/>
              <a:ea typeface="SimSun" pitchFamily="2" charset="-122"/>
            </a:endParaRPr>
          </a:p>
        </p:txBody>
      </p:sp>
      <p:sp>
        <p:nvSpPr>
          <p:cNvPr id="5133" name="CustomText"/>
          <p:cNvSpPr>
            <a:spLocks noChangeArrowheads="1"/>
          </p:cNvSpPr>
          <p:nvPr/>
        </p:nvSpPr>
        <p:spPr bwMode="auto">
          <a:xfrm>
            <a:off x="4484688" y="1941513"/>
            <a:ext cx="1096962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914400" eaLnBrk="1" hangingPunct="1">
              <a:lnSpc>
                <a:spcPct val="70000"/>
              </a:lnSpc>
            </a:pPr>
            <a:r>
              <a:rPr lang="ru-RU" altLang="zh-CN" sz="600" b="1">
                <a:latin typeface="Verdana" pitchFamily="34" charset="0"/>
                <a:ea typeface="Verdana" pitchFamily="34" charset="0"/>
                <a:cs typeface="Verdana" pitchFamily="34" charset="0"/>
              </a:rPr>
              <a:t>Нижегородская область</a:t>
            </a:r>
            <a:endParaRPr lang="en-US" altLang="zh-CN" sz="600" b="1">
              <a:latin typeface="Verdana" pitchFamily="34" charset="0"/>
              <a:ea typeface="SimSun" pitchFamily="2" charset="-122"/>
            </a:endParaRPr>
          </a:p>
        </p:txBody>
      </p:sp>
      <p:sp>
        <p:nvSpPr>
          <p:cNvPr id="110" name="Нашивка 120"/>
          <p:cNvSpPr/>
          <p:nvPr/>
        </p:nvSpPr>
        <p:spPr>
          <a:xfrm>
            <a:off x="2894013" y="3762375"/>
            <a:ext cx="111125" cy="134938"/>
          </a:xfrm>
          <a:prstGeom prst="chevron">
            <a:avLst/>
          </a:pr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851150" y="3953392"/>
            <a:ext cx="2939342" cy="1077218"/>
          </a:xfrm>
          <a:prstGeom prst="rect">
            <a:avLst/>
          </a:prstGeom>
          <a:noFill/>
        </p:spPr>
        <p:txBody>
          <a:bodyPr numCol="3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нкт-Петербург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сква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ронеж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ула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стов</a:t>
            </a: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на-Дону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аснодар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</a:t>
            </a:r>
            <a:r>
              <a:rPr lang="en-US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город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мара-Тольятти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ратов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зань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мь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фа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катеринбург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елябинск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мс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осибирс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асноярс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ркутск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5922962" y="3950401"/>
            <a:ext cx="3455501" cy="963117"/>
          </a:xfrm>
          <a:prstGeom prst="rect">
            <a:avLst/>
          </a:prstGeom>
          <a:noFill/>
        </p:spPr>
        <p:txBody>
          <a:bodyPr numCol="3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Ярославль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пец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врополь - Минеральные Воды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лгоград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язань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нза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льяновс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ебоксары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иров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жевс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ренбург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юмень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арнаул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емерово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окузнец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Хабаровс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ладивосток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0" name="Прямая соединительная линия 39"/>
          <p:cNvCxnSpPr>
            <a:cxnSpLocks/>
          </p:cNvCxnSpPr>
          <p:nvPr/>
        </p:nvCxnSpPr>
        <p:spPr>
          <a:xfrm>
            <a:off x="5954713" y="3933825"/>
            <a:ext cx="3094037" cy="0"/>
          </a:xfrm>
          <a:prstGeom prst="line">
            <a:avLst/>
          </a:prstGeom>
          <a:ln>
            <a:solidFill>
              <a:srgbClr val="D8DA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/>
          <p:cNvCxnSpPr>
            <a:cxnSpLocks/>
          </p:cNvCxnSpPr>
          <p:nvPr/>
        </p:nvCxnSpPr>
        <p:spPr>
          <a:xfrm>
            <a:off x="2928938" y="3933825"/>
            <a:ext cx="2692400" cy="0"/>
          </a:xfrm>
          <a:prstGeom prst="line">
            <a:avLst/>
          </a:prstGeom>
          <a:ln>
            <a:solidFill>
              <a:srgbClr val="D8DA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3" name="TextBox 43"/>
          <p:cNvSpPr txBox="1">
            <a:spLocks noChangeArrowheads="1"/>
          </p:cNvSpPr>
          <p:nvPr/>
        </p:nvSpPr>
        <p:spPr bwMode="auto">
          <a:xfrm>
            <a:off x="2947988" y="3709988"/>
            <a:ext cx="283368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900" b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Текущие центры экономического роста</a:t>
            </a:r>
          </a:p>
        </p:txBody>
      </p:sp>
      <p:sp>
        <p:nvSpPr>
          <p:cNvPr id="5144" name="TextBox 143"/>
          <p:cNvSpPr txBox="1">
            <a:spLocks noChangeArrowheads="1"/>
          </p:cNvSpPr>
          <p:nvPr/>
        </p:nvSpPr>
        <p:spPr bwMode="auto">
          <a:xfrm>
            <a:off x="5888038" y="3730625"/>
            <a:ext cx="3275012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900" b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ерспективные центры экономического роста</a:t>
            </a:r>
          </a:p>
        </p:txBody>
      </p:sp>
      <p:grpSp>
        <p:nvGrpSpPr>
          <p:cNvPr id="2" name="Группа 64"/>
          <p:cNvGrpSpPr>
            <a:grpSpLocks/>
          </p:cNvGrpSpPr>
          <p:nvPr/>
        </p:nvGrpSpPr>
        <p:grpSpPr bwMode="auto">
          <a:xfrm>
            <a:off x="107504" y="4371950"/>
            <a:ext cx="2087563" cy="432048"/>
            <a:chOff x="100792" y="3225969"/>
            <a:chExt cx="2086985" cy="350283"/>
          </a:xfrm>
        </p:grpSpPr>
        <p:sp>
          <p:nvSpPr>
            <p:cNvPr id="5208" name="object 7"/>
            <p:cNvSpPr txBox="1">
              <a:spLocks noChangeArrowheads="1"/>
            </p:cNvSpPr>
            <p:nvPr/>
          </p:nvSpPr>
          <p:spPr bwMode="auto">
            <a:xfrm>
              <a:off x="489322" y="3265689"/>
              <a:ext cx="1698455" cy="270843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indent="4763" defTabSz="449263" eaLnBrk="1" hangingPunct="1">
                <a:lnSpc>
                  <a:spcPct val="80000"/>
                </a:lnSpc>
              </a:pPr>
              <a:r>
                <a:rPr lang="ru-RU" altLang="ru-RU" sz="1100" b="1" dirty="0">
                  <a:solidFill>
                    <a:srgbClr val="206689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Создание </a:t>
              </a:r>
              <a: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/>
              </a:r>
              <a:b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</a:br>
              <a:r>
                <a:rPr lang="ru-RU" altLang="ru-RU" sz="1100" dirty="0" err="1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безбарьерной</a:t>
              </a:r>
              <a: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 среды</a:t>
              </a:r>
            </a:p>
          </p:txBody>
        </p:sp>
        <p:pic>
          <p:nvPicPr>
            <p:cNvPr id="5209" name="005-wheelchair.png" descr="005-wheelchair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00792" y="3225969"/>
              <a:ext cx="350284" cy="350283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</p:grpSp>
      <p:grpSp>
        <p:nvGrpSpPr>
          <p:cNvPr id="5" name="Группа 67"/>
          <p:cNvGrpSpPr>
            <a:grpSpLocks/>
          </p:cNvGrpSpPr>
          <p:nvPr/>
        </p:nvGrpSpPr>
        <p:grpSpPr bwMode="auto">
          <a:xfrm>
            <a:off x="117475" y="3875614"/>
            <a:ext cx="2387600" cy="404813"/>
            <a:chOff x="100792" y="4821325"/>
            <a:chExt cx="2386191" cy="406265"/>
          </a:xfrm>
        </p:grpSpPr>
        <p:sp>
          <p:nvSpPr>
            <p:cNvPr id="5206" name="object 2"/>
            <p:cNvSpPr txBox="1">
              <a:spLocks noChangeArrowheads="1"/>
            </p:cNvSpPr>
            <p:nvPr/>
          </p:nvSpPr>
          <p:spPr bwMode="auto">
            <a:xfrm>
              <a:off x="474061" y="4821325"/>
              <a:ext cx="2012922" cy="406265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indent="4763" defTabSz="449263" eaLnBrk="1" hangingPunct="1">
                <a:lnSpc>
                  <a:spcPct val="80000"/>
                </a:lnSpc>
              </a:pPr>
              <a:r>
                <a:rPr lang="ru-RU" altLang="ru-RU" sz="1100" b="1">
                  <a:solidFill>
                    <a:srgbClr val="206689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Повышение </a:t>
              </a:r>
              <a:br>
                <a:rPr lang="ru-RU" altLang="ru-RU" sz="1100" b="1">
                  <a:solidFill>
                    <a:srgbClr val="206689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</a:br>
              <a: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качества коммуникации </a:t>
              </a:r>
              <a:b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</a:br>
              <a: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с клиентами</a:t>
              </a:r>
            </a:p>
          </p:txBody>
        </p:sp>
        <p:pic>
          <p:nvPicPr>
            <p:cNvPr id="5207" name="008-speech-bubble.pdf" descr="008-speech-bubble.pd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00792" y="4866648"/>
              <a:ext cx="350284" cy="315619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</p:grpSp>
      <p:grpSp>
        <p:nvGrpSpPr>
          <p:cNvPr id="6" name="Группа 62"/>
          <p:cNvGrpSpPr>
            <a:grpSpLocks/>
          </p:cNvGrpSpPr>
          <p:nvPr/>
        </p:nvGrpSpPr>
        <p:grpSpPr bwMode="auto">
          <a:xfrm>
            <a:off x="117475" y="2070627"/>
            <a:ext cx="1762125" cy="319087"/>
            <a:chOff x="116756" y="2263864"/>
            <a:chExt cx="1760857" cy="318356"/>
          </a:xfrm>
        </p:grpSpPr>
        <p:sp>
          <p:nvSpPr>
            <p:cNvPr id="5204" name="Расширение  маршрутной  сети"/>
            <p:cNvSpPr txBox="1">
              <a:spLocks noChangeArrowheads="1"/>
            </p:cNvSpPr>
            <p:nvPr/>
          </p:nvSpPr>
          <p:spPr bwMode="auto">
            <a:xfrm>
              <a:off x="475864" y="2287621"/>
              <a:ext cx="1401749" cy="270843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eaLnBrk="1" hangingPunct="1">
                <a:lnSpc>
                  <a:spcPct val="80000"/>
                </a:lnSpc>
              </a:pPr>
              <a:r>
                <a:rPr lang="ru-RU" altLang="ru-RU" sz="1100" b="1">
                  <a:solidFill>
                    <a:srgbClr val="206689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Расширение </a:t>
              </a:r>
              <a: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/>
              </a:r>
              <a:b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</a:br>
              <a: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маршрутной  сети</a:t>
              </a:r>
            </a:p>
          </p:txBody>
        </p:sp>
        <p:pic>
          <p:nvPicPr>
            <p:cNvPr id="5205" name="004-map.pdf" descr="004-map.pd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6756" y="2263864"/>
              <a:ext cx="318356" cy="318356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</p:grpSp>
      <p:grpSp>
        <p:nvGrpSpPr>
          <p:cNvPr id="7" name="Группа 66"/>
          <p:cNvGrpSpPr>
            <a:grpSpLocks/>
          </p:cNvGrpSpPr>
          <p:nvPr/>
        </p:nvGrpSpPr>
        <p:grpSpPr bwMode="auto">
          <a:xfrm>
            <a:off x="117475" y="3199339"/>
            <a:ext cx="2316163" cy="406400"/>
            <a:chOff x="91189" y="4324155"/>
            <a:chExt cx="2315286" cy="406265"/>
          </a:xfrm>
        </p:grpSpPr>
        <p:sp>
          <p:nvSpPr>
            <p:cNvPr id="5202" name="object 5"/>
            <p:cNvSpPr txBox="1">
              <a:spLocks noChangeArrowheads="1"/>
            </p:cNvSpPr>
            <p:nvPr/>
          </p:nvSpPr>
          <p:spPr bwMode="auto">
            <a:xfrm>
              <a:off x="475627" y="4324155"/>
              <a:ext cx="1930848" cy="406265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indent="4763" defTabSz="449263" eaLnBrk="1" hangingPunct="1">
                <a:lnSpc>
                  <a:spcPct val="80000"/>
                </a:lnSpc>
              </a:pPr>
              <a:r>
                <a:rPr lang="ru-RU" altLang="ru-RU" sz="1100" b="1">
                  <a:solidFill>
                    <a:srgbClr val="206689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Внедрение </a:t>
              </a:r>
              <a: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/>
              </a:r>
              <a:b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</a:br>
              <a: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новых клиентских и </a:t>
              </a:r>
            </a:p>
            <a:p>
              <a:pPr indent="4763" defTabSz="449263" eaLnBrk="1" hangingPunct="1">
                <a:lnSpc>
                  <a:spcPct val="80000"/>
                </a:lnSpc>
              </a:pPr>
              <a:r>
                <a:rPr lang="ru-RU" altLang="ru-RU" sz="110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цифровых сервисов</a:t>
              </a:r>
            </a:p>
          </p:txBody>
        </p:sp>
        <p:pic>
          <p:nvPicPr>
            <p:cNvPr id="5203" name="004-laptop.pdf" descr="004-laptop.pdf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1189" y="4385649"/>
              <a:ext cx="369490" cy="283277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</p:grpSp>
      <p:grpSp>
        <p:nvGrpSpPr>
          <p:cNvPr id="9" name="Группа 63"/>
          <p:cNvGrpSpPr>
            <a:grpSpLocks/>
          </p:cNvGrpSpPr>
          <p:nvPr/>
        </p:nvGrpSpPr>
        <p:grpSpPr bwMode="auto">
          <a:xfrm>
            <a:off x="117475" y="2659589"/>
            <a:ext cx="1838325" cy="271463"/>
            <a:chOff x="73869" y="2768474"/>
            <a:chExt cx="1837759" cy="270843"/>
          </a:xfrm>
        </p:grpSpPr>
        <p:pic>
          <p:nvPicPr>
            <p:cNvPr id="5200" name="001-train.pdf" descr="001-train.pdf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3869" y="2802861"/>
              <a:ext cx="404131" cy="20206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  <p:sp>
          <p:nvSpPr>
            <p:cNvPr id="5201" name="object 9"/>
            <p:cNvSpPr txBox="1">
              <a:spLocks noChangeArrowheads="1"/>
            </p:cNvSpPr>
            <p:nvPr/>
          </p:nvSpPr>
          <p:spPr bwMode="auto">
            <a:xfrm>
              <a:off x="512922" y="2768474"/>
              <a:ext cx="1398706" cy="270843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indent="4763" defTabSz="449263" eaLnBrk="1" hangingPunct="1">
                <a:lnSpc>
                  <a:spcPct val="80000"/>
                </a:lnSpc>
              </a:pPr>
              <a:r>
                <a:rPr lang="ru-RU" altLang="ru-RU" sz="1100" b="1" dirty="0">
                  <a:solidFill>
                    <a:srgbClr val="206689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Новый </a:t>
              </a:r>
              <a: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/>
              </a:r>
              <a:b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</a:br>
              <a: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подвижной состав</a:t>
              </a:r>
            </a:p>
          </p:txBody>
        </p:sp>
      </p:grpSp>
      <p:sp>
        <p:nvSpPr>
          <p:cNvPr id="307" name="Нашивка 120"/>
          <p:cNvSpPr/>
          <p:nvPr/>
        </p:nvSpPr>
        <p:spPr>
          <a:xfrm>
            <a:off x="5840413" y="3773488"/>
            <a:ext cx="109537" cy="134937"/>
          </a:xfrm>
          <a:prstGeom prst="chevron">
            <a:avLst/>
          </a:pr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151" name="TextBox 12"/>
          <p:cNvSpPr txBox="1">
            <a:spLocks noChangeArrowheads="1"/>
          </p:cNvSpPr>
          <p:nvPr/>
        </p:nvSpPr>
        <p:spPr bwMode="auto">
          <a:xfrm>
            <a:off x="3884613" y="1035050"/>
            <a:ext cx="6826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10</a:t>
            </a:r>
            <a:r>
              <a:rPr lang="ru-RU" altLang="ru-RU" sz="8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%</a:t>
            </a:r>
            <a:endParaRPr lang="ru-RU" altLang="ru-RU" sz="1200" b="1">
              <a:solidFill>
                <a:srgbClr val="85865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152" name="TextBox 145"/>
          <p:cNvSpPr txBox="1">
            <a:spLocks noChangeArrowheads="1"/>
          </p:cNvSpPr>
          <p:nvPr/>
        </p:nvSpPr>
        <p:spPr bwMode="auto">
          <a:xfrm>
            <a:off x="4672013" y="1746250"/>
            <a:ext cx="72231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</a:t>
            </a:r>
            <a:r>
              <a:rPr lang="en-US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,7</a:t>
            </a:r>
            <a:r>
              <a:rPr lang="ru-RU" altLang="ru-RU" sz="8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%</a:t>
            </a:r>
            <a:endParaRPr lang="ru-RU" altLang="ru-RU" sz="1200" b="1">
              <a:solidFill>
                <a:srgbClr val="85865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10" name="Группа 24"/>
          <p:cNvGrpSpPr>
            <a:grpSpLocks/>
          </p:cNvGrpSpPr>
          <p:nvPr/>
        </p:nvGrpSpPr>
        <p:grpSpPr bwMode="auto">
          <a:xfrm>
            <a:off x="7416800" y="2747963"/>
            <a:ext cx="1096963" cy="395287"/>
            <a:chOff x="7415727" y="2748395"/>
            <a:chExt cx="1097435" cy="394802"/>
          </a:xfrm>
        </p:grpSpPr>
        <p:sp>
          <p:nvSpPr>
            <p:cNvPr id="5198" name="CustomText"/>
            <p:cNvSpPr>
              <a:spLocks noChangeArrowheads="1"/>
            </p:cNvSpPr>
            <p:nvPr/>
          </p:nvSpPr>
          <p:spPr bwMode="auto">
            <a:xfrm>
              <a:off x="7415727" y="2921220"/>
              <a:ext cx="1097435" cy="221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Амурская </a:t>
              </a:r>
            </a:p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область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  <p:sp>
          <p:nvSpPr>
            <p:cNvPr id="5199" name="TextBox 146"/>
            <p:cNvSpPr txBox="1">
              <a:spLocks noChangeArrowheads="1"/>
            </p:cNvSpPr>
            <p:nvPr/>
          </p:nvSpPr>
          <p:spPr bwMode="auto">
            <a:xfrm>
              <a:off x="7635459" y="2748395"/>
              <a:ext cx="665567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en-US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4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5154" name="TextBox 148"/>
          <p:cNvSpPr txBox="1">
            <a:spLocks noChangeArrowheads="1"/>
          </p:cNvSpPr>
          <p:nvPr/>
        </p:nvSpPr>
        <p:spPr bwMode="auto">
          <a:xfrm>
            <a:off x="7042150" y="2944813"/>
            <a:ext cx="5572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1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</a:t>
            </a:r>
            <a:r>
              <a:rPr lang="en-US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7</a:t>
            </a:r>
            <a:r>
              <a:rPr lang="ru-RU" altLang="ru-RU" sz="8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%</a:t>
            </a:r>
            <a:endParaRPr lang="ru-RU" altLang="ru-RU" sz="1200" b="1">
              <a:solidFill>
                <a:srgbClr val="85865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11" name="Группа 25"/>
          <p:cNvGrpSpPr>
            <a:grpSpLocks/>
          </p:cNvGrpSpPr>
          <p:nvPr/>
        </p:nvGrpSpPr>
        <p:grpSpPr bwMode="auto">
          <a:xfrm>
            <a:off x="6075363" y="2836863"/>
            <a:ext cx="1098550" cy="427037"/>
            <a:chOff x="6075832" y="2837548"/>
            <a:chExt cx="1097435" cy="426134"/>
          </a:xfrm>
        </p:grpSpPr>
        <p:sp>
          <p:nvSpPr>
            <p:cNvPr id="5196" name="CustomText"/>
            <p:cNvSpPr>
              <a:spLocks noChangeArrowheads="1"/>
            </p:cNvSpPr>
            <p:nvPr/>
          </p:nvSpPr>
          <p:spPr bwMode="auto">
            <a:xfrm>
              <a:off x="6075832" y="3041902"/>
              <a:ext cx="1097435" cy="221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Иркутская </a:t>
              </a:r>
            </a:p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область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  <p:sp>
          <p:nvSpPr>
            <p:cNvPr id="5197" name="TextBox 149"/>
            <p:cNvSpPr txBox="1">
              <a:spLocks noChangeArrowheads="1"/>
            </p:cNvSpPr>
            <p:nvPr/>
          </p:nvSpPr>
          <p:spPr bwMode="auto">
            <a:xfrm>
              <a:off x="6291766" y="2837548"/>
              <a:ext cx="665567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en-US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2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2" name="Группа 26"/>
          <p:cNvGrpSpPr>
            <a:grpSpLocks/>
          </p:cNvGrpSpPr>
          <p:nvPr/>
        </p:nvGrpSpPr>
        <p:grpSpPr bwMode="auto">
          <a:xfrm>
            <a:off x="6249988" y="3216275"/>
            <a:ext cx="1096962" cy="423863"/>
            <a:chOff x="6250030" y="3215982"/>
            <a:chExt cx="1097435" cy="423539"/>
          </a:xfrm>
        </p:grpSpPr>
        <p:sp>
          <p:nvSpPr>
            <p:cNvPr id="5194" name="CustomText"/>
            <p:cNvSpPr>
              <a:spLocks noChangeArrowheads="1"/>
            </p:cNvSpPr>
            <p:nvPr/>
          </p:nvSpPr>
          <p:spPr bwMode="auto">
            <a:xfrm>
              <a:off x="6250030" y="3417441"/>
              <a:ext cx="1097435" cy="222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Республика </a:t>
              </a:r>
            </a:p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Бурятия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  <p:sp>
          <p:nvSpPr>
            <p:cNvPr id="5195" name="TextBox 151"/>
            <p:cNvSpPr txBox="1">
              <a:spLocks noChangeArrowheads="1"/>
            </p:cNvSpPr>
            <p:nvPr/>
          </p:nvSpPr>
          <p:spPr bwMode="auto">
            <a:xfrm>
              <a:off x="6465964" y="3215982"/>
              <a:ext cx="665567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ru-RU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</a:t>
              </a:r>
              <a:r>
                <a:rPr lang="en-US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5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5157" name="TextBox 153"/>
          <p:cNvSpPr txBox="1">
            <a:spLocks noChangeArrowheads="1"/>
          </p:cNvSpPr>
          <p:nvPr/>
        </p:nvSpPr>
        <p:spPr bwMode="auto">
          <a:xfrm>
            <a:off x="5053013" y="2711450"/>
            <a:ext cx="72231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1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</a:t>
            </a:r>
            <a:r>
              <a:rPr lang="en-US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9,3</a:t>
            </a:r>
            <a:r>
              <a:rPr lang="ru-RU" altLang="ru-RU" sz="8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%</a:t>
            </a:r>
            <a:endParaRPr lang="ru-RU" altLang="ru-RU" sz="1200" b="1">
              <a:solidFill>
                <a:srgbClr val="85865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158" name="TextBox 154"/>
          <p:cNvSpPr txBox="1">
            <a:spLocks noChangeArrowheads="1"/>
          </p:cNvSpPr>
          <p:nvPr/>
        </p:nvSpPr>
        <p:spPr bwMode="auto">
          <a:xfrm>
            <a:off x="3706813" y="2092325"/>
            <a:ext cx="7223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1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</a:t>
            </a:r>
            <a:r>
              <a:rPr lang="en-US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,3</a:t>
            </a:r>
            <a:r>
              <a:rPr lang="ru-RU" altLang="ru-RU" sz="8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%</a:t>
            </a:r>
            <a:endParaRPr lang="ru-RU" altLang="ru-RU" sz="1200" b="1">
              <a:solidFill>
                <a:srgbClr val="85865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13" name="Группа 27"/>
          <p:cNvGrpSpPr>
            <a:grpSpLocks/>
          </p:cNvGrpSpPr>
          <p:nvPr/>
        </p:nvGrpSpPr>
        <p:grpSpPr bwMode="auto">
          <a:xfrm>
            <a:off x="2862263" y="2366963"/>
            <a:ext cx="1096962" cy="438150"/>
            <a:chOff x="2959468" y="2314430"/>
            <a:chExt cx="1097435" cy="437011"/>
          </a:xfrm>
        </p:grpSpPr>
        <p:sp>
          <p:nvSpPr>
            <p:cNvPr id="5192" name="CustomText"/>
            <p:cNvSpPr>
              <a:spLocks noChangeArrowheads="1"/>
            </p:cNvSpPr>
            <p:nvPr/>
          </p:nvSpPr>
          <p:spPr bwMode="auto">
            <a:xfrm>
              <a:off x="2959468" y="2529769"/>
              <a:ext cx="1097435" cy="221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Саратовская область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  <p:sp>
          <p:nvSpPr>
            <p:cNvPr id="5193" name="TextBox 155"/>
            <p:cNvSpPr txBox="1">
              <a:spLocks noChangeArrowheads="1"/>
            </p:cNvSpPr>
            <p:nvPr/>
          </p:nvSpPr>
          <p:spPr bwMode="auto">
            <a:xfrm>
              <a:off x="3229904" y="2314430"/>
              <a:ext cx="55656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en-US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6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5160" name="TextBox 157"/>
          <p:cNvSpPr txBox="1">
            <a:spLocks noChangeArrowheads="1"/>
          </p:cNvSpPr>
          <p:nvPr/>
        </p:nvSpPr>
        <p:spPr bwMode="auto">
          <a:xfrm>
            <a:off x="2711450" y="1765300"/>
            <a:ext cx="654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1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</a:t>
            </a:r>
            <a:r>
              <a: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</a:t>
            </a:r>
            <a:r>
              <a:rPr lang="en-US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8</a:t>
            </a:r>
            <a:r>
              <a:rPr lang="ru-RU" altLang="ru-RU" sz="8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%</a:t>
            </a:r>
            <a:endParaRPr lang="ru-RU" altLang="ru-RU" sz="1200" b="1">
              <a:solidFill>
                <a:srgbClr val="85865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14" name="Группа 31"/>
          <p:cNvGrpSpPr>
            <a:grpSpLocks/>
          </p:cNvGrpSpPr>
          <p:nvPr/>
        </p:nvGrpSpPr>
        <p:grpSpPr bwMode="auto">
          <a:xfrm>
            <a:off x="2867025" y="1993900"/>
            <a:ext cx="1096963" cy="406400"/>
            <a:chOff x="2867077" y="1993792"/>
            <a:chExt cx="1097435" cy="407176"/>
          </a:xfrm>
        </p:grpSpPr>
        <p:sp>
          <p:nvSpPr>
            <p:cNvPr id="5190" name="CustomText"/>
            <p:cNvSpPr>
              <a:spLocks noChangeArrowheads="1"/>
            </p:cNvSpPr>
            <p:nvPr/>
          </p:nvSpPr>
          <p:spPr bwMode="auto">
            <a:xfrm>
              <a:off x="2867077" y="2179885"/>
              <a:ext cx="1097435" cy="221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6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Воронежская область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  <p:sp>
          <p:nvSpPr>
            <p:cNvPr id="5191" name="TextBox 158"/>
            <p:cNvSpPr txBox="1">
              <a:spLocks noChangeArrowheads="1"/>
            </p:cNvSpPr>
            <p:nvPr/>
          </p:nvSpPr>
          <p:spPr bwMode="auto">
            <a:xfrm>
              <a:off x="3137513" y="1993792"/>
              <a:ext cx="55656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en-US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6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5162" name="TextBox 162"/>
          <p:cNvSpPr txBox="1">
            <a:spLocks noChangeArrowheads="1"/>
          </p:cNvSpPr>
          <p:nvPr/>
        </p:nvSpPr>
        <p:spPr bwMode="auto">
          <a:xfrm>
            <a:off x="3978275" y="1709738"/>
            <a:ext cx="66516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1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</a:t>
            </a:r>
            <a:r>
              <a:rPr lang="en-US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2</a:t>
            </a:r>
            <a:r>
              <a:rPr lang="ru-RU" altLang="ru-RU" sz="8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%</a:t>
            </a:r>
            <a:endParaRPr lang="ru-RU" altLang="ru-RU" sz="1200" b="1">
              <a:solidFill>
                <a:srgbClr val="85865F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15" name="Группа 32"/>
          <p:cNvGrpSpPr>
            <a:grpSpLocks/>
          </p:cNvGrpSpPr>
          <p:nvPr/>
        </p:nvGrpSpPr>
        <p:grpSpPr bwMode="auto">
          <a:xfrm>
            <a:off x="2652713" y="1022350"/>
            <a:ext cx="1096962" cy="457200"/>
            <a:chOff x="4663925" y="1139321"/>
            <a:chExt cx="1097435" cy="457076"/>
          </a:xfrm>
        </p:grpSpPr>
        <p:sp>
          <p:nvSpPr>
            <p:cNvPr id="5188" name="TextBox 166"/>
            <p:cNvSpPr txBox="1">
              <a:spLocks noChangeArrowheads="1"/>
            </p:cNvSpPr>
            <p:nvPr/>
          </p:nvSpPr>
          <p:spPr bwMode="auto">
            <a:xfrm>
              <a:off x="4879859" y="1139321"/>
              <a:ext cx="665567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en-US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32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189" name="CustomText"/>
            <p:cNvSpPr>
              <a:spLocks noChangeArrowheads="1"/>
            </p:cNvSpPr>
            <p:nvPr/>
          </p:nvSpPr>
          <p:spPr bwMode="auto">
            <a:xfrm>
              <a:off x="4663925" y="1374207"/>
              <a:ext cx="1097435" cy="222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Калининградская область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</p:grpSp>
      <p:grpSp>
        <p:nvGrpSpPr>
          <p:cNvPr id="16" name="Группа 175"/>
          <p:cNvGrpSpPr>
            <a:grpSpLocks/>
          </p:cNvGrpSpPr>
          <p:nvPr/>
        </p:nvGrpSpPr>
        <p:grpSpPr bwMode="auto">
          <a:xfrm>
            <a:off x="2436813" y="2174875"/>
            <a:ext cx="1098550" cy="407988"/>
            <a:chOff x="4663925" y="1188334"/>
            <a:chExt cx="1097435" cy="408063"/>
          </a:xfrm>
        </p:grpSpPr>
        <p:sp>
          <p:nvSpPr>
            <p:cNvPr id="5186" name="TextBox 178"/>
            <p:cNvSpPr txBox="1">
              <a:spLocks noChangeArrowheads="1"/>
            </p:cNvSpPr>
            <p:nvPr/>
          </p:nvSpPr>
          <p:spPr bwMode="auto">
            <a:xfrm>
              <a:off x="4879528" y="1188334"/>
              <a:ext cx="65434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ru-RU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0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187" name="CustomText"/>
            <p:cNvSpPr>
              <a:spLocks noChangeArrowheads="1"/>
            </p:cNvSpPr>
            <p:nvPr/>
          </p:nvSpPr>
          <p:spPr bwMode="auto">
            <a:xfrm>
              <a:off x="4663925" y="1374106"/>
              <a:ext cx="1097435" cy="222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Ростовская </a:t>
              </a:r>
            </a:p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область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</p:grpSp>
      <p:grpSp>
        <p:nvGrpSpPr>
          <p:cNvPr id="17" name="Группа 184"/>
          <p:cNvGrpSpPr>
            <a:grpSpLocks/>
          </p:cNvGrpSpPr>
          <p:nvPr/>
        </p:nvGrpSpPr>
        <p:grpSpPr bwMode="auto">
          <a:xfrm>
            <a:off x="5324475" y="2332038"/>
            <a:ext cx="1096963" cy="407987"/>
            <a:chOff x="4663925" y="1188334"/>
            <a:chExt cx="1097435" cy="408063"/>
          </a:xfrm>
        </p:grpSpPr>
        <p:sp>
          <p:nvSpPr>
            <p:cNvPr id="5184" name="TextBox 187"/>
            <p:cNvSpPr txBox="1">
              <a:spLocks noChangeArrowheads="1"/>
            </p:cNvSpPr>
            <p:nvPr/>
          </p:nvSpPr>
          <p:spPr bwMode="auto">
            <a:xfrm>
              <a:off x="4879528" y="1188334"/>
              <a:ext cx="65434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ru-RU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4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185" name="CustomText"/>
            <p:cNvSpPr>
              <a:spLocks noChangeArrowheads="1"/>
            </p:cNvSpPr>
            <p:nvPr/>
          </p:nvSpPr>
          <p:spPr bwMode="auto">
            <a:xfrm>
              <a:off x="4663925" y="1374106"/>
              <a:ext cx="1097435" cy="222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Красноярский </a:t>
              </a:r>
            </a:p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край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</p:grpSp>
      <p:grpSp>
        <p:nvGrpSpPr>
          <p:cNvPr id="18" name="Группа 189"/>
          <p:cNvGrpSpPr>
            <a:grpSpLocks/>
          </p:cNvGrpSpPr>
          <p:nvPr/>
        </p:nvGrpSpPr>
        <p:grpSpPr bwMode="auto">
          <a:xfrm>
            <a:off x="4254500" y="2247900"/>
            <a:ext cx="1096963" cy="407988"/>
            <a:chOff x="4663925" y="1188334"/>
            <a:chExt cx="1097435" cy="408063"/>
          </a:xfrm>
        </p:grpSpPr>
        <p:sp>
          <p:nvSpPr>
            <p:cNvPr id="5182" name="TextBox 190"/>
            <p:cNvSpPr txBox="1">
              <a:spLocks noChangeArrowheads="1"/>
            </p:cNvSpPr>
            <p:nvPr/>
          </p:nvSpPr>
          <p:spPr bwMode="auto">
            <a:xfrm>
              <a:off x="4879528" y="1188334"/>
              <a:ext cx="65434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ru-RU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3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183" name="CustomText"/>
            <p:cNvSpPr>
              <a:spLocks noChangeArrowheads="1"/>
            </p:cNvSpPr>
            <p:nvPr/>
          </p:nvSpPr>
          <p:spPr bwMode="auto">
            <a:xfrm>
              <a:off x="4663925" y="1374106"/>
              <a:ext cx="1097435" cy="222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Свердловская область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</p:grpSp>
      <p:grpSp>
        <p:nvGrpSpPr>
          <p:cNvPr id="19" name="Группа 231"/>
          <p:cNvGrpSpPr>
            <a:grpSpLocks/>
          </p:cNvGrpSpPr>
          <p:nvPr/>
        </p:nvGrpSpPr>
        <p:grpSpPr bwMode="auto">
          <a:xfrm>
            <a:off x="2571750" y="2652713"/>
            <a:ext cx="1096963" cy="427037"/>
            <a:chOff x="6075832" y="2837548"/>
            <a:chExt cx="1097435" cy="426134"/>
          </a:xfrm>
        </p:grpSpPr>
        <p:sp>
          <p:nvSpPr>
            <p:cNvPr id="5180" name="CustomText"/>
            <p:cNvSpPr>
              <a:spLocks noChangeArrowheads="1"/>
            </p:cNvSpPr>
            <p:nvPr/>
          </p:nvSpPr>
          <p:spPr bwMode="auto">
            <a:xfrm>
              <a:off x="6075832" y="3041902"/>
              <a:ext cx="1097435" cy="221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Ставропольский край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  <p:sp>
          <p:nvSpPr>
            <p:cNvPr id="5181" name="TextBox 233"/>
            <p:cNvSpPr txBox="1">
              <a:spLocks noChangeArrowheads="1"/>
            </p:cNvSpPr>
            <p:nvPr/>
          </p:nvSpPr>
          <p:spPr bwMode="auto">
            <a:xfrm>
              <a:off x="6291766" y="2837548"/>
              <a:ext cx="65434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ru-RU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1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20" name="Группа 1"/>
          <p:cNvGrpSpPr>
            <a:grpSpLocks/>
          </p:cNvGrpSpPr>
          <p:nvPr/>
        </p:nvGrpSpPr>
        <p:grpSpPr bwMode="auto">
          <a:xfrm>
            <a:off x="3214688" y="1808163"/>
            <a:ext cx="1098550" cy="387350"/>
            <a:chOff x="3938366" y="3041357"/>
            <a:chExt cx="1098550" cy="387447"/>
          </a:xfrm>
        </p:grpSpPr>
        <p:sp>
          <p:nvSpPr>
            <p:cNvPr id="5178" name="CustomText"/>
            <p:cNvSpPr>
              <a:spLocks noChangeArrowheads="1"/>
            </p:cNvSpPr>
            <p:nvPr/>
          </p:nvSpPr>
          <p:spPr bwMode="auto">
            <a:xfrm>
              <a:off x="3938366" y="3206498"/>
              <a:ext cx="1098550" cy="2223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Липецкая </a:t>
              </a:r>
            </a:p>
            <a:p>
              <a:pPr algn="ctr" defTabSz="914400" eaLnBrk="1" hangingPunct="1">
                <a:lnSpc>
                  <a:spcPct val="70000"/>
                </a:lnSpc>
              </a:pPr>
              <a:r>
                <a:rPr lang="ru-RU" altLang="zh-CN" sz="600" b="1">
                  <a:latin typeface="Verdana" pitchFamily="34" charset="0"/>
                  <a:ea typeface="Verdana" pitchFamily="34" charset="0"/>
                  <a:cs typeface="Verdana" pitchFamily="34" charset="0"/>
                </a:rPr>
                <a:t>область</a:t>
              </a:r>
              <a:endParaRPr lang="en-US" altLang="zh-CN" sz="600" b="1">
                <a:latin typeface="Verdana" pitchFamily="34" charset="0"/>
                <a:ea typeface="SimSun" pitchFamily="2" charset="-122"/>
              </a:endParaRPr>
            </a:p>
          </p:txBody>
        </p:sp>
        <p:sp>
          <p:nvSpPr>
            <p:cNvPr id="5179" name="TextBox 159"/>
            <p:cNvSpPr txBox="1">
              <a:spLocks noChangeArrowheads="1"/>
            </p:cNvSpPr>
            <p:nvPr/>
          </p:nvSpPr>
          <p:spPr bwMode="auto">
            <a:xfrm>
              <a:off x="4145457" y="3041357"/>
              <a:ext cx="666243" cy="27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ru-RU" altLang="ru-RU" sz="11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en-US" altLang="ru-RU" sz="12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31</a:t>
              </a:r>
              <a:r>
                <a:rPr lang="ru-RU" altLang="ru-RU" sz="800" b="1">
                  <a:solidFill>
                    <a:srgbClr val="85865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%</a:t>
              </a:r>
              <a:endParaRPr lang="ru-RU" altLang="ru-RU" sz="1200" b="1">
                <a:solidFill>
                  <a:srgbClr val="85865F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5169" name="TextBox 2"/>
          <p:cNvSpPr txBox="1">
            <a:spLocks noChangeArrowheads="1"/>
          </p:cNvSpPr>
          <p:nvPr/>
        </p:nvSpPr>
        <p:spPr bwMode="auto">
          <a:xfrm>
            <a:off x="2816225" y="4921250"/>
            <a:ext cx="633095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 sz="7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* данные стратегии пространственного развития РФ на период до 2025 года (утв. расп. Правительства РФ №207-Р от 13.02.2019)</a:t>
            </a:r>
          </a:p>
        </p:txBody>
      </p:sp>
      <p:grpSp>
        <p:nvGrpSpPr>
          <p:cNvPr id="21" name="Группа 3"/>
          <p:cNvGrpSpPr>
            <a:grpSpLocks/>
          </p:cNvGrpSpPr>
          <p:nvPr/>
        </p:nvGrpSpPr>
        <p:grpSpPr bwMode="auto">
          <a:xfrm>
            <a:off x="117475" y="1468964"/>
            <a:ext cx="2668588" cy="331788"/>
            <a:chOff x="106245" y="1111745"/>
            <a:chExt cx="2669313" cy="332036"/>
          </a:xfrm>
        </p:grpSpPr>
        <p:sp>
          <p:nvSpPr>
            <p:cNvPr id="5176" name="cityscape_161805"/>
            <p:cNvSpPr>
              <a:spLocks noChangeAspect="1"/>
            </p:cNvSpPr>
            <p:nvPr/>
          </p:nvSpPr>
          <p:spPr bwMode="auto">
            <a:xfrm>
              <a:off x="106245" y="1111745"/>
              <a:ext cx="332600" cy="332036"/>
            </a:xfrm>
            <a:custGeom>
              <a:avLst/>
              <a:gdLst>
                <a:gd name="T0" fmla="*/ 163988 w 579692"/>
                <a:gd name="T1" fmla="*/ 166842 h 578710"/>
                <a:gd name="T2" fmla="*/ 95527 w 579692"/>
                <a:gd name="T3" fmla="*/ 166842 h 578710"/>
                <a:gd name="T4" fmla="*/ 26834 w 579692"/>
                <a:gd name="T5" fmla="*/ 166842 h 578710"/>
                <a:gd name="T6" fmla="*/ 187922 w 579692"/>
                <a:gd name="T7" fmla="*/ 181576 h 578710"/>
                <a:gd name="T8" fmla="*/ 149225 w 579692"/>
                <a:gd name="T9" fmla="*/ 190506 h 578710"/>
                <a:gd name="T10" fmla="*/ 143186 w 579692"/>
                <a:gd name="T11" fmla="*/ 166846 h 578710"/>
                <a:gd name="T12" fmla="*/ 113422 w 579692"/>
                <a:gd name="T13" fmla="*/ 187604 h 578710"/>
                <a:gd name="T14" fmla="*/ 74501 w 579692"/>
                <a:gd name="T15" fmla="*/ 184702 h 578710"/>
                <a:gd name="T16" fmla="*/ 26834 w 579692"/>
                <a:gd name="T17" fmla="*/ 160814 h 578710"/>
                <a:gd name="T18" fmla="*/ 38689 w 579692"/>
                <a:gd name="T19" fmla="*/ 187604 h 578710"/>
                <a:gd name="T20" fmla="*/ 26834 w 579692"/>
                <a:gd name="T21" fmla="*/ 160814 h 578710"/>
                <a:gd name="T22" fmla="*/ 8940 w 579692"/>
                <a:gd name="T23" fmla="*/ 142934 h 578710"/>
                <a:gd name="T24" fmla="*/ 131301 w 579692"/>
                <a:gd name="T25" fmla="*/ 140025 h 578710"/>
                <a:gd name="T26" fmla="*/ 95505 w 579692"/>
                <a:gd name="T27" fmla="*/ 131121 h 578710"/>
                <a:gd name="T28" fmla="*/ 53676 w 579692"/>
                <a:gd name="T29" fmla="*/ 131121 h 578710"/>
                <a:gd name="T30" fmla="*/ 41828 w 579692"/>
                <a:gd name="T31" fmla="*/ 131121 h 578710"/>
                <a:gd name="T32" fmla="*/ 149217 w 579692"/>
                <a:gd name="T33" fmla="*/ 133993 h 578710"/>
                <a:gd name="T34" fmla="*/ 178946 w 579692"/>
                <a:gd name="T35" fmla="*/ 127962 h 578710"/>
                <a:gd name="T36" fmla="*/ 119237 w 579692"/>
                <a:gd name="T37" fmla="*/ 122181 h 578710"/>
                <a:gd name="T38" fmla="*/ 77625 w 579692"/>
                <a:gd name="T39" fmla="*/ 119058 h 578710"/>
                <a:gd name="T40" fmla="*/ 53676 w 579692"/>
                <a:gd name="T41" fmla="*/ 119058 h 578710"/>
                <a:gd name="T42" fmla="*/ 29765 w 579692"/>
                <a:gd name="T43" fmla="*/ 125089 h 578710"/>
                <a:gd name="T44" fmla="*/ 14972 w 579692"/>
                <a:gd name="T45" fmla="*/ 119058 h 578710"/>
                <a:gd name="T46" fmla="*/ 131301 w 579692"/>
                <a:gd name="T47" fmla="*/ 110117 h 578710"/>
                <a:gd name="T48" fmla="*/ 89473 w 579692"/>
                <a:gd name="T49" fmla="*/ 107209 h 578710"/>
                <a:gd name="T50" fmla="*/ 77625 w 579692"/>
                <a:gd name="T51" fmla="*/ 107209 h 578710"/>
                <a:gd name="T52" fmla="*/ 41828 w 579692"/>
                <a:gd name="T53" fmla="*/ 113241 h 578710"/>
                <a:gd name="T54" fmla="*/ 155034 w 579692"/>
                <a:gd name="T55" fmla="*/ 110117 h 578710"/>
                <a:gd name="T56" fmla="*/ 143179 w 579692"/>
                <a:gd name="T57" fmla="*/ 148975 h 578710"/>
                <a:gd name="T58" fmla="*/ 125269 w 579692"/>
                <a:gd name="T59" fmla="*/ 98269 h 578710"/>
                <a:gd name="T60" fmla="*/ 113421 w 579692"/>
                <a:gd name="T61" fmla="*/ 98269 h 578710"/>
                <a:gd name="T62" fmla="*/ 77625 w 579692"/>
                <a:gd name="T63" fmla="*/ 101177 h 578710"/>
                <a:gd name="T64" fmla="*/ 47644 w 579692"/>
                <a:gd name="T65" fmla="*/ 101177 h 578710"/>
                <a:gd name="T66" fmla="*/ 14972 w 579692"/>
                <a:gd name="T67" fmla="*/ 89329 h 578710"/>
                <a:gd name="T68" fmla="*/ 125269 w 579692"/>
                <a:gd name="T69" fmla="*/ 86421 h 578710"/>
                <a:gd name="T70" fmla="*/ 113421 w 579692"/>
                <a:gd name="T71" fmla="*/ 86421 h 578710"/>
                <a:gd name="T72" fmla="*/ 77625 w 579692"/>
                <a:gd name="T73" fmla="*/ 89329 h 578710"/>
                <a:gd name="T74" fmla="*/ 47644 w 579692"/>
                <a:gd name="T75" fmla="*/ 89329 h 578710"/>
                <a:gd name="T76" fmla="*/ 167116 w 579692"/>
                <a:gd name="T77" fmla="*/ 95371 h 578710"/>
                <a:gd name="T78" fmla="*/ 137138 w 579692"/>
                <a:gd name="T79" fmla="*/ 80406 h 578710"/>
                <a:gd name="T80" fmla="*/ 95505 w 579692"/>
                <a:gd name="T81" fmla="*/ 77517 h 578710"/>
                <a:gd name="T82" fmla="*/ 59744 w 579692"/>
                <a:gd name="T83" fmla="*/ 71485 h 578710"/>
                <a:gd name="T84" fmla="*/ 29765 w 579692"/>
                <a:gd name="T85" fmla="*/ 71485 h 578710"/>
                <a:gd name="T86" fmla="*/ 6040 w 579692"/>
                <a:gd name="T87" fmla="*/ 71472 h 578710"/>
                <a:gd name="T88" fmla="*/ 176065 w 579692"/>
                <a:gd name="T89" fmla="*/ 67228 h 578710"/>
                <a:gd name="T90" fmla="*/ 77625 w 579692"/>
                <a:gd name="T91" fmla="*/ 65453 h 578710"/>
                <a:gd name="T92" fmla="*/ 47644 w 579692"/>
                <a:gd name="T93" fmla="*/ 65453 h 578710"/>
                <a:gd name="T94" fmla="*/ 71589 w 579692"/>
                <a:gd name="T95" fmla="*/ 148975 h 578710"/>
                <a:gd name="T96" fmla="*/ 146087 w 579692"/>
                <a:gd name="T97" fmla="*/ 50700 h 578710"/>
                <a:gd name="T98" fmla="*/ 41828 w 579692"/>
                <a:gd name="T99" fmla="*/ 53604 h 578710"/>
                <a:gd name="T100" fmla="*/ 23938 w 579692"/>
                <a:gd name="T101" fmla="*/ 148975 h 578710"/>
                <a:gd name="T102" fmla="*/ 29754 w 579692"/>
                <a:gd name="T103" fmla="*/ 41766 h 578710"/>
                <a:gd name="T104" fmla="*/ 99330 w 579692"/>
                <a:gd name="T105" fmla="*/ 33726 h 578710"/>
                <a:gd name="T106" fmla="*/ 47651 w 579692"/>
                <a:gd name="T107" fmla="*/ 11838 h 578710"/>
                <a:gd name="T108" fmla="*/ 85012 w 579692"/>
                <a:gd name="T109" fmla="*/ 14965 h 578710"/>
                <a:gd name="T110" fmla="*/ 95527 w 579692"/>
                <a:gd name="T111" fmla="*/ 40427 h 578710"/>
                <a:gd name="T112" fmla="*/ 128190 w 579692"/>
                <a:gd name="T113" fmla="*/ 62538 h 578710"/>
                <a:gd name="T114" fmla="*/ 140270 w 579692"/>
                <a:gd name="T115" fmla="*/ 62538 h 578710"/>
                <a:gd name="T116" fmla="*/ 163984 w 579692"/>
                <a:gd name="T117" fmla="*/ 62538 h 578710"/>
                <a:gd name="T118" fmla="*/ 161747 w 579692"/>
                <a:gd name="T119" fmla="*/ 75493 h 578710"/>
                <a:gd name="T120" fmla="*/ 190830 w 579692"/>
                <a:gd name="T121" fmla="*/ 151878 h 578710"/>
                <a:gd name="T122" fmla="*/ 0 w 579692"/>
                <a:gd name="T123" fmla="*/ 154782 h 578710"/>
                <a:gd name="T124" fmla="*/ 29754 w 579692"/>
                <a:gd name="T125" fmla="*/ 14518 h 57871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79692" h="578710">
                  <a:moveTo>
                    <a:pt x="498153" y="506823"/>
                  </a:moveTo>
                  <a:cubicBezTo>
                    <a:pt x="488640" y="506823"/>
                    <a:pt x="480486" y="514961"/>
                    <a:pt x="480486" y="524456"/>
                  </a:cubicBezTo>
                  <a:cubicBezTo>
                    <a:pt x="480486" y="529881"/>
                    <a:pt x="476409" y="533950"/>
                    <a:pt x="470973" y="533950"/>
                  </a:cubicBezTo>
                  <a:cubicBezTo>
                    <a:pt x="461460" y="533950"/>
                    <a:pt x="453306" y="542088"/>
                    <a:pt x="453306" y="551583"/>
                  </a:cubicBezTo>
                  <a:lnTo>
                    <a:pt x="552512" y="551583"/>
                  </a:lnTo>
                  <a:cubicBezTo>
                    <a:pt x="552512" y="542088"/>
                    <a:pt x="544358" y="533950"/>
                    <a:pt x="534845" y="533950"/>
                  </a:cubicBezTo>
                  <a:lnTo>
                    <a:pt x="525332" y="533950"/>
                  </a:lnTo>
                  <a:cubicBezTo>
                    <a:pt x="520576" y="533950"/>
                    <a:pt x="516499" y="529881"/>
                    <a:pt x="516499" y="524456"/>
                  </a:cubicBezTo>
                  <a:cubicBezTo>
                    <a:pt x="516499" y="514961"/>
                    <a:pt x="508345" y="506823"/>
                    <a:pt x="498153" y="506823"/>
                  </a:cubicBezTo>
                  <a:close/>
                  <a:moveTo>
                    <a:pt x="290186" y="506823"/>
                  </a:moveTo>
                  <a:cubicBezTo>
                    <a:pt x="279994" y="506823"/>
                    <a:pt x="271840" y="514961"/>
                    <a:pt x="271840" y="524456"/>
                  </a:cubicBezTo>
                  <a:cubicBezTo>
                    <a:pt x="271840" y="529881"/>
                    <a:pt x="267763" y="533950"/>
                    <a:pt x="263007" y="533950"/>
                  </a:cubicBezTo>
                  <a:cubicBezTo>
                    <a:pt x="252814" y="533950"/>
                    <a:pt x="244660" y="542088"/>
                    <a:pt x="244660" y="551583"/>
                  </a:cubicBezTo>
                  <a:lnTo>
                    <a:pt x="344546" y="551583"/>
                  </a:lnTo>
                  <a:cubicBezTo>
                    <a:pt x="344546" y="542088"/>
                    <a:pt x="336392" y="533950"/>
                    <a:pt x="326199" y="533950"/>
                  </a:cubicBezTo>
                  <a:lnTo>
                    <a:pt x="317366" y="533950"/>
                  </a:lnTo>
                  <a:cubicBezTo>
                    <a:pt x="311930" y="533950"/>
                    <a:pt x="307853" y="529881"/>
                    <a:pt x="307853" y="524456"/>
                  </a:cubicBezTo>
                  <a:cubicBezTo>
                    <a:pt x="307853" y="514961"/>
                    <a:pt x="299699" y="506823"/>
                    <a:pt x="290186" y="506823"/>
                  </a:cubicBezTo>
                  <a:close/>
                  <a:moveTo>
                    <a:pt x="81515" y="506823"/>
                  </a:moveTo>
                  <a:cubicBezTo>
                    <a:pt x="71323" y="506823"/>
                    <a:pt x="63169" y="514961"/>
                    <a:pt x="63169" y="524456"/>
                  </a:cubicBezTo>
                  <a:cubicBezTo>
                    <a:pt x="63169" y="529881"/>
                    <a:pt x="59092" y="533950"/>
                    <a:pt x="54336" y="533950"/>
                  </a:cubicBezTo>
                  <a:cubicBezTo>
                    <a:pt x="44143" y="533950"/>
                    <a:pt x="35989" y="542088"/>
                    <a:pt x="35989" y="551583"/>
                  </a:cubicBezTo>
                  <a:lnTo>
                    <a:pt x="135875" y="551583"/>
                  </a:lnTo>
                  <a:cubicBezTo>
                    <a:pt x="135875" y="542088"/>
                    <a:pt x="127721" y="533950"/>
                    <a:pt x="117528" y="533950"/>
                  </a:cubicBezTo>
                  <a:lnTo>
                    <a:pt x="108695" y="533950"/>
                  </a:lnTo>
                  <a:cubicBezTo>
                    <a:pt x="103938" y="533950"/>
                    <a:pt x="99862" y="529881"/>
                    <a:pt x="99862" y="524456"/>
                  </a:cubicBezTo>
                  <a:cubicBezTo>
                    <a:pt x="99862" y="514961"/>
                    <a:pt x="91708" y="506823"/>
                    <a:pt x="81515" y="506823"/>
                  </a:cubicBezTo>
                  <a:close/>
                  <a:moveTo>
                    <a:pt x="562023" y="488512"/>
                  </a:moveTo>
                  <a:lnTo>
                    <a:pt x="579692" y="488512"/>
                  </a:lnTo>
                  <a:lnTo>
                    <a:pt x="579692" y="506835"/>
                  </a:lnTo>
                  <a:lnTo>
                    <a:pt x="562023" y="506835"/>
                  </a:lnTo>
                  <a:lnTo>
                    <a:pt x="562023" y="488512"/>
                  </a:lnTo>
                  <a:close/>
                  <a:moveTo>
                    <a:pt x="498153" y="488512"/>
                  </a:moveTo>
                  <a:cubicBezTo>
                    <a:pt x="515140" y="488512"/>
                    <a:pt x="529409" y="500041"/>
                    <a:pt x="533486" y="515639"/>
                  </a:cubicBezTo>
                  <a:lnTo>
                    <a:pt x="534845" y="515639"/>
                  </a:lnTo>
                  <a:cubicBezTo>
                    <a:pt x="554550" y="515639"/>
                    <a:pt x="570858" y="531916"/>
                    <a:pt x="570858" y="551583"/>
                  </a:cubicBezTo>
                  <a:lnTo>
                    <a:pt x="570858" y="561077"/>
                  </a:lnTo>
                  <a:cubicBezTo>
                    <a:pt x="570858" y="565825"/>
                    <a:pt x="566781" y="569894"/>
                    <a:pt x="562025" y="569894"/>
                  </a:cubicBezTo>
                  <a:lnTo>
                    <a:pt x="552512" y="569894"/>
                  </a:lnTo>
                  <a:lnTo>
                    <a:pt x="552512" y="578710"/>
                  </a:lnTo>
                  <a:lnTo>
                    <a:pt x="534845" y="578710"/>
                  </a:lnTo>
                  <a:lnTo>
                    <a:pt x="534845" y="569894"/>
                  </a:lnTo>
                  <a:lnTo>
                    <a:pt x="470973" y="569894"/>
                  </a:lnTo>
                  <a:lnTo>
                    <a:pt x="470973" y="578710"/>
                  </a:lnTo>
                  <a:lnTo>
                    <a:pt x="453306" y="578710"/>
                  </a:lnTo>
                  <a:lnTo>
                    <a:pt x="453306" y="569894"/>
                  </a:lnTo>
                  <a:lnTo>
                    <a:pt x="443794" y="569894"/>
                  </a:lnTo>
                  <a:cubicBezTo>
                    <a:pt x="439037" y="569894"/>
                    <a:pt x="434960" y="565825"/>
                    <a:pt x="434960" y="561077"/>
                  </a:cubicBezTo>
                  <a:lnTo>
                    <a:pt x="434960" y="551583"/>
                  </a:lnTo>
                  <a:cubicBezTo>
                    <a:pt x="434960" y="534628"/>
                    <a:pt x="447191" y="520386"/>
                    <a:pt x="462819" y="516317"/>
                  </a:cubicBezTo>
                  <a:cubicBezTo>
                    <a:pt x="466896" y="500719"/>
                    <a:pt x="481166" y="488512"/>
                    <a:pt x="498153" y="488512"/>
                  </a:cubicBezTo>
                  <a:close/>
                  <a:moveTo>
                    <a:pt x="362212" y="488512"/>
                  </a:moveTo>
                  <a:lnTo>
                    <a:pt x="434960" y="488512"/>
                  </a:lnTo>
                  <a:lnTo>
                    <a:pt x="434960" y="506835"/>
                  </a:lnTo>
                  <a:lnTo>
                    <a:pt x="362212" y="506835"/>
                  </a:lnTo>
                  <a:lnTo>
                    <a:pt x="362212" y="488512"/>
                  </a:lnTo>
                  <a:close/>
                  <a:moveTo>
                    <a:pt x="290186" y="488512"/>
                  </a:moveTo>
                  <a:cubicBezTo>
                    <a:pt x="306494" y="488512"/>
                    <a:pt x="320763" y="500041"/>
                    <a:pt x="324840" y="515639"/>
                  </a:cubicBezTo>
                  <a:lnTo>
                    <a:pt x="326199" y="515639"/>
                  </a:lnTo>
                  <a:cubicBezTo>
                    <a:pt x="345904" y="515639"/>
                    <a:pt x="362212" y="531916"/>
                    <a:pt x="362212" y="551583"/>
                  </a:cubicBezTo>
                  <a:lnTo>
                    <a:pt x="362212" y="561077"/>
                  </a:lnTo>
                  <a:cubicBezTo>
                    <a:pt x="362212" y="565825"/>
                    <a:pt x="358135" y="569894"/>
                    <a:pt x="353379" y="569894"/>
                  </a:cubicBezTo>
                  <a:lnTo>
                    <a:pt x="344546" y="569894"/>
                  </a:lnTo>
                  <a:lnTo>
                    <a:pt x="344546" y="578710"/>
                  </a:lnTo>
                  <a:lnTo>
                    <a:pt x="326199" y="578710"/>
                  </a:lnTo>
                  <a:lnTo>
                    <a:pt x="326199" y="569894"/>
                  </a:lnTo>
                  <a:lnTo>
                    <a:pt x="263007" y="569894"/>
                  </a:lnTo>
                  <a:lnTo>
                    <a:pt x="263007" y="578710"/>
                  </a:lnTo>
                  <a:lnTo>
                    <a:pt x="244660" y="578710"/>
                  </a:lnTo>
                  <a:lnTo>
                    <a:pt x="244660" y="569894"/>
                  </a:lnTo>
                  <a:lnTo>
                    <a:pt x="235827" y="569894"/>
                  </a:lnTo>
                  <a:cubicBezTo>
                    <a:pt x="230391" y="569894"/>
                    <a:pt x="226314" y="565825"/>
                    <a:pt x="226314" y="561077"/>
                  </a:cubicBezTo>
                  <a:lnTo>
                    <a:pt x="226314" y="551583"/>
                  </a:lnTo>
                  <a:cubicBezTo>
                    <a:pt x="226314" y="534628"/>
                    <a:pt x="238545" y="520386"/>
                    <a:pt x="254853" y="516317"/>
                  </a:cubicBezTo>
                  <a:cubicBezTo>
                    <a:pt x="258250" y="500719"/>
                    <a:pt x="272520" y="488512"/>
                    <a:pt x="290186" y="488512"/>
                  </a:cubicBezTo>
                  <a:close/>
                  <a:moveTo>
                    <a:pt x="154221" y="488512"/>
                  </a:moveTo>
                  <a:lnTo>
                    <a:pt x="226314" y="488512"/>
                  </a:lnTo>
                  <a:lnTo>
                    <a:pt x="226314" y="506835"/>
                  </a:lnTo>
                  <a:lnTo>
                    <a:pt x="154221" y="506835"/>
                  </a:lnTo>
                  <a:lnTo>
                    <a:pt x="154221" y="488512"/>
                  </a:lnTo>
                  <a:close/>
                  <a:moveTo>
                    <a:pt x="81515" y="488512"/>
                  </a:moveTo>
                  <a:cubicBezTo>
                    <a:pt x="98503" y="488512"/>
                    <a:pt x="112772" y="500041"/>
                    <a:pt x="116849" y="515639"/>
                  </a:cubicBezTo>
                  <a:lnTo>
                    <a:pt x="117528" y="515639"/>
                  </a:lnTo>
                  <a:cubicBezTo>
                    <a:pt x="137913" y="515639"/>
                    <a:pt x="154221" y="531916"/>
                    <a:pt x="154221" y="551583"/>
                  </a:cubicBezTo>
                  <a:lnTo>
                    <a:pt x="154221" y="561077"/>
                  </a:lnTo>
                  <a:cubicBezTo>
                    <a:pt x="154221" y="565825"/>
                    <a:pt x="150144" y="569894"/>
                    <a:pt x="144708" y="569894"/>
                  </a:cubicBezTo>
                  <a:lnTo>
                    <a:pt x="135875" y="569894"/>
                  </a:lnTo>
                  <a:lnTo>
                    <a:pt x="135875" y="578710"/>
                  </a:lnTo>
                  <a:lnTo>
                    <a:pt x="117528" y="578710"/>
                  </a:lnTo>
                  <a:lnTo>
                    <a:pt x="117528" y="569894"/>
                  </a:lnTo>
                  <a:lnTo>
                    <a:pt x="54336" y="569894"/>
                  </a:lnTo>
                  <a:lnTo>
                    <a:pt x="54336" y="578710"/>
                  </a:lnTo>
                  <a:lnTo>
                    <a:pt x="35989" y="578710"/>
                  </a:lnTo>
                  <a:lnTo>
                    <a:pt x="35989" y="569894"/>
                  </a:lnTo>
                  <a:lnTo>
                    <a:pt x="27156" y="569894"/>
                  </a:lnTo>
                  <a:cubicBezTo>
                    <a:pt x="22400" y="569894"/>
                    <a:pt x="18323" y="565825"/>
                    <a:pt x="18323" y="561077"/>
                  </a:cubicBezTo>
                  <a:lnTo>
                    <a:pt x="18323" y="551583"/>
                  </a:lnTo>
                  <a:cubicBezTo>
                    <a:pt x="18323" y="534628"/>
                    <a:pt x="29874" y="520386"/>
                    <a:pt x="46182" y="516317"/>
                  </a:cubicBezTo>
                  <a:cubicBezTo>
                    <a:pt x="49579" y="500719"/>
                    <a:pt x="64528" y="488512"/>
                    <a:pt x="81515" y="488512"/>
                  </a:cubicBezTo>
                  <a:close/>
                  <a:moveTo>
                    <a:pt x="0" y="488512"/>
                  </a:moveTo>
                  <a:lnTo>
                    <a:pt x="18323" y="488512"/>
                  </a:lnTo>
                  <a:lnTo>
                    <a:pt x="18323" y="506835"/>
                  </a:lnTo>
                  <a:lnTo>
                    <a:pt x="0" y="506835"/>
                  </a:lnTo>
                  <a:lnTo>
                    <a:pt x="0" y="488512"/>
                  </a:lnTo>
                  <a:close/>
                  <a:moveTo>
                    <a:pt x="27158" y="415873"/>
                  </a:moveTo>
                  <a:lnTo>
                    <a:pt x="45481" y="415873"/>
                  </a:lnTo>
                  <a:lnTo>
                    <a:pt x="45481" y="434196"/>
                  </a:lnTo>
                  <a:lnTo>
                    <a:pt x="27158" y="434196"/>
                  </a:lnTo>
                  <a:lnTo>
                    <a:pt x="27158" y="415873"/>
                  </a:lnTo>
                  <a:close/>
                  <a:moveTo>
                    <a:pt x="525267" y="407038"/>
                  </a:moveTo>
                  <a:lnTo>
                    <a:pt x="543590" y="407038"/>
                  </a:lnTo>
                  <a:lnTo>
                    <a:pt x="543590" y="425361"/>
                  </a:lnTo>
                  <a:lnTo>
                    <a:pt x="525267" y="425361"/>
                  </a:lnTo>
                  <a:lnTo>
                    <a:pt x="525267" y="407038"/>
                  </a:lnTo>
                  <a:close/>
                  <a:moveTo>
                    <a:pt x="380535" y="407038"/>
                  </a:moveTo>
                  <a:lnTo>
                    <a:pt x="398858" y="407038"/>
                  </a:lnTo>
                  <a:lnTo>
                    <a:pt x="398858" y="425361"/>
                  </a:lnTo>
                  <a:lnTo>
                    <a:pt x="380535" y="425361"/>
                  </a:lnTo>
                  <a:lnTo>
                    <a:pt x="380535" y="407038"/>
                  </a:lnTo>
                  <a:close/>
                  <a:moveTo>
                    <a:pt x="344543" y="407038"/>
                  </a:moveTo>
                  <a:lnTo>
                    <a:pt x="362212" y="407038"/>
                  </a:lnTo>
                  <a:lnTo>
                    <a:pt x="362212" y="425361"/>
                  </a:lnTo>
                  <a:lnTo>
                    <a:pt x="344543" y="425361"/>
                  </a:lnTo>
                  <a:lnTo>
                    <a:pt x="344543" y="407038"/>
                  </a:lnTo>
                  <a:close/>
                  <a:moveTo>
                    <a:pt x="271795" y="398313"/>
                  </a:moveTo>
                  <a:lnTo>
                    <a:pt x="290118" y="398313"/>
                  </a:lnTo>
                  <a:lnTo>
                    <a:pt x="290118" y="415873"/>
                  </a:lnTo>
                  <a:lnTo>
                    <a:pt x="271795" y="415873"/>
                  </a:lnTo>
                  <a:lnTo>
                    <a:pt x="271795" y="398313"/>
                  </a:lnTo>
                  <a:close/>
                  <a:moveTo>
                    <a:pt x="235803" y="398313"/>
                  </a:moveTo>
                  <a:lnTo>
                    <a:pt x="253472" y="398313"/>
                  </a:lnTo>
                  <a:lnTo>
                    <a:pt x="253472" y="415873"/>
                  </a:lnTo>
                  <a:lnTo>
                    <a:pt x="235803" y="415873"/>
                  </a:lnTo>
                  <a:lnTo>
                    <a:pt x="235803" y="398313"/>
                  </a:lnTo>
                  <a:close/>
                  <a:moveTo>
                    <a:pt x="163055" y="398313"/>
                  </a:moveTo>
                  <a:lnTo>
                    <a:pt x="181487" y="398313"/>
                  </a:lnTo>
                  <a:lnTo>
                    <a:pt x="181487" y="415873"/>
                  </a:lnTo>
                  <a:lnTo>
                    <a:pt x="163055" y="415873"/>
                  </a:lnTo>
                  <a:lnTo>
                    <a:pt x="163055" y="398313"/>
                  </a:lnTo>
                  <a:close/>
                  <a:moveTo>
                    <a:pt x="127063" y="398313"/>
                  </a:moveTo>
                  <a:lnTo>
                    <a:pt x="144732" y="398313"/>
                  </a:lnTo>
                  <a:lnTo>
                    <a:pt x="144732" y="415873"/>
                  </a:lnTo>
                  <a:lnTo>
                    <a:pt x="127063" y="415873"/>
                  </a:lnTo>
                  <a:lnTo>
                    <a:pt x="127063" y="398313"/>
                  </a:lnTo>
                  <a:close/>
                  <a:moveTo>
                    <a:pt x="90417" y="398313"/>
                  </a:moveTo>
                  <a:lnTo>
                    <a:pt x="108740" y="398313"/>
                  </a:lnTo>
                  <a:lnTo>
                    <a:pt x="108740" y="415873"/>
                  </a:lnTo>
                  <a:lnTo>
                    <a:pt x="90417" y="415873"/>
                  </a:lnTo>
                  <a:lnTo>
                    <a:pt x="90417" y="398313"/>
                  </a:lnTo>
                  <a:close/>
                  <a:moveTo>
                    <a:pt x="453283" y="388715"/>
                  </a:moveTo>
                  <a:lnTo>
                    <a:pt x="470952" y="388715"/>
                  </a:lnTo>
                  <a:lnTo>
                    <a:pt x="470952" y="407038"/>
                  </a:lnTo>
                  <a:lnTo>
                    <a:pt x="453283" y="407038"/>
                  </a:lnTo>
                  <a:lnTo>
                    <a:pt x="453283" y="388715"/>
                  </a:lnTo>
                  <a:close/>
                  <a:moveTo>
                    <a:pt x="27158" y="379990"/>
                  </a:moveTo>
                  <a:lnTo>
                    <a:pt x="45481" y="379990"/>
                  </a:lnTo>
                  <a:lnTo>
                    <a:pt x="45481" y="398313"/>
                  </a:lnTo>
                  <a:lnTo>
                    <a:pt x="27158" y="398313"/>
                  </a:lnTo>
                  <a:lnTo>
                    <a:pt x="27158" y="379990"/>
                  </a:lnTo>
                  <a:close/>
                  <a:moveTo>
                    <a:pt x="525267" y="371155"/>
                  </a:moveTo>
                  <a:lnTo>
                    <a:pt x="543590" y="371155"/>
                  </a:lnTo>
                  <a:lnTo>
                    <a:pt x="543590" y="388715"/>
                  </a:lnTo>
                  <a:lnTo>
                    <a:pt x="525267" y="388715"/>
                  </a:lnTo>
                  <a:lnTo>
                    <a:pt x="525267" y="371155"/>
                  </a:lnTo>
                  <a:close/>
                  <a:moveTo>
                    <a:pt x="380535" y="371155"/>
                  </a:moveTo>
                  <a:lnTo>
                    <a:pt x="398858" y="371155"/>
                  </a:lnTo>
                  <a:lnTo>
                    <a:pt x="398858" y="388715"/>
                  </a:lnTo>
                  <a:lnTo>
                    <a:pt x="380535" y="388715"/>
                  </a:lnTo>
                  <a:lnTo>
                    <a:pt x="380535" y="371155"/>
                  </a:lnTo>
                  <a:close/>
                  <a:moveTo>
                    <a:pt x="344543" y="371155"/>
                  </a:moveTo>
                  <a:lnTo>
                    <a:pt x="362212" y="371155"/>
                  </a:lnTo>
                  <a:lnTo>
                    <a:pt x="362212" y="388715"/>
                  </a:lnTo>
                  <a:lnTo>
                    <a:pt x="344543" y="388715"/>
                  </a:lnTo>
                  <a:lnTo>
                    <a:pt x="344543" y="371155"/>
                  </a:lnTo>
                  <a:close/>
                  <a:moveTo>
                    <a:pt x="271795" y="361666"/>
                  </a:moveTo>
                  <a:lnTo>
                    <a:pt x="290118" y="361666"/>
                  </a:lnTo>
                  <a:lnTo>
                    <a:pt x="290118" y="379989"/>
                  </a:lnTo>
                  <a:lnTo>
                    <a:pt x="271795" y="379989"/>
                  </a:lnTo>
                  <a:lnTo>
                    <a:pt x="271795" y="361666"/>
                  </a:lnTo>
                  <a:close/>
                  <a:moveTo>
                    <a:pt x="235803" y="361666"/>
                  </a:moveTo>
                  <a:lnTo>
                    <a:pt x="253472" y="361666"/>
                  </a:lnTo>
                  <a:lnTo>
                    <a:pt x="253472" y="379989"/>
                  </a:lnTo>
                  <a:lnTo>
                    <a:pt x="235803" y="379989"/>
                  </a:lnTo>
                  <a:lnTo>
                    <a:pt x="235803" y="361666"/>
                  </a:lnTo>
                  <a:close/>
                  <a:moveTo>
                    <a:pt x="163055" y="361666"/>
                  </a:moveTo>
                  <a:lnTo>
                    <a:pt x="181487" y="361666"/>
                  </a:lnTo>
                  <a:lnTo>
                    <a:pt x="181487" y="379989"/>
                  </a:lnTo>
                  <a:lnTo>
                    <a:pt x="163055" y="379989"/>
                  </a:lnTo>
                  <a:lnTo>
                    <a:pt x="163055" y="361666"/>
                  </a:lnTo>
                  <a:close/>
                  <a:moveTo>
                    <a:pt x="127063" y="361666"/>
                  </a:moveTo>
                  <a:lnTo>
                    <a:pt x="144732" y="361666"/>
                  </a:lnTo>
                  <a:lnTo>
                    <a:pt x="144732" y="379989"/>
                  </a:lnTo>
                  <a:lnTo>
                    <a:pt x="127063" y="379989"/>
                  </a:lnTo>
                  <a:lnTo>
                    <a:pt x="127063" y="361666"/>
                  </a:lnTo>
                  <a:close/>
                  <a:moveTo>
                    <a:pt x="90417" y="361666"/>
                  </a:moveTo>
                  <a:lnTo>
                    <a:pt x="108740" y="361666"/>
                  </a:lnTo>
                  <a:lnTo>
                    <a:pt x="108740" y="379989"/>
                  </a:lnTo>
                  <a:lnTo>
                    <a:pt x="90417" y="379989"/>
                  </a:lnTo>
                  <a:lnTo>
                    <a:pt x="90417" y="361666"/>
                  </a:lnTo>
                  <a:close/>
                  <a:moveTo>
                    <a:pt x="453283" y="352832"/>
                  </a:moveTo>
                  <a:lnTo>
                    <a:pt x="470952" y="352832"/>
                  </a:lnTo>
                  <a:lnTo>
                    <a:pt x="470952" y="371155"/>
                  </a:lnTo>
                  <a:lnTo>
                    <a:pt x="453283" y="371155"/>
                  </a:lnTo>
                  <a:lnTo>
                    <a:pt x="453283" y="352832"/>
                  </a:lnTo>
                  <a:close/>
                  <a:moveTo>
                    <a:pt x="27158" y="343998"/>
                  </a:moveTo>
                  <a:lnTo>
                    <a:pt x="45481" y="343998"/>
                  </a:lnTo>
                  <a:lnTo>
                    <a:pt x="45481" y="361667"/>
                  </a:lnTo>
                  <a:lnTo>
                    <a:pt x="27158" y="361667"/>
                  </a:lnTo>
                  <a:lnTo>
                    <a:pt x="27158" y="343998"/>
                  </a:lnTo>
                  <a:close/>
                  <a:moveTo>
                    <a:pt x="525267" y="334509"/>
                  </a:moveTo>
                  <a:lnTo>
                    <a:pt x="543590" y="334509"/>
                  </a:lnTo>
                  <a:lnTo>
                    <a:pt x="543590" y="352832"/>
                  </a:lnTo>
                  <a:lnTo>
                    <a:pt x="525267" y="352832"/>
                  </a:lnTo>
                  <a:lnTo>
                    <a:pt x="525267" y="334509"/>
                  </a:lnTo>
                  <a:close/>
                  <a:moveTo>
                    <a:pt x="380535" y="334509"/>
                  </a:moveTo>
                  <a:lnTo>
                    <a:pt x="398858" y="334509"/>
                  </a:lnTo>
                  <a:lnTo>
                    <a:pt x="398858" y="352832"/>
                  </a:lnTo>
                  <a:lnTo>
                    <a:pt x="380535" y="352832"/>
                  </a:lnTo>
                  <a:lnTo>
                    <a:pt x="380535" y="334509"/>
                  </a:lnTo>
                  <a:close/>
                  <a:moveTo>
                    <a:pt x="344543" y="334509"/>
                  </a:moveTo>
                  <a:lnTo>
                    <a:pt x="362212" y="334509"/>
                  </a:lnTo>
                  <a:lnTo>
                    <a:pt x="362212" y="352832"/>
                  </a:lnTo>
                  <a:lnTo>
                    <a:pt x="344543" y="352832"/>
                  </a:lnTo>
                  <a:lnTo>
                    <a:pt x="344543" y="334509"/>
                  </a:lnTo>
                  <a:close/>
                  <a:moveTo>
                    <a:pt x="271795" y="325674"/>
                  </a:moveTo>
                  <a:lnTo>
                    <a:pt x="290118" y="325674"/>
                  </a:lnTo>
                  <a:lnTo>
                    <a:pt x="290118" y="343997"/>
                  </a:lnTo>
                  <a:lnTo>
                    <a:pt x="271795" y="343997"/>
                  </a:lnTo>
                  <a:lnTo>
                    <a:pt x="271795" y="325674"/>
                  </a:lnTo>
                  <a:close/>
                  <a:moveTo>
                    <a:pt x="235803" y="325674"/>
                  </a:moveTo>
                  <a:lnTo>
                    <a:pt x="253472" y="325674"/>
                  </a:lnTo>
                  <a:lnTo>
                    <a:pt x="253472" y="343997"/>
                  </a:lnTo>
                  <a:lnTo>
                    <a:pt x="235803" y="343997"/>
                  </a:lnTo>
                  <a:lnTo>
                    <a:pt x="235803" y="325674"/>
                  </a:lnTo>
                  <a:close/>
                  <a:moveTo>
                    <a:pt x="163055" y="325674"/>
                  </a:moveTo>
                  <a:lnTo>
                    <a:pt x="181487" y="325674"/>
                  </a:lnTo>
                  <a:lnTo>
                    <a:pt x="181487" y="343997"/>
                  </a:lnTo>
                  <a:lnTo>
                    <a:pt x="163055" y="343997"/>
                  </a:lnTo>
                  <a:lnTo>
                    <a:pt x="163055" y="325674"/>
                  </a:lnTo>
                  <a:close/>
                  <a:moveTo>
                    <a:pt x="127063" y="325674"/>
                  </a:moveTo>
                  <a:lnTo>
                    <a:pt x="144732" y="325674"/>
                  </a:lnTo>
                  <a:lnTo>
                    <a:pt x="144732" y="343997"/>
                  </a:lnTo>
                  <a:lnTo>
                    <a:pt x="127063" y="343997"/>
                  </a:lnTo>
                  <a:lnTo>
                    <a:pt x="127063" y="325674"/>
                  </a:lnTo>
                  <a:close/>
                  <a:moveTo>
                    <a:pt x="90417" y="325674"/>
                  </a:moveTo>
                  <a:lnTo>
                    <a:pt x="108740" y="325674"/>
                  </a:lnTo>
                  <a:lnTo>
                    <a:pt x="108740" y="343997"/>
                  </a:lnTo>
                  <a:lnTo>
                    <a:pt x="90417" y="343997"/>
                  </a:lnTo>
                  <a:lnTo>
                    <a:pt x="90417" y="325674"/>
                  </a:lnTo>
                  <a:close/>
                  <a:moveTo>
                    <a:pt x="453283" y="316840"/>
                  </a:moveTo>
                  <a:lnTo>
                    <a:pt x="470952" y="316840"/>
                  </a:lnTo>
                  <a:lnTo>
                    <a:pt x="470952" y="334509"/>
                  </a:lnTo>
                  <a:lnTo>
                    <a:pt x="453283" y="334509"/>
                  </a:lnTo>
                  <a:lnTo>
                    <a:pt x="453283" y="316840"/>
                  </a:lnTo>
                  <a:close/>
                  <a:moveTo>
                    <a:pt x="27158" y="307351"/>
                  </a:moveTo>
                  <a:lnTo>
                    <a:pt x="45481" y="307351"/>
                  </a:lnTo>
                  <a:lnTo>
                    <a:pt x="45481" y="325674"/>
                  </a:lnTo>
                  <a:lnTo>
                    <a:pt x="27158" y="325674"/>
                  </a:lnTo>
                  <a:lnTo>
                    <a:pt x="27158" y="307351"/>
                  </a:lnTo>
                  <a:close/>
                  <a:moveTo>
                    <a:pt x="434939" y="298532"/>
                  </a:moveTo>
                  <a:lnTo>
                    <a:pt x="434939" y="452547"/>
                  </a:lnTo>
                  <a:lnTo>
                    <a:pt x="489306" y="452547"/>
                  </a:lnTo>
                  <a:lnTo>
                    <a:pt x="489306" y="298532"/>
                  </a:lnTo>
                  <a:lnTo>
                    <a:pt x="434939" y="298532"/>
                  </a:lnTo>
                  <a:close/>
                  <a:moveTo>
                    <a:pt x="525267" y="298517"/>
                  </a:moveTo>
                  <a:lnTo>
                    <a:pt x="543590" y="298517"/>
                  </a:lnTo>
                  <a:lnTo>
                    <a:pt x="543590" y="316840"/>
                  </a:lnTo>
                  <a:lnTo>
                    <a:pt x="525267" y="316840"/>
                  </a:lnTo>
                  <a:lnTo>
                    <a:pt x="525267" y="298517"/>
                  </a:lnTo>
                  <a:close/>
                  <a:moveTo>
                    <a:pt x="380535" y="298517"/>
                  </a:moveTo>
                  <a:lnTo>
                    <a:pt x="398858" y="298517"/>
                  </a:lnTo>
                  <a:lnTo>
                    <a:pt x="398858" y="316840"/>
                  </a:lnTo>
                  <a:lnTo>
                    <a:pt x="380535" y="316840"/>
                  </a:lnTo>
                  <a:lnTo>
                    <a:pt x="380535" y="298517"/>
                  </a:lnTo>
                  <a:close/>
                  <a:moveTo>
                    <a:pt x="344543" y="298517"/>
                  </a:moveTo>
                  <a:lnTo>
                    <a:pt x="362212" y="298517"/>
                  </a:lnTo>
                  <a:lnTo>
                    <a:pt x="362212" y="316840"/>
                  </a:lnTo>
                  <a:lnTo>
                    <a:pt x="344543" y="316840"/>
                  </a:lnTo>
                  <a:lnTo>
                    <a:pt x="344543" y="298517"/>
                  </a:lnTo>
                  <a:close/>
                  <a:moveTo>
                    <a:pt x="271795" y="289682"/>
                  </a:moveTo>
                  <a:lnTo>
                    <a:pt x="290118" y="289682"/>
                  </a:lnTo>
                  <a:lnTo>
                    <a:pt x="290118" y="307351"/>
                  </a:lnTo>
                  <a:lnTo>
                    <a:pt x="271795" y="307351"/>
                  </a:lnTo>
                  <a:lnTo>
                    <a:pt x="271795" y="289682"/>
                  </a:lnTo>
                  <a:close/>
                  <a:moveTo>
                    <a:pt x="235803" y="289682"/>
                  </a:moveTo>
                  <a:lnTo>
                    <a:pt x="253472" y="289682"/>
                  </a:lnTo>
                  <a:lnTo>
                    <a:pt x="253472" y="307351"/>
                  </a:lnTo>
                  <a:lnTo>
                    <a:pt x="235803" y="307351"/>
                  </a:lnTo>
                  <a:lnTo>
                    <a:pt x="235803" y="289682"/>
                  </a:lnTo>
                  <a:close/>
                  <a:moveTo>
                    <a:pt x="163055" y="289682"/>
                  </a:moveTo>
                  <a:lnTo>
                    <a:pt x="181487" y="289682"/>
                  </a:lnTo>
                  <a:lnTo>
                    <a:pt x="181487" y="307351"/>
                  </a:lnTo>
                  <a:lnTo>
                    <a:pt x="163055" y="307351"/>
                  </a:lnTo>
                  <a:lnTo>
                    <a:pt x="163055" y="289682"/>
                  </a:lnTo>
                  <a:close/>
                  <a:moveTo>
                    <a:pt x="127063" y="289682"/>
                  </a:moveTo>
                  <a:lnTo>
                    <a:pt x="144732" y="289682"/>
                  </a:lnTo>
                  <a:lnTo>
                    <a:pt x="144732" y="307351"/>
                  </a:lnTo>
                  <a:lnTo>
                    <a:pt x="127063" y="307351"/>
                  </a:lnTo>
                  <a:lnTo>
                    <a:pt x="127063" y="289682"/>
                  </a:lnTo>
                  <a:close/>
                  <a:moveTo>
                    <a:pt x="90417" y="289682"/>
                  </a:moveTo>
                  <a:lnTo>
                    <a:pt x="108740" y="289682"/>
                  </a:lnTo>
                  <a:lnTo>
                    <a:pt x="108740" y="307351"/>
                  </a:lnTo>
                  <a:lnTo>
                    <a:pt x="90417" y="307351"/>
                  </a:lnTo>
                  <a:lnTo>
                    <a:pt x="90417" y="289682"/>
                  </a:lnTo>
                  <a:close/>
                  <a:moveTo>
                    <a:pt x="27158" y="271359"/>
                  </a:moveTo>
                  <a:lnTo>
                    <a:pt x="45481" y="271359"/>
                  </a:lnTo>
                  <a:lnTo>
                    <a:pt x="45481" y="289682"/>
                  </a:lnTo>
                  <a:lnTo>
                    <a:pt x="27158" y="289682"/>
                  </a:lnTo>
                  <a:lnTo>
                    <a:pt x="27158" y="271359"/>
                  </a:lnTo>
                  <a:close/>
                  <a:moveTo>
                    <a:pt x="525267" y="262524"/>
                  </a:moveTo>
                  <a:lnTo>
                    <a:pt x="543590" y="262524"/>
                  </a:lnTo>
                  <a:lnTo>
                    <a:pt x="543590" y="280193"/>
                  </a:lnTo>
                  <a:lnTo>
                    <a:pt x="525267" y="280193"/>
                  </a:lnTo>
                  <a:lnTo>
                    <a:pt x="525267" y="262524"/>
                  </a:lnTo>
                  <a:close/>
                  <a:moveTo>
                    <a:pt x="380535" y="262524"/>
                  </a:moveTo>
                  <a:lnTo>
                    <a:pt x="398858" y="262524"/>
                  </a:lnTo>
                  <a:lnTo>
                    <a:pt x="398858" y="280193"/>
                  </a:lnTo>
                  <a:lnTo>
                    <a:pt x="380535" y="280193"/>
                  </a:lnTo>
                  <a:lnTo>
                    <a:pt x="380535" y="262524"/>
                  </a:lnTo>
                  <a:close/>
                  <a:moveTo>
                    <a:pt x="344543" y="262524"/>
                  </a:moveTo>
                  <a:lnTo>
                    <a:pt x="362212" y="262524"/>
                  </a:lnTo>
                  <a:lnTo>
                    <a:pt x="362212" y="280193"/>
                  </a:lnTo>
                  <a:lnTo>
                    <a:pt x="344543" y="280193"/>
                  </a:lnTo>
                  <a:lnTo>
                    <a:pt x="344543" y="262524"/>
                  </a:lnTo>
                  <a:close/>
                  <a:moveTo>
                    <a:pt x="271795" y="253036"/>
                  </a:moveTo>
                  <a:lnTo>
                    <a:pt x="290118" y="253036"/>
                  </a:lnTo>
                  <a:lnTo>
                    <a:pt x="290118" y="271359"/>
                  </a:lnTo>
                  <a:lnTo>
                    <a:pt x="271795" y="271359"/>
                  </a:lnTo>
                  <a:lnTo>
                    <a:pt x="271795" y="253036"/>
                  </a:lnTo>
                  <a:close/>
                  <a:moveTo>
                    <a:pt x="235803" y="253036"/>
                  </a:moveTo>
                  <a:lnTo>
                    <a:pt x="253472" y="253036"/>
                  </a:lnTo>
                  <a:lnTo>
                    <a:pt x="253472" y="271359"/>
                  </a:lnTo>
                  <a:lnTo>
                    <a:pt x="235803" y="271359"/>
                  </a:lnTo>
                  <a:lnTo>
                    <a:pt x="235803" y="253036"/>
                  </a:lnTo>
                  <a:close/>
                  <a:moveTo>
                    <a:pt x="163055" y="253036"/>
                  </a:moveTo>
                  <a:lnTo>
                    <a:pt x="181487" y="253036"/>
                  </a:lnTo>
                  <a:lnTo>
                    <a:pt x="181487" y="271359"/>
                  </a:lnTo>
                  <a:lnTo>
                    <a:pt x="163055" y="271359"/>
                  </a:lnTo>
                  <a:lnTo>
                    <a:pt x="163055" y="253036"/>
                  </a:lnTo>
                  <a:close/>
                  <a:moveTo>
                    <a:pt x="127063" y="253036"/>
                  </a:moveTo>
                  <a:lnTo>
                    <a:pt x="144732" y="253036"/>
                  </a:lnTo>
                  <a:lnTo>
                    <a:pt x="144732" y="271359"/>
                  </a:lnTo>
                  <a:lnTo>
                    <a:pt x="127063" y="271359"/>
                  </a:lnTo>
                  <a:lnTo>
                    <a:pt x="127063" y="253036"/>
                  </a:lnTo>
                  <a:close/>
                  <a:moveTo>
                    <a:pt x="90417" y="253036"/>
                  </a:moveTo>
                  <a:lnTo>
                    <a:pt x="108740" y="253036"/>
                  </a:lnTo>
                  <a:lnTo>
                    <a:pt x="108740" y="271359"/>
                  </a:lnTo>
                  <a:lnTo>
                    <a:pt x="90417" y="271359"/>
                  </a:lnTo>
                  <a:lnTo>
                    <a:pt x="90417" y="253036"/>
                  </a:lnTo>
                  <a:close/>
                  <a:moveTo>
                    <a:pt x="507655" y="244254"/>
                  </a:moveTo>
                  <a:lnTo>
                    <a:pt x="507655" y="289712"/>
                  </a:lnTo>
                  <a:lnTo>
                    <a:pt x="507655" y="452547"/>
                  </a:lnTo>
                  <a:lnTo>
                    <a:pt x="562023" y="452547"/>
                  </a:lnTo>
                  <a:lnTo>
                    <a:pt x="562023" y="244254"/>
                  </a:lnTo>
                  <a:lnTo>
                    <a:pt x="507655" y="244254"/>
                  </a:lnTo>
                  <a:close/>
                  <a:moveTo>
                    <a:pt x="326204" y="244254"/>
                  </a:moveTo>
                  <a:lnTo>
                    <a:pt x="326204" y="452547"/>
                  </a:lnTo>
                  <a:lnTo>
                    <a:pt x="416590" y="452547"/>
                  </a:lnTo>
                  <a:lnTo>
                    <a:pt x="416590" y="289712"/>
                  </a:lnTo>
                  <a:lnTo>
                    <a:pt x="416590" y="244254"/>
                  </a:lnTo>
                  <a:lnTo>
                    <a:pt x="326204" y="244254"/>
                  </a:lnTo>
                  <a:close/>
                  <a:moveTo>
                    <a:pt x="27158" y="235476"/>
                  </a:moveTo>
                  <a:lnTo>
                    <a:pt x="45481" y="235476"/>
                  </a:lnTo>
                  <a:lnTo>
                    <a:pt x="45481" y="253036"/>
                  </a:lnTo>
                  <a:lnTo>
                    <a:pt x="27158" y="253036"/>
                  </a:lnTo>
                  <a:lnTo>
                    <a:pt x="27158" y="235476"/>
                  </a:lnTo>
                  <a:close/>
                  <a:moveTo>
                    <a:pt x="271795" y="217153"/>
                  </a:moveTo>
                  <a:lnTo>
                    <a:pt x="290118" y="217153"/>
                  </a:lnTo>
                  <a:lnTo>
                    <a:pt x="290118" y="235476"/>
                  </a:lnTo>
                  <a:lnTo>
                    <a:pt x="271795" y="235476"/>
                  </a:lnTo>
                  <a:lnTo>
                    <a:pt x="271795" y="217153"/>
                  </a:lnTo>
                  <a:close/>
                  <a:moveTo>
                    <a:pt x="235803" y="217153"/>
                  </a:moveTo>
                  <a:lnTo>
                    <a:pt x="253472" y="217153"/>
                  </a:lnTo>
                  <a:lnTo>
                    <a:pt x="253472" y="235476"/>
                  </a:lnTo>
                  <a:lnTo>
                    <a:pt x="235803" y="235476"/>
                  </a:lnTo>
                  <a:lnTo>
                    <a:pt x="235803" y="217153"/>
                  </a:lnTo>
                  <a:close/>
                  <a:moveTo>
                    <a:pt x="163055" y="217153"/>
                  </a:moveTo>
                  <a:lnTo>
                    <a:pt x="181487" y="217153"/>
                  </a:lnTo>
                  <a:lnTo>
                    <a:pt x="181487" y="235476"/>
                  </a:lnTo>
                  <a:lnTo>
                    <a:pt x="163055" y="235476"/>
                  </a:lnTo>
                  <a:lnTo>
                    <a:pt x="163055" y="217153"/>
                  </a:lnTo>
                  <a:close/>
                  <a:moveTo>
                    <a:pt x="127063" y="217153"/>
                  </a:moveTo>
                  <a:lnTo>
                    <a:pt x="144732" y="217153"/>
                  </a:lnTo>
                  <a:lnTo>
                    <a:pt x="144732" y="235476"/>
                  </a:lnTo>
                  <a:lnTo>
                    <a:pt x="127063" y="235476"/>
                  </a:lnTo>
                  <a:lnTo>
                    <a:pt x="127063" y="217153"/>
                  </a:lnTo>
                  <a:close/>
                  <a:moveTo>
                    <a:pt x="90417" y="217153"/>
                  </a:moveTo>
                  <a:lnTo>
                    <a:pt x="108740" y="217153"/>
                  </a:lnTo>
                  <a:lnTo>
                    <a:pt x="108740" y="235476"/>
                  </a:lnTo>
                  <a:lnTo>
                    <a:pt x="90417" y="235476"/>
                  </a:lnTo>
                  <a:lnTo>
                    <a:pt x="90417" y="217153"/>
                  </a:lnTo>
                  <a:close/>
                  <a:moveTo>
                    <a:pt x="18349" y="217114"/>
                  </a:moveTo>
                  <a:lnTo>
                    <a:pt x="18349" y="452547"/>
                  </a:lnTo>
                  <a:lnTo>
                    <a:pt x="54367" y="452547"/>
                  </a:lnTo>
                  <a:lnTo>
                    <a:pt x="54367" y="217114"/>
                  </a:lnTo>
                  <a:lnTo>
                    <a:pt x="18349" y="217114"/>
                  </a:lnTo>
                  <a:close/>
                  <a:moveTo>
                    <a:pt x="362223" y="208294"/>
                  </a:moveTo>
                  <a:lnTo>
                    <a:pt x="362223" y="225934"/>
                  </a:lnTo>
                  <a:lnTo>
                    <a:pt x="380572" y="225934"/>
                  </a:lnTo>
                  <a:lnTo>
                    <a:pt x="380572" y="208294"/>
                  </a:lnTo>
                  <a:lnTo>
                    <a:pt x="362223" y="208294"/>
                  </a:lnTo>
                  <a:close/>
                  <a:moveTo>
                    <a:pt x="534839" y="204223"/>
                  </a:moveTo>
                  <a:lnTo>
                    <a:pt x="517170" y="225934"/>
                  </a:lnTo>
                  <a:lnTo>
                    <a:pt x="551829" y="225934"/>
                  </a:lnTo>
                  <a:lnTo>
                    <a:pt x="534839" y="204223"/>
                  </a:lnTo>
                  <a:close/>
                  <a:moveTo>
                    <a:pt x="271795" y="181160"/>
                  </a:moveTo>
                  <a:lnTo>
                    <a:pt x="290118" y="181160"/>
                  </a:lnTo>
                  <a:lnTo>
                    <a:pt x="290118" y="198829"/>
                  </a:lnTo>
                  <a:lnTo>
                    <a:pt x="271795" y="198829"/>
                  </a:lnTo>
                  <a:lnTo>
                    <a:pt x="271795" y="181160"/>
                  </a:lnTo>
                  <a:close/>
                  <a:moveTo>
                    <a:pt x="235803" y="181160"/>
                  </a:moveTo>
                  <a:lnTo>
                    <a:pt x="253472" y="181160"/>
                  </a:lnTo>
                  <a:lnTo>
                    <a:pt x="253472" y="198829"/>
                  </a:lnTo>
                  <a:lnTo>
                    <a:pt x="235803" y="198829"/>
                  </a:lnTo>
                  <a:lnTo>
                    <a:pt x="235803" y="181160"/>
                  </a:lnTo>
                  <a:close/>
                  <a:moveTo>
                    <a:pt x="163055" y="181160"/>
                  </a:moveTo>
                  <a:lnTo>
                    <a:pt x="181487" y="181160"/>
                  </a:lnTo>
                  <a:lnTo>
                    <a:pt x="181487" y="198829"/>
                  </a:lnTo>
                  <a:lnTo>
                    <a:pt x="163055" y="198829"/>
                  </a:lnTo>
                  <a:lnTo>
                    <a:pt x="163055" y="181160"/>
                  </a:lnTo>
                  <a:close/>
                  <a:moveTo>
                    <a:pt x="127063" y="181160"/>
                  </a:moveTo>
                  <a:lnTo>
                    <a:pt x="144732" y="181160"/>
                  </a:lnTo>
                  <a:lnTo>
                    <a:pt x="144732" y="198829"/>
                  </a:lnTo>
                  <a:lnTo>
                    <a:pt x="127063" y="198829"/>
                  </a:lnTo>
                  <a:lnTo>
                    <a:pt x="127063" y="181160"/>
                  </a:lnTo>
                  <a:close/>
                  <a:moveTo>
                    <a:pt x="90417" y="181160"/>
                  </a:moveTo>
                  <a:lnTo>
                    <a:pt x="108740" y="181160"/>
                  </a:lnTo>
                  <a:lnTo>
                    <a:pt x="108740" y="198829"/>
                  </a:lnTo>
                  <a:lnTo>
                    <a:pt x="90417" y="198829"/>
                  </a:lnTo>
                  <a:lnTo>
                    <a:pt x="90417" y="181160"/>
                  </a:lnTo>
                  <a:close/>
                  <a:moveTo>
                    <a:pt x="217470" y="162836"/>
                  </a:moveTo>
                  <a:lnTo>
                    <a:pt x="217470" y="452547"/>
                  </a:lnTo>
                  <a:lnTo>
                    <a:pt x="307855" y="452547"/>
                  </a:lnTo>
                  <a:lnTo>
                    <a:pt x="307855" y="235433"/>
                  </a:lnTo>
                  <a:lnTo>
                    <a:pt x="307855" y="162836"/>
                  </a:lnTo>
                  <a:lnTo>
                    <a:pt x="217470" y="162836"/>
                  </a:lnTo>
                  <a:close/>
                  <a:moveTo>
                    <a:pt x="443774" y="154015"/>
                  </a:moveTo>
                  <a:lnTo>
                    <a:pt x="443774" y="181155"/>
                  </a:lnTo>
                  <a:lnTo>
                    <a:pt x="480472" y="181155"/>
                  </a:lnTo>
                  <a:lnTo>
                    <a:pt x="480472" y="154015"/>
                  </a:lnTo>
                  <a:lnTo>
                    <a:pt x="443774" y="154015"/>
                  </a:lnTo>
                  <a:close/>
                  <a:moveTo>
                    <a:pt x="163055" y="144514"/>
                  </a:moveTo>
                  <a:lnTo>
                    <a:pt x="181487" y="144514"/>
                  </a:lnTo>
                  <a:lnTo>
                    <a:pt x="181487" y="162837"/>
                  </a:lnTo>
                  <a:lnTo>
                    <a:pt x="163055" y="162837"/>
                  </a:lnTo>
                  <a:lnTo>
                    <a:pt x="163055" y="144514"/>
                  </a:lnTo>
                  <a:close/>
                  <a:moveTo>
                    <a:pt x="127063" y="144514"/>
                  </a:moveTo>
                  <a:lnTo>
                    <a:pt x="144732" y="144514"/>
                  </a:lnTo>
                  <a:lnTo>
                    <a:pt x="144732" y="162837"/>
                  </a:lnTo>
                  <a:lnTo>
                    <a:pt x="127063" y="162837"/>
                  </a:lnTo>
                  <a:lnTo>
                    <a:pt x="127063" y="144514"/>
                  </a:lnTo>
                  <a:close/>
                  <a:moveTo>
                    <a:pt x="90417" y="144514"/>
                  </a:moveTo>
                  <a:lnTo>
                    <a:pt x="108740" y="144514"/>
                  </a:lnTo>
                  <a:lnTo>
                    <a:pt x="108740" y="162837"/>
                  </a:lnTo>
                  <a:lnTo>
                    <a:pt x="90417" y="162837"/>
                  </a:lnTo>
                  <a:lnTo>
                    <a:pt x="90417" y="144514"/>
                  </a:lnTo>
                  <a:close/>
                  <a:moveTo>
                    <a:pt x="72716" y="126876"/>
                  </a:moveTo>
                  <a:lnTo>
                    <a:pt x="72716" y="208294"/>
                  </a:lnTo>
                  <a:lnTo>
                    <a:pt x="72716" y="452547"/>
                  </a:lnTo>
                  <a:lnTo>
                    <a:pt x="127084" y="452547"/>
                  </a:lnTo>
                  <a:lnTo>
                    <a:pt x="127084" y="434228"/>
                  </a:lnTo>
                  <a:lnTo>
                    <a:pt x="144753" y="434228"/>
                  </a:lnTo>
                  <a:lnTo>
                    <a:pt x="144753" y="452547"/>
                  </a:lnTo>
                  <a:lnTo>
                    <a:pt x="199121" y="452547"/>
                  </a:lnTo>
                  <a:lnTo>
                    <a:pt x="199121" y="154015"/>
                  </a:lnTo>
                  <a:lnTo>
                    <a:pt x="199121" y="126876"/>
                  </a:lnTo>
                  <a:lnTo>
                    <a:pt x="181451" y="126876"/>
                  </a:lnTo>
                  <a:lnTo>
                    <a:pt x="90385" y="126876"/>
                  </a:lnTo>
                  <a:lnTo>
                    <a:pt x="72716" y="126876"/>
                  </a:lnTo>
                  <a:close/>
                  <a:moveTo>
                    <a:pt x="117574" y="72639"/>
                  </a:moveTo>
                  <a:lnTo>
                    <a:pt x="154221" y="72639"/>
                  </a:lnTo>
                  <a:lnTo>
                    <a:pt x="154221" y="90199"/>
                  </a:lnTo>
                  <a:lnTo>
                    <a:pt x="117574" y="90199"/>
                  </a:lnTo>
                  <a:lnTo>
                    <a:pt x="117574" y="72639"/>
                  </a:lnTo>
                  <a:close/>
                  <a:moveTo>
                    <a:pt x="265721" y="65813"/>
                  </a:moveTo>
                  <a:cubicBezTo>
                    <a:pt x="260284" y="75990"/>
                    <a:pt x="262323" y="88203"/>
                    <a:pt x="270478" y="97023"/>
                  </a:cubicBezTo>
                  <a:cubicBezTo>
                    <a:pt x="279313" y="105165"/>
                    <a:pt x="291545" y="107200"/>
                    <a:pt x="301739" y="102451"/>
                  </a:cubicBezTo>
                  <a:lnTo>
                    <a:pt x="265721" y="65813"/>
                  </a:lnTo>
                  <a:close/>
                  <a:moveTo>
                    <a:pt x="107375" y="54279"/>
                  </a:moveTo>
                  <a:lnTo>
                    <a:pt x="100579" y="108557"/>
                  </a:lnTo>
                  <a:lnTo>
                    <a:pt x="171257" y="108557"/>
                  </a:lnTo>
                  <a:lnTo>
                    <a:pt x="164462" y="54279"/>
                  </a:lnTo>
                  <a:lnTo>
                    <a:pt x="107375" y="54279"/>
                  </a:lnTo>
                  <a:close/>
                  <a:moveTo>
                    <a:pt x="127084" y="0"/>
                  </a:moveTo>
                  <a:lnTo>
                    <a:pt x="144753" y="0"/>
                  </a:lnTo>
                  <a:lnTo>
                    <a:pt x="144753" y="35960"/>
                  </a:lnTo>
                  <a:lnTo>
                    <a:pt x="171937" y="35960"/>
                  </a:lnTo>
                  <a:cubicBezTo>
                    <a:pt x="176694" y="35960"/>
                    <a:pt x="180772" y="39352"/>
                    <a:pt x="181451" y="44101"/>
                  </a:cubicBezTo>
                  <a:lnTo>
                    <a:pt x="188927" y="108557"/>
                  </a:lnTo>
                  <a:lnTo>
                    <a:pt x="208635" y="108557"/>
                  </a:lnTo>
                  <a:cubicBezTo>
                    <a:pt x="213392" y="108557"/>
                    <a:pt x="217470" y="112628"/>
                    <a:pt x="217470" y="117377"/>
                  </a:cubicBezTo>
                  <a:lnTo>
                    <a:pt x="217470" y="144517"/>
                  </a:lnTo>
                  <a:lnTo>
                    <a:pt x="253488" y="144517"/>
                  </a:lnTo>
                  <a:lnTo>
                    <a:pt x="253488" y="104486"/>
                  </a:lnTo>
                  <a:cubicBezTo>
                    <a:pt x="240576" y="86846"/>
                    <a:pt x="241935" y="61742"/>
                    <a:pt x="258245" y="45458"/>
                  </a:cubicBezTo>
                  <a:cubicBezTo>
                    <a:pt x="261643" y="42066"/>
                    <a:pt x="267080" y="42066"/>
                    <a:pt x="270478" y="45458"/>
                  </a:cubicBezTo>
                  <a:lnTo>
                    <a:pt x="291545" y="66491"/>
                  </a:lnTo>
                  <a:lnTo>
                    <a:pt x="310574" y="48172"/>
                  </a:lnTo>
                  <a:lnTo>
                    <a:pt x="323486" y="60385"/>
                  </a:lnTo>
                  <a:lnTo>
                    <a:pt x="304457" y="79382"/>
                  </a:lnTo>
                  <a:lnTo>
                    <a:pt x="322127" y="97023"/>
                  </a:lnTo>
                  <a:cubicBezTo>
                    <a:pt x="323486" y="98380"/>
                    <a:pt x="324845" y="101094"/>
                    <a:pt x="324845" y="103129"/>
                  </a:cubicBezTo>
                  <a:cubicBezTo>
                    <a:pt x="324845" y="105843"/>
                    <a:pt x="323486" y="107879"/>
                    <a:pt x="322127" y="109914"/>
                  </a:cubicBezTo>
                  <a:cubicBezTo>
                    <a:pt x="313292" y="118734"/>
                    <a:pt x="301739" y="122805"/>
                    <a:pt x="290186" y="122805"/>
                  </a:cubicBezTo>
                  <a:cubicBezTo>
                    <a:pt x="284070" y="122805"/>
                    <a:pt x="277274" y="121448"/>
                    <a:pt x="271837" y="118734"/>
                  </a:cubicBezTo>
                  <a:lnTo>
                    <a:pt x="271837" y="144517"/>
                  </a:lnTo>
                  <a:lnTo>
                    <a:pt x="317370" y="144517"/>
                  </a:lnTo>
                  <a:cubicBezTo>
                    <a:pt x="322127" y="144517"/>
                    <a:pt x="326204" y="148588"/>
                    <a:pt x="326204" y="154015"/>
                  </a:cubicBezTo>
                  <a:lnTo>
                    <a:pt x="326204" y="225934"/>
                  </a:lnTo>
                  <a:lnTo>
                    <a:pt x="344553" y="225934"/>
                  </a:lnTo>
                  <a:lnTo>
                    <a:pt x="344553" y="198795"/>
                  </a:lnTo>
                  <a:cubicBezTo>
                    <a:pt x="344553" y="194046"/>
                    <a:pt x="348631" y="189975"/>
                    <a:pt x="353388" y="189975"/>
                  </a:cubicBezTo>
                  <a:lnTo>
                    <a:pt x="389406" y="189975"/>
                  </a:lnTo>
                  <a:cubicBezTo>
                    <a:pt x="394843" y="189975"/>
                    <a:pt x="398921" y="194046"/>
                    <a:pt x="398921" y="198795"/>
                  </a:cubicBezTo>
                  <a:lnTo>
                    <a:pt x="398921" y="225934"/>
                  </a:lnTo>
                  <a:lnTo>
                    <a:pt x="426104" y="225934"/>
                  </a:lnTo>
                  <a:cubicBezTo>
                    <a:pt x="430862" y="225934"/>
                    <a:pt x="434939" y="230005"/>
                    <a:pt x="434939" y="235433"/>
                  </a:cubicBezTo>
                  <a:lnTo>
                    <a:pt x="434939" y="280213"/>
                  </a:lnTo>
                  <a:lnTo>
                    <a:pt x="453288" y="280213"/>
                  </a:lnTo>
                  <a:lnTo>
                    <a:pt x="453288" y="198795"/>
                  </a:lnTo>
                  <a:lnTo>
                    <a:pt x="434939" y="198795"/>
                  </a:lnTo>
                  <a:cubicBezTo>
                    <a:pt x="430182" y="198795"/>
                    <a:pt x="426104" y="194724"/>
                    <a:pt x="426104" y="189975"/>
                  </a:cubicBezTo>
                  <a:lnTo>
                    <a:pt x="426104" y="144517"/>
                  </a:lnTo>
                  <a:cubicBezTo>
                    <a:pt x="426104" y="139767"/>
                    <a:pt x="430182" y="135696"/>
                    <a:pt x="434939" y="135696"/>
                  </a:cubicBezTo>
                  <a:lnTo>
                    <a:pt x="453288" y="135696"/>
                  </a:lnTo>
                  <a:lnTo>
                    <a:pt x="453288" y="117377"/>
                  </a:lnTo>
                  <a:lnTo>
                    <a:pt x="470958" y="117377"/>
                  </a:lnTo>
                  <a:lnTo>
                    <a:pt x="470958" y="135696"/>
                  </a:lnTo>
                  <a:lnTo>
                    <a:pt x="489306" y="135696"/>
                  </a:lnTo>
                  <a:cubicBezTo>
                    <a:pt x="494064" y="135696"/>
                    <a:pt x="498141" y="139767"/>
                    <a:pt x="498141" y="144517"/>
                  </a:cubicBezTo>
                  <a:lnTo>
                    <a:pt x="498141" y="189975"/>
                  </a:lnTo>
                  <a:cubicBezTo>
                    <a:pt x="498141" y="194724"/>
                    <a:pt x="494064" y="198795"/>
                    <a:pt x="489306" y="198795"/>
                  </a:cubicBezTo>
                  <a:lnTo>
                    <a:pt x="470958" y="198795"/>
                  </a:lnTo>
                  <a:lnTo>
                    <a:pt x="470958" y="280213"/>
                  </a:lnTo>
                  <a:lnTo>
                    <a:pt x="489306" y="280213"/>
                  </a:lnTo>
                  <a:lnTo>
                    <a:pt x="489306" y="235433"/>
                  </a:lnTo>
                  <a:cubicBezTo>
                    <a:pt x="489306" y="234755"/>
                    <a:pt x="489306" y="234755"/>
                    <a:pt x="489306" y="234755"/>
                  </a:cubicBezTo>
                  <a:cubicBezTo>
                    <a:pt x="489306" y="234076"/>
                    <a:pt x="489306" y="232719"/>
                    <a:pt x="489986" y="232041"/>
                  </a:cubicBezTo>
                  <a:cubicBezTo>
                    <a:pt x="489986" y="231362"/>
                    <a:pt x="489986" y="231362"/>
                    <a:pt x="489986" y="231362"/>
                  </a:cubicBezTo>
                  <a:cubicBezTo>
                    <a:pt x="490666" y="230684"/>
                    <a:pt x="490666" y="230005"/>
                    <a:pt x="491345" y="229327"/>
                  </a:cubicBezTo>
                  <a:lnTo>
                    <a:pt x="527364" y="184547"/>
                  </a:lnTo>
                  <a:cubicBezTo>
                    <a:pt x="530762" y="179798"/>
                    <a:pt x="538237" y="179798"/>
                    <a:pt x="541635" y="184547"/>
                  </a:cubicBezTo>
                  <a:lnTo>
                    <a:pt x="577653" y="229327"/>
                  </a:lnTo>
                  <a:cubicBezTo>
                    <a:pt x="578333" y="230005"/>
                    <a:pt x="579013" y="230684"/>
                    <a:pt x="579013" y="231362"/>
                  </a:cubicBezTo>
                  <a:cubicBezTo>
                    <a:pt x="579013" y="231362"/>
                    <a:pt x="579013" y="231362"/>
                    <a:pt x="579013" y="232041"/>
                  </a:cubicBezTo>
                  <a:cubicBezTo>
                    <a:pt x="579692" y="232719"/>
                    <a:pt x="579692" y="234076"/>
                    <a:pt x="579692" y="234755"/>
                  </a:cubicBezTo>
                  <a:cubicBezTo>
                    <a:pt x="579692" y="234755"/>
                    <a:pt x="579692" y="234755"/>
                    <a:pt x="579692" y="235433"/>
                  </a:cubicBezTo>
                  <a:lnTo>
                    <a:pt x="579692" y="452547"/>
                  </a:lnTo>
                  <a:lnTo>
                    <a:pt x="579692" y="461368"/>
                  </a:lnTo>
                  <a:lnTo>
                    <a:pt x="579692" y="470188"/>
                  </a:lnTo>
                  <a:lnTo>
                    <a:pt x="570858" y="470188"/>
                  </a:lnTo>
                  <a:lnTo>
                    <a:pt x="498141" y="470188"/>
                  </a:lnTo>
                  <a:lnTo>
                    <a:pt x="426104" y="470188"/>
                  </a:lnTo>
                  <a:lnTo>
                    <a:pt x="317370" y="470188"/>
                  </a:lnTo>
                  <a:lnTo>
                    <a:pt x="208635" y="470188"/>
                  </a:lnTo>
                  <a:lnTo>
                    <a:pt x="63202" y="470188"/>
                  </a:lnTo>
                  <a:lnTo>
                    <a:pt x="8834" y="470188"/>
                  </a:lnTo>
                  <a:lnTo>
                    <a:pt x="0" y="470188"/>
                  </a:lnTo>
                  <a:lnTo>
                    <a:pt x="0" y="461368"/>
                  </a:lnTo>
                  <a:lnTo>
                    <a:pt x="0" y="452547"/>
                  </a:lnTo>
                  <a:lnTo>
                    <a:pt x="0" y="208294"/>
                  </a:lnTo>
                  <a:cubicBezTo>
                    <a:pt x="0" y="202866"/>
                    <a:pt x="4077" y="198795"/>
                    <a:pt x="8834" y="198795"/>
                  </a:cubicBezTo>
                  <a:lnTo>
                    <a:pt x="54367" y="198795"/>
                  </a:lnTo>
                  <a:lnTo>
                    <a:pt x="54367" y="117377"/>
                  </a:lnTo>
                  <a:cubicBezTo>
                    <a:pt x="54367" y="112628"/>
                    <a:pt x="58445" y="108557"/>
                    <a:pt x="63202" y="108557"/>
                  </a:cubicBezTo>
                  <a:lnTo>
                    <a:pt x="82910" y="108557"/>
                  </a:lnTo>
                  <a:lnTo>
                    <a:pt x="90385" y="44101"/>
                  </a:lnTo>
                  <a:cubicBezTo>
                    <a:pt x="91065" y="39352"/>
                    <a:pt x="95143" y="35960"/>
                    <a:pt x="99900" y="35960"/>
                  </a:cubicBezTo>
                  <a:lnTo>
                    <a:pt x="127084" y="35960"/>
                  </a:lnTo>
                  <a:lnTo>
                    <a:pt x="127084" y="0"/>
                  </a:lnTo>
                  <a:close/>
                </a:path>
              </a:pathLst>
            </a:custGeom>
            <a:solidFill>
              <a:srgbClr val="0A0A0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5177" name="Расширение  маршрутной  сети"/>
            <p:cNvSpPr txBox="1">
              <a:spLocks noChangeArrowheads="1"/>
            </p:cNvSpPr>
            <p:nvPr/>
          </p:nvSpPr>
          <p:spPr bwMode="auto">
            <a:xfrm>
              <a:off x="482157" y="1142031"/>
              <a:ext cx="2293401" cy="271465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eaLnBrk="1" hangingPunct="1">
                <a:lnSpc>
                  <a:spcPct val="80000"/>
                </a:lnSpc>
              </a:pPr>
              <a:r>
                <a:rPr lang="ru-RU" altLang="ru-RU" sz="1100" b="1" dirty="0">
                  <a:solidFill>
                    <a:srgbClr val="206689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Развитие Агломерации </a:t>
              </a:r>
              <a: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/>
              </a:r>
              <a:b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</a:br>
              <a:r>
                <a:rPr lang="ru-RU" altLang="ru-RU" sz="1100" dirty="0">
                  <a:latin typeface="Verdana" pitchFamily="34" charset="0"/>
                  <a:ea typeface="Verdana" pitchFamily="34" charset="0"/>
                  <a:cs typeface="Verdana" pitchFamily="34" charset="0"/>
                  <a:sym typeface="PT Sans"/>
                </a:rPr>
                <a:t>«Городская электричка»</a:t>
              </a:r>
            </a:p>
          </p:txBody>
        </p:sp>
      </p:grpSp>
      <p:cxnSp>
        <p:nvCxnSpPr>
          <p:cNvPr id="8" name="Прямая соединительная линия 7"/>
          <p:cNvCxnSpPr>
            <a:cxnSpLocks/>
          </p:cNvCxnSpPr>
          <p:nvPr/>
        </p:nvCxnSpPr>
        <p:spPr>
          <a:xfrm flipH="1">
            <a:off x="2436813" y="1709738"/>
            <a:ext cx="3813175" cy="0"/>
          </a:xfrm>
          <a:prstGeom prst="line">
            <a:avLst/>
          </a:prstGeom>
          <a:ln w="15875">
            <a:solidFill>
              <a:srgbClr val="6478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>
            <a:cxnSpLocks/>
          </p:cNvCxnSpPr>
          <p:nvPr/>
        </p:nvCxnSpPr>
        <p:spPr>
          <a:xfrm flipV="1">
            <a:off x="2436813" y="1516400"/>
            <a:ext cx="0" cy="385763"/>
          </a:xfrm>
          <a:prstGeom prst="line">
            <a:avLst/>
          </a:prstGeom>
          <a:ln w="15875">
            <a:solidFill>
              <a:srgbClr val="64788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вал 2"/>
          <p:cNvSpPr/>
          <p:nvPr/>
        </p:nvSpPr>
        <p:spPr>
          <a:xfrm>
            <a:off x="6210300" y="979488"/>
            <a:ext cx="1970088" cy="1970087"/>
          </a:xfrm>
          <a:prstGeom prst="ellipse">
            <a:avLst/>
          </a:prstGeom>
          <a:solidFill>
            <a:srgbClr val="647888">
              <a:alpha val="55000"/>
            </a:srgbClr>
          </a:solidFill>
          <a:ln>
            <a:solidFill>
              <a:srgbClr val="647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4" name="Рисунок 3" descr="Поезд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6363" y="1311275"/>
            <a:ext cx="234950" cy="234950"/>
          </a:xfrm>
          <a:prstGeom prst="rect">
            <a:avLst/>
          </a:prstGeom>
        </p:spPr>
      </p:pic>
      <p:sp>
        <p:nvSpPr>
          <p:cNvPr id="5175" name="TextBox 5"/>
          <p:cNvSpPr txBox="1">
            <a:spLocks noChangeArrowheads="1"/>
          </p:cNvSpPr>
          <p:nvPr/>
        </p:nvSpPr>
        <p:spPr bwMode="auto">
          <a:xfrm>
            <a:off x="6551613" y="1317625"/>
            <a:ext cx="1806575" cy="153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Городская электричка:</a:t>
            </a:r>
          </a:p>
          <a:p>
            <a:endParaRPr lang="ru-RU" sz="8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10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2</a:t>
            </a:r>
            <a:r>
              <a:rPr lang="ru-RU" sz="10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городов проект реализован</a:t>
            </a:r>
          </a:p>
          <a:p>
            <a:endParaRPr lang="ru-RU" sz="8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10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4</a:t>
            </a:r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 городов </a:t>
            </a:r>
            <a:endParaRPr lang="en-US" sz="8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перспективные проекты</a:t>
            </a:r>
          </a:p>
          <a:p>
            <a:endParaRPr lang="ru-RU" sz="8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10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+</a:t>
            </a:r>
            <a:r>
              <a:rPr lang="ru-RU" sz="1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3,9</a:t>
            </a:r>
            <a:r>
              <a:rPr lang="ru-RU" sz="8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% </a:t>
            </a:r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рост пассажиропотока </a:t>
            </a:r>
            <a:endParaRPr lang="en-US" sz="8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после ввода</a:t>
            </a:r>
          </a:p>
        </p:txBody>
      </p:sp>
      <p:sp>
        <p:nvSpPr>
          <p:cNvPr id="91" name="TextBox 141"/>
          <p:cNvSpPr txBox="1">
            <a:spLocks noChangeArrowheads="1"/>
          </p:cNvSpPr>
          <p:nvPr/>
        </p:nvSpPr>
        <p:spPr bwMode="auto">
          <a:xfrm>
            <a:off x="2703445" y="778797"/>
            <a:ext cx="646904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1100" b="1" dirty="0">
                <a:solidFill>
                  <a:schemeClr val="tx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Рост пассажиропотока после обновления подвижного состава на маршрутах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143130" y="123478"/>
            <a:ext cx="9000870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игородные перевозки – драйвер развития регионов</a:t>
            </a:r>
            <a:endParaRPr lang="ru-RU" sz="1600" dirty="0">
              <a:solidFill>
                <a:schemeClr val="tx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8" name="Номер слайда 2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0" y="4889500"/>
            <a:ext cx="481012" cy="254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ctr"/>
            <a:fld id="{5C94280A-EDA5-4CE9-9DCF-B5C8B1E04FAC}" type="slidenum">
              <a:rPr lang="ru-RU" altLang="ru-RU"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 algn="ctr"/>
              <a:t>4</a:t>
            </a:fld>
            <a:endParaRPr lang="ru-RU" altLang="ru-RU" sz="6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7247601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766978" name="think-cell Slide" r:id="rId33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3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29" name="Straight Connector 28"/>
          <p:cNvCxnSpPr/>
          <p:nvPr>
            <p:custDataLst>
              <p:tags r:id="rId3"/>
            </p:custDataLst>
          </p:nvPr>
        </p:nvCxnSpPr>
        <p:spPr bwMode="white">
          <a:xfrm>
            <a:off x="338164" y="2819276"/>
            <a:ext cx="33337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/>
          <p:cNvCxnSpPr/>
          <p:nvPr>
            <p:custDataLst>
              <p:tags r:id="rId4"/>
            </p:custDataLst>
          </p:nvPr>
        </p:nvCxnSpPr>
        <p:spPr bwMode="white">
          <a:xfrm>
            <a:off x="338164" y="2044576"/>
            <a:ext cx="33337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5"/>
            </p:custDataLst>
          </p:nvPr>
        </p:nvCxnSpPr>
        <p:spPr bwMode="white">
          <a:xfrm>
            <a:off x="338164" y="2508126"/>
            <a:ext cx="33337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6"/>
            </p:custDataLst>
          </p:nvPr>
        </p:nvCxnSpPr>
        <p:spPr bwMode="white">
          <a:xfrm>
            <a:off x="338164" y="2666876"/>
            <a:ext cx="33337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/>
          <p:cNvCxnSpPr/>
          <p:nvPr>
            <p:custDataLst>
              <p:tags r:id="rId7"/>
            </p:custDataLst>
          </p:nvPr>
        </p:nvCxnSpPr>
        <p:spPr bwMode="white">
          <a:xfrm>
            <a:off x="338164" y="2196976"/>
            <a:ext cx="33337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/>
          <p:nvPr>
            <p:custDataLst>
              <p:tags r:id="rId8"/>
            </p:custDataLst>
          </p:nvPr>
        </p:nvCxnSpPr>
        <p:spPr bwMode="white">
          <a:xfrm>
            <a:off x="338164" y="2355726"/>
            <a:ext cx="33337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9"/>
            </p:custDataLst>
          </p:nvPr>
        </p:nvCxnSpPr>
        <p:spPr bwMode="white">
          <a:xfrm flipV="1">
            <a:off x="371500" y="2039815"/>
            <a:ext cx="0" cy="7842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0" name="Object 216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="" xmlns:p14="http://schemas.microsoft.com/office/powerpoint/2010/main" val="2637695151"/>
              </p:ext>
            </p:extLst>
          </p:nvPr>
        </p:nvGraphicFramePr>
        <p:xfrm>
          <a:off x="222307" y="1701165"/>
          <a:ext cx="3793721" cy="890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489" name="Straight Connector 488"/>
          <p:cNvCxnSpPr/>
          <p:nvPr>
            <p:custDataLst>
              <p:tags r:id="rId11"/>
            </p:custDataLst>
          </p:nvPr>
        </p:nvCxnSpPr>
        <p:spPr bwMode="white">
          <a:xfrm flipH="1">
            <a:off x="7013600" y="3517776"/>
            <a:ext cx="33338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12"/>
            </p:custDataLst>
          </p:nvPr>
        </p:nvCxnSpPr>
        <p:spPr bwMode="white">
          <a:xfrm flipV="1">
            <a:off x="7013600" y="2814515"/>
            <a:ext cx="0" cy="7080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13"/>
            </p:custDataLst>
          </p:nvPr>
        </p:nvCxnSpPr>
        <p:spPr bwMode="white">
          <a:xfrm flipH="1">
            <a:off x="7013600" y="2819276"/>
            <a:ext cx="33338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14"/>
            </p:custDataLst>
          </p:nvPr>
        </p:nvCxnSpPr>
        <p:spPr bwMode="white">
          <a:xfrm flipH="1">
            <a:off x="7013600" y="3282826"/>
            <a:ext cx="33338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0" name="Straight Connector 489"/>
          <p:cNvCxnSpPr/>
          <p:nvPr>
            <p:custDataLst>
              <p:tags r:id="rId15"/>
            </p:custDataLst>
          </p:nvPr>
        </p:nvCxnSpPr>
        <p:spPr bwMode="white">
          <a:xfrm flipH="1">
            <a:off x="7013600" y="3054226"/>
            <a:ext cx="33338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6" name="Object 217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="" xmlns:p14="http://schemas.microsoft.com/office/powerpoint/2010/main" val="1442496815"/>
              </p:ext>
            </p:extLst>
          </p:nvPr>
        </p:nvGraphicFramePr>
        <p:xfrm>
          <a:off x="282600" y="2355726"/>
          <a:ext cx="3733428" cy="1244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44" name="Текст 2">
            <a:extLst>
              <a:ext uri="{FF2B5EF4-FFF2-40B4-BE49-F238E27FC236}">
                <a16:creationId xmlns="" xmlns:a16="http://schemas.microsoft.com/office/drawing/2014/main" id="{FE43B293-D461-4F77-905C-8AA8F305904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556025" y="3665414"/>
            <a:ext cx="2730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330B817-5BD9-4F92-90B2-696AE3D6A8A2}" type="datetime'''''''''''''''''''''''''''''''''202''''''''5'''''''''">
              <a:rPr lang="ru-RU" altLang="en-US" sz="800" smtClean="0"/>
              <a:pPr marL="0" indent="0" algn="ctr">
                <a:spcBef>
                  <a:spcPct val="0"/>
                </a:spcBef>
                <a:buNone/>
              </a:pPr>
              <a:t>2025</a:t>
            </a:fld>
            <a:endParaRPr lang="ru-RU" altLang="ru-RU" sz="800" dirty="0">
              <a:sym typeface="Verdana" panose="020B0604030504040204" pitchFamily="34" charset="0"/>
            </a:endParaRPr>
          </a:p>
        </p:txBody>
      </p:sp>
      <p:sp>
        <p:nvSpPr>
          <p:cNvPr id="119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64756" y="2819276"/>
            <a:ext cx="2555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900" dirty="0" smtClean="0"/>
              <a:t>11,7</a:t>
            </a:r>
            <a:endParaRPr lang="en-US" altLang="ru-RU" sz="900" dirty="0">
              <a:sym typeface="Verdana" panose="020B0604030504040204" pitchFamily="34" charset="0"/>
            </a:endParaRPr>
          </a:p>
        </p:txBody>
      </p:sp>
      <p:sp>
        <p:nvSpPr>
          <p:cNvPr id="143" name="Текст 2">
            <a:extLst>
              <a:ext uri="{FF2B5EF4-FFF2-40B4-BE49-F238E27FC236}">
                <a16:creationId xmlns="" xmlns:a16="http://schemas.microsoft.com/office/drawing/2014/main" id="{FEE7056E-4975-46CE-A4BF-54E26E673EC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949600" y="3665414"/>
            <a:ext cx="2730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F3F1E7E-E800-4C4C-8207-B859B69AD38E}" type="datetime'''''''''''20''''''''''''''''2''''4'''''''''''''''''''''''">
              <a:rPr lang="ru-RU" altLang="en-US" sz="800" smtClean="0"/>
              <a:pPr marL="0" indent="0" algn="ctr">
                <a:spcBef>
                  <a:spcPct val="0"/>
                </a:spcBef>
                <a:buNone/>
              </a:pPr>
              <a:t>2024</a:t>
            </a:fld>
            <a:endParaRPr lang="ru-RU" altLang="ru-RU" sz="800" dirty="0">
              <a:sym typeface="Verdana" panose="020B0604030504040204" pitchFamily="34" charset="0"/>
            </a:endParaRPr>
          </a:p>
        </p:txBody>
      </p:sp>
      <p:sp>
        <p:nvSpPr>
          <p:cNvPr id="118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989636" y="2762921"/>
            <a:ext cx="1825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ru-RU" sz="900" dirty="0" smtClean="0">
                <a:sym typeface="Verdana" panose="020B0604030504040204" pitchFamily="34" charset="0"/>
              </a:rPr>
              <a:t>12,7</a:t>
            </a:r>
            <a:endParaRPr lang="en-US" altLang="ru-RU" sz="900" dirty="0">
              <a:sym typeface="Verdana" panose="020B0604030504040204" pitchFamily="34" charset="0"/>
            </a:endParaRPr>
          </a:p>
        </p:txBody>
      </p:sp>
      <p:sp>
        <p:nvSpPr>
          <p:cNvPr id="142" name="Текст 2">
            <a:extLst>
              <a:ext uri="{FF2B5EF4-FFF2-40B4-BE49-F238E27FC236}">
                <a16:creationId xmlns="" xmlns:a16="http://schemas.microsoft.com/office/drawing/2014/main" id="{E4829408-9C7A-47B4-954A-C005E24E4CB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346350" y="3665414"/>
            <a:ext cx="2730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5663B43-81B3-4432-B391-6DD542457819}" type="datetime'''''''''202''''''''3'''''''''''''''''''''''''''''''''''">
              <a:rPr lang="ru-RU" altLang="en-US" sz="800" smtClean="0"/>
              <a:pPr marL="0" indent="0" algn="ctr">
                <a:spcBef>
                  <a:spcPct val="0"/>
                </a:spcBef>
                <a:buNone/>
              </a:pPr>
              <a:t>2023</a:t>
            </a:fld>
            <a:endParaRPr lang="ru-RU" altLang="ru-RU" sz="800" dirty="0">
              <a:sym typeface="Verdana" panose="020B0604030504040204" pitchFamily="34" charset="0"/>
            </a:endParaRPr>
          </a:p>
        </p:txBody>
      </p:sp>
      <p:sp>
        <p:nvSpPr>
          <p:cNvPr id="117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355875" y="2670696"/>
            <a:ext cx="2555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900" dirty="0" smtClean="0"/>
              <a:t>13,2</a:t>
            </a:r>
            <a:endParaRPr lang="en-US" altLang="ru-RU" sz="900" dirty="0">
              <a:sym typeface="Verdana" panose="020B0604030504040204" pitchFamily="34" charset="0"/>
            </a:endParaRPr>
          </a:p>
        </p:txBody>
      </p:sp>
      <p:sp>
        <p:nvSpPr>
          <p:cNvPr id="141" name="Текст 2">
            <a:extLst>
              <a:ext uri="{FF2B5EF4-FFF2-40B4-BE49-F238E27FC236}">
                <a16:creationId xmlns="" xmlns:a16="http://schemas.microsoft.com/office/drawing/2014/main" id="{9C8BE5EA-47B1-4C66-A6DD-362CD2022F8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743100" y="3665414"/>
            <a:ext cx="2730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E7B5606-8640-4D52-B131-364B83C19C38}" type="datetime'''''''2''''''''''''''0''''''''''''''''''''2''''''''''2'''''">
              <a:rPr lang="ru-RU" altLang="en-US" sz="800" smtClean="0"/>
              <a:pPr marL="0" indent="0" algn="ctr">
                <a:spcBef>
                  <a:spcPct val="0"/>
                </a:spcBef>
                <a:buNone/>
              </a:pPr>
              <a:t>2022</a:t>
            </a:fld>
            <a:endParaRPr lang="ru-RU" altLang="ru-RU" sz="800" dirty="0">
              <a:sym typeface="Verdana" panose="020B0604030504040204" pitchFamily="34" charset="0"/>
            </a:endParaRPr>
          </a:p>
        </p:txBody>
      </p:sp>
      <p:sp>
        <p:nvSpPr>
          <p:cNvPr id="116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764730" y="2594619"/>
            <a:ext cx="2555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900" dirty="0" smtClean="0"/>
              <a:t>14,3</a:t>
            </a:r>
            <a:endParaRPr lang="en-US" altLang="ru-RU" sz="900" dirty="0">
              <a:sym typeface="Verdana" panose="020B0604030504040204" pitchFamily="34" charset="0"/>
            </a:endParaRPr>
          </a:p>
        </p:txBody>
      </p:sp>
      <p:sp>
        <p:nvSpPr>
          <p:cNvPr id="140" name="Текст 2">
            <a:extLst>
              <a:ext uri="{FF2B5EF4-FFF2-40B4-BE49-F238E27FC236}">
                <a16:creationId xmlns="" xmlns:a16="http://schemas.microsoft.com/office/drawing/2014/main" id="{712D5F48-0016-49DB-9253-C49F8DAEAE6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39850" y="3665414"/>
            <a:ext cx="2730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E0460BA-463A-401C-AAE0-6E774D7A0CF9}" type="datetime'''''''''''''''''2''''''''''''''''''''''''''''''''021'">
              <a:rPr lang="ru-RU" altLang="en-US" sz="800" smtClean="0"/>
              <a:pPr marL="0" indent="0" algn="ctr">
                <a:spcBef>
                  <a:spcPct val="0"/>
                </a:spcBef>
                <a:buNone/>
              </a:pPr>
              <a:t>2021</a:t>
            </a:fld>
            <a:endParaRPr lang="ru-RU" altLang="ru-RU" sz="800" dirty="0">
              <a:sym typeface="Verdana" panose="020B0604030504040204" pitchFamily="34" charset="0"/>
            </a:endParaRPr>
          </a:p>
        </p:txBody>
      </p:sp>
      <p:sp>
        <p:nvSpPr>
          <p:cNvPr id="115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125770" y="2543125"/>
            <a:ext cx="2555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ru-RU" sz="900" dirty="0" smtClean="0">
                <a:sym typeface="Verdana" panose="020B0604030504040204" pitchFamily="34" charset="0"/>
              </a:rPr>
              <a:t>14,8</a:t>
            </a:r>
            <a:endParaRPr lang="en-US" altLang="ru-RU" sz="900" dirty="0">
              <a:sym typeface="Verdana" panose="020B0604030504040204" pitchFamily="34" charset="0"/>
            </a:endParaRPr>
          </a:p>
        </p:txBody>
      </p:sp>
      <p:sp>
        <p:nvSpPr>
          <p:cNvPr id="139" name="Текст 2">
            <a:extLst>
              <a:ext uri="{FF2B5EF4-FFF2-40B4-BE49-F238E27FC236}">
                <a16:creationId xmlns="" xmlns:a16="http://schemas.microsoft.com/office/drawing/2014/main" id="{B22A4E79-A6BF-45BA-96FB-1A34B968C7B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6600" y="3665414"/>
            <a:ext cx="2730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267AC56-95AB-47FD-AB66-A692F23B1EC9}" type="datetime'''''''''''''''''''''''''2''''0''''''''''2''''0'''''''''''''">
              <a:rPr lang="ru-RU" altLang="en-US" sz="800" smtClean="0"/>
              <a:pPr marL="0" indent="0" algn="ctr">
                <a:spcBef>
                  <a:spcPct val="0"/>
                </a:spcBef>
                <a:buNone/>
              </a:pPr>
              <a:t>2020</a:t>
            </a:fld>
            <a:endParaRPr lang="ru-RU" altLang="ru-RU" sz="800" dirty="0">
              <a:sym typeface="Verdana" panose="020B0604030504040204" pitchFamily="34" charset="0"/>
            </a:endParaRPr>
          </a:p>
        </p:txBody>
      </p:sp>
      <p:sp>
        <p:nvSpPr>
          <p:cNvPr id="114" name="Текст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44463" y="2716857"/>
            <a:ext cx="2555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ru-RU" sz="900" dirty="0" smtClean="0">
                <a:sym typeface="Verdana" panose="020B0604030504040204" pitchFamily="34" charset="0"/>
              </a:rPr>
              <a:t>13,1</a:t>
            </a:r>
            <a:endParaRPr lang="en-US" altLang="ru-RU" sz="900" dirty="0"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03205"/>
            <a:ext cx="8447718" cy="422275"/>
          </a:xfrm>
        </p:spPr>
        <p:txBody>
          <a:bodyPr vert="horz" lIns="68578" tIns="34289" rIns="68578" bIns="34289" rtlCol="0" anchor="ctr">
            <a:noAutofit/>
          </a:bodyPr>
          <a:lstStyle/>
          <a:p>
            <a:r>
              <a:rPr lang="ru-RU" sz="1800" dirty="0" smtClean="0"/>
              <a:t>Потребность в обновлении подвижного состава до 2025 года</a:t>
            </a:r>
            <a:endParaRPr lang="ru-RU" sz="1800" dirty="0"/>
          </a:p>
        </p:txBody>
      </p:sp>
      <p:sp>
        <p:nvSpPr>
          <p:cNvPr id="43" name="TextBox 42"/>
          <p:cNvSpPr txBox="1"/>
          <p:nvPr/>
        </p:nvSpPr>
        <p:spPr>
          <a:xfrm>
            <a:off x="250850" y="915567"/>
            <a:ext cx="8636000" cy="633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ru-RU"/>
            </a:defPPr>
            <a:lvl1pPr>
              <a:defRPr sz="10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ru-RU" sz="1200" dirty="0">
                <a:sym typeface="Verdana" panose="020B0604030504040204" pitchFamily="34" charset="0"/>
              </a:rPr>
              <a:t>Финансирование, требуемое на возобновление традиционного парка, </a:t>
            </a:r>
            <a:endParaRPr lang="ru-RU" sz="1200" dirty="0" smtClean="0">
              <a:sym typeface="Verdana" panose="020B0604030504040204" pitchFamily="34" charset="0"/>
            </a:endParaRPr>
          </a:p>
          <a:p>
            <a:pPr algn="l"/>
            <a:r>
              <a:rPr lang="ru-RU" sz="1200" dirty="0" smtClean="0">
                <a:sym typeface="Verdana" panose="020B0604030504040204" pitchFamily="34" charset="0"/>
              </a:rPr>
              <a:t>в </a:t>
            </a:r>
            <a:r>
              <a:rPr lang="ru-RU" sz="1200" dirty="0">
                <a:sym typeface="Verdana" panose="020B0604030504040204" pitchFamily="34" charset="0"/>
              </a:rPr>
              <a:t>ценах соответствующих лет, млрд руб. и планируемая закупка, шт.</a:t>
            </a:r>
          </a:p>
        </p:txBody>
      </p:sp>
      <p:sp>
        <p:nvSpPr>
          <p:cNvPr id="63" name="Rectangle 39"/>
          <p:cNvSpPr/>
          <p:nvPr>
            <p:custDataLst>
              <p:tags r:id="rId29"/>
            </p:custDataLst>
          </p:nvPr>
        </p:nvSpPr>
        <p:spPr bwMode="auto">
          <a:xfrm flipH="1" flipV="1">
            <a:off x="4760835" y="1629054"/>
            <a:ext cx="257151" cy="126477"/>
          </a:xfrm>
          <a:prstGeom prst="rect">
            <a:avLst/>
          </a:prstGeom>
          <a:solidFill>
            <a:srgbClr val="82141E"/>
          </a:solidFill>
          <a:ln w="9525" algn="ctr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ru-RU" sz="1200" b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Текст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799854" y="-1226127"/>
            <a:ext cx="661392" cy="45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1363" indent="-2841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1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5970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4225" indent="-22701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4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174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842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102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1781" indent="-228340" algn="l" defTabSz="9133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ru-RU" altLang="en-US" sz="1200" dirty="0"/>
              <a:t>Закупка ПС накопленным итогом</a:t>
            </a:r>
            <a:endParaRPr lang="ru-RU" altLang="ru-RU" sz="1200" dirty="0">
              <a:sym typeface="Verdana" panose="020B060403050404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069941" y="1565804"/>
            <a:ext cx="1645804" cy="407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14288" rtlCol="0" anchor="ctr">
            <a:spAutoFit/>
          </a:bodyPr>
          <a:lstStyle/>
          <a:p>
            <a:pPr defTabSz="309563" hangingPunct="0"/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требность в финансировани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7179854" y="1625210"/>
            <a:ext cx="143163" cy="1385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14288" rtlCol="0" anchor="ctr">
            <a:spAutoFit/>
          </a:bodyPr>
          <a:lstStyle/>
          <a:p>
            <a:pPr algn="ctr" defTabSz="309563" hangingPunct="0"/>
            <a:endParaRPr lang="ru-RU" sz="900" dirty="0">
              <a:solidFill>
                <a:srgbClr val="FFFFFF"/>
              </a:solidFill>
              <a:sym typeface="Helvetica Neue Medium"/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7079986" y="1694460"/>
            <a:ext cx="342900" cy="0"/>
          </a:xfrm>
          <a:prstGeom prst="line">
            <a:avLst/>
          </a:prstGeom>
          <a:noFill/>
          <a:ln w="5715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2" name="TextBox 71"/>
          <p:cNvSpPr txBox="1"/>
          <p:nvPr/>
        </p:nvSpPr>
        <p:spPr>
          <a:xfrm>
            <a:off x="7498196" y="1554088"/>
            <a:ext cx="1645804" cy="5924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14288" rtlCol="0" anchor="ctr">
            <a:spAutoFit/>
          </a:bodyPr>
          <a:lstStyle/>
          <a:p>
            <a:pPr defTabSz="309563" hangingPunct="0"/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купка ПС накопленным итогом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4522024" y="2285096"/>
            <a:ext cx="4387441" cy="172354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соответствии с решением Правительственной комиссии по транспорту от 20 ноября 2019 г. ведется работа по актуализации организационной модели обеспечения пригородных перевозок железнодорожным транспортом и программы обновления пригородного подвижного состава на последующие периоды.</a:t>
            </a:r>
          </a:p>
        </p:txBody>
      </p:sp>
      <p:sp>
        <p:nvSpPr>
          <p:cNvPr id="39" name="Номер слайда 2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0" y="4889500"/>
            <a:ext cx="481012" cy="254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ctr"/>
            <a:fld id="{5C94280A-EDA5-4CE9-9DCF-B5C8B1E04FAC}" type="slidenum">
              <a:rPr lang="ru-RU" altLang="ru-RU"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 algn="ctr"/>
              <a:t>5</a:t>
            </a:fld>
            <a:endParaRPr lang="ru-RU" altLang="ru-RU" sz="6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70749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34"/>
          <p:cNvGrpSpPr/>
          <p:nvPr/>
        </p:nvGrpSpPr>
        <p:grpSpPr>
          <a:xfrm>
            <a:off x="755576" y="2961338"/>
            <a:ext cx="2172670" cy="2751474"/>
            <a:chOff x="3166315" y="8700541"/>
            <a:chExt cx="5867721" cy="8443207"/>
          </a:xfrm>
        </p:grpSpPr>
        <p:sp>
          <p:nvSpPr>
            <p:cNvPr id="1815" name="Circle"/>
            <p:cNvSpPr/>
            <p:nvPr/>
          </p:nvSpPr>
          <p:spPr>
            <a:xfrm>
              <a:off x="8805338" y="8700541"/>
              <a:ext cx="195128" cy="195130"/>
            </a:xfrm>
            <a:prstGeom prst="ellipse">
              <a:avLst/>
            </a:prstGeom>
            <a:solidFill>
              <a:srgbClr val="F8F7F9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400" dirty="0">
                <a:latin typeface="+mn-lt"/>
              </a:endParaRPr>
            </a:p>
          </p:txBody>
        </p:sp>
        <p:sp>
          <p:nvSpPr>
            <p:cNvPr id="28" name="object 9"/>
            <p:cNvSpPr txBox="1"/>
            <p:nvPr/>
          </p:nvSpPr>
          <p:spPr>
            <a:xfrm>
              <a:off x="3166315" y="9493728"/>
              <a:ext cx="5867721" cy="765002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/>
            </a:p>
            <a:p>
              <a:pPr marL="285750" indent="-285750"/>
              <a:endParaRPr lang="ru-RU" sz="1000" dirty="0" smtClean="0"/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/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/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/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/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j-lt"/>
                <a:ea typeface="Verdana" pitchFamily="34" charset="0"/>
                <a:cs typeface="Verdana" pitchFamily="34" charset="0"/>
              </a:endParaRPr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j-lt"/>
                <a:ea typeface="Verdana" pitchFamily="34" charset="0"/>
                <a:cs typeface="Verdana" pitchFamily="34" charset="0"/>
              </a:endParaRPr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marR="2312" indent="4763" defTabSz="416103">
                <a:lnSpc>
                  <a:spcPct val="80000"/>
                </a:lnSpc>
                <a:defRPr sz="3100" b="0" spc="26">
                  <a:latin typeface="PT Sans"/>
                  <a:ea typeface="PT Sans"/>
                  <a:cs typeface="PT Sans"/>
                  <a:sym typeface="PT Sans"/>
                </a:defRPr>
              </a:pPr>
              <a:r>
                <a:rPr lang="ru-RU" sz="1000" dirty="0" smtClean="0">
                  <a:latin typeface="+mn-lt"/>
                  <a:ea typeface="Verdana" pitchFamily="34" charset="0"/>
                  <a:cs typeface="Verdana" pitchFamily="34" charset="0"/>
                </a:rPr>
                <a:t> </a:t>
              </a:r>
            </a:p>
            <a:p>
              <a:pPr indent="2143" defTabSz="168593">
                <a:lnSpc>
                  <a:spcPct val="80000"/>
                </a:lnSpc>
                <a:defRPr sz="2900" b="0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indent="2143" defTabSz="168593">
                <a:lnSpc>
                  <a:spcPct val="80000"/>
                </a:lnSpc>
                <a:defRPr sz="2900" b="0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indent="2143" defTabSz="168593">
                <a:lnSpc>
                  <a:spcPct val="80000"/>
                </a:lnSpc>
                <a:defRPr sz="2900" b="0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indent="2143" defTabSz="168593">
                <a:lnSpc>
                  <a:spcPct val="80000"/>
                </a:lnSpc>
                <a:defRPr sz="2900" b="0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indent="2143" defTabSz="168593">
                <a:lnSpc>
                  <a:spcPct val="80000"/>
                </a:lnSpc>
                <a:defRPr sz="2900" b="0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indent="2143" defTabSz="168593">
                <a:lnSpc>
                  <a:spcPct val="80000"/>
                </a:lnSpc>
                <a:defRPr sz="2900" b="0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 smtClean="0">
                <a:latin typeface="+mn-lt"/>
                <a:ea typeface="Verdana" pitchFamily="34" charset="0"/>
                <a:cs typeface="Verdana" pitchFamily="34" charset="0"/>
              </a:endParaRPr>
            </a:p>
            <a:p>
              <a:pPr indent="2143" defTabSz="168593">
                <a:lnSpc>
                  <a:spcPct val="80000"/>
                </a:lnSpc>
                <a:defRPr sz="2900" b="0">
                  <a:latin typeface="PT Sans"/>
                  <a:ea typeface="PT Sans"/>
                  <a:cs typeface="PT Sans"/>
                  <a:sym typeface="PT Sans"/>
                </a:defRPr>
              </a:pPr>
              <a:endParaRPr lang="ru-RU" sz="1000" dirty="0">
                <a:latin typeface="+mn-lt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24" name="Заголовок 23"/>
          <p:cNvSpPr>
            <a:spLocks noGrp="1"/>
          </p:cNvSpPr>
          <p:nvPr>
            <p:ph type="title"/>
          </p:nvPr>
        </p:nvSpPr>
        <p:spPr>
          <a:xfrm>
            <a:off x="0" y="1"/>
            <a:ext cx="9252520" cy="627534"/>
          </a:xfrm>
        </p:spPr>
        <p:txBody>
          <a:bodyPr/>
          <a:lstStyle/>
          <a:p>
            <a:r>
              <a:rPr lang="ru-RU" sz="1600" dirty="0" smtClean="0"/>
              <a:t>В 2019 году мобильное приложение «РЖД Пассажирам» внедрено в 24 ППК</a:t>
            </a:r>
            <a:endParaRPr lang="ru-RU" sz="1600" dirty="0"/>
          </a:p>
        </p:txBody>
      </p:sp>
      <p:sp>
        <p:nvSpPr>
          <p:cNvPr id="36" name="TextBox 35"/>
          <p:cNvSpPr txBox="1"/>
          <p:nvPr/>
        </p:nvSpPr>
        <p:spPr>
          <a:xfrm>
            <a:off x="539552" y="627534"/>
            <a:ext cx="3109914" cy="246221"/>
          </a:xfrm>
          <a:prstGeom prst="rect">
            <a:avLst/>
          </a:prstGeom>
          <a:solidFill>
            <a:srgbClr val="A2AC72">
              <a:lumMod val="75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kern="0" dirty="0" smtClean="0">
                <a:solidFill>
                  <a:sysClr val="window" lastClr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Функционал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80112" y="627534"/>
            <a:ext cx="3109914" cy="246221"/>
          </a:xfrm>
          <a:prstGeom prst="rect">
            <a:avLst/>
          </a:prstGeom>
          <a:solidFill>
            <a:srgbClr val="A2AC72">
              <a:lumMod val="75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kern="0" dirty="0" smtClean="0">
                <a:solidFill>
                  <a:sysClr val="window" lastClr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ланируемый функционал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9" name="Picture 2" descr="Картинки по запросу &quot;nfc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15816" y="3579862"/>
            <a:ext cx="2546546" cy="143172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5940152" y="1059582"/>
            <a:ext cx="2664296" cy="27804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леты на поезда с указанием мест 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бонементные билеты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леты льготной категории граждан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ображение номеров путей и платформ отправления поездов 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ное информирование</a:t>
            </a:r>
          </a:p>
          <a:p>
            <a:pPr marL="285750" indent="-285750"/>
            <a:endParaRPr lang="ru-RU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55576" y="987574"/>
            <a:ext cx="2664296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списание поездов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формация о фактическом движении и опозданиях</a:t>
            </a:r>
          </a:p>
          <a:p>
            <a:pPr marL="285750" indent="-285750"/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дажа билетов (без предоставления мест)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формление багажа и велосипедов</a:t>
            </a:r>
          </a:p>
          <a:p>
            <a:pPr marL="285750" indent="-285750"/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зможность оплаты электронными системами (</a:t>
            </a: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le Pay, Google Pay, Samsung Pay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ü"/>
            </a:pP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47DEBF56-70A9-4CC8-B94A-3B24603CCF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635896" y="627534"/>
            <a:ext cx="1944216" cy="328692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FEE97483-DEBA-4AA1-9535-486F37A3295E}"/>
              </a:ext>
            </a:extLst>
          </p:cNvPr>
          <p:cNvSpPr/>
          <p:nvPr/>
        </p:nvSpPr>
        <p:spPr>
          <a:xfrm>
            <a:off x="4984998" y="735381"/>
            <a:ext cx="4138595" cy="127727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              </a:t>
            </a:r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СТРАТЕГИЯ ПОЭТАПНОГО </a:t>
            </a:r>
          </a:p>
          <a:p>
            <a:pPr algn="r"/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           ПЕРЕХОДА НА </a:t>
            </a:r>
            <a:r>
              <a:rPr lang="ru-RU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ЦИФРОВЫЕ                                                  </a:t>
            </a:r>
          </a:p>
          <a:p>
            <a:pPr algn="r"/>
            <a:r>
              <a:rPr lang="ru-RU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ОДАЖИ                                    </a:t>
            </a:r>
            <a:endParaRPr lang="ru-RU" sz="1050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                  (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до 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75%)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- интернет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</a:t>
            </a:r>
          </a:p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	мобильные приложения,</a:t>
            </a:r>
          </a:p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          транспортные приложения к банковским     </a:t>
            </a:r>
          </a:p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       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картам 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2039"/>
            <a:ext cx="9144000" cy="584660"/>
          </a:xfrm>
        </p:spPr>
        <p:txBody>
          <a:bodyPr wrap="square">
            <a:spAutoFit/>
          </a:bodyPr>
          <a:lstStyle/>
          <a:p>
            <a:pPr defTabSz="895350">
              <a:tabLst>
                <a:tab pos="357188" algn="l"/>
              </a:tabLst>
            </a:pPr>
            <a:r>
              <a:rPr lang="ru-RU" sz="1600" dirty="0" smtClean="0">
                <a:solidFill>
                  <a:srgbClr val="000000"/>
                </a:solidFill>
              </a:rPr>
              <a:t>Внедрение системы </a:t>
            </a:r>
            <a:r>
              <a:rPr lang="ru-RU" sz="1600" dirty="0">
                <a:solidFill>
                  <a:srgbClr val="000000"/>
                </a:solidFill>
              </a:rPr>
              <a:t>дифференциации тарифов на пригородные пассажирские </a:t>
            </a:r>
            <a:r>
              <a:rPr lang="ru-RU" sz="1600" dirty="0" smtClean="0">
                <a:solidFill>
                  <a:srgbClr val="000000"/>
                </a:solidFill>
              </a:rPr>
              <a:t>перевозки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E0CFD-6CE0-4D6A-8C17-4FFB86DA98F7}" type="slidenum">
              <a:rPr lang="ru-RU" sz="600" smtClean="0">
                <a:solidFill>
                  <a:schemeClr val="tx1"/>
                </a:solidFill>
              </a:rPr>
              <a:pPr/>
              <a:t>7</a:t>
            </a:fld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356C804D-51B8-491F-A4E2-AF0B7F81E4BD}"/>
              </a:ext>
            </a:extLst>
          </p:cNvPr>
          <p:cNvSpPr/>
          <p:nvPr/>
        </p:nvSpPr>
        <p:spPr>
          <a:xfrm>
            <a:off x="1907704" y="2499742"/>
            <a:ext cx="177800" cy="1778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F77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xmlns="" id="{BBEC2D35-D938-401A-ADBF-5597A85FE717}"/>
              </a:ext>
            </a:extLst>
          </p:cNvPr>
          <p:cNvSpPr/>
          <p:nvPr/>
        </p:nvSpPr>
        <p:spPr>
          <a:xfrm>
            <a:off x="2467920" y="698317"/>
            <a:ext cx="177800" cy="1778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F77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rgbClr val="0F7719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AD97A956-0797-4299-A2E4-D0986769A324}"/>
              </a:ext>
            </a:extLst>
          </p:cNvPr>
          <p:cNvCxnSpPr>
            <a:cxnSpLocks/>
          </p:cNvCxnSpPr>
          <p:nvPr/>
        </p:nvCxnSpPr>
        <p:spPr>
          <a:xfrm>
            <a:off x="1030663" y="767160"/>
            <a:ext cx="0" cy="1805381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C71BFB76-CD4E-4F2B-9D8F-FD4C36F56827}"/>
              </a:ext>
            </a:extLst>
          </p:cNvPr>
          <p:cNvSpPr/>
          <p:nvPr/>
        </p:nvSpPr>
        <p:spPr>
          <a:xfrm>
            <a:off x="397782" y="1023193"/>
            <a:ext cx="1267242" cy="126724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C4E264B4-EF33-486C-9F4B-1539ACD744B8}"/>
              </a:ext>
            </a:extLst>
          </p:cNvPr>
          <p:cNvSpPr/>
          <p:nvPr/>
        </p:nvSpPr>
        <p:spPr>
          <a:xfrm>
            <a:off x="1975001" y="2430573"/>
            <a:ext cx="109677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 КАССАХ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0FB474BF-9FB2-4E5B-BB7B-FF68170F1245}"/>
              </a:ext>
            </a:extLst>
          </p:cNvPr>
          <p:cNvCxnSpPr>
            <a:cxnSpLocks/>
            <a:endCxn id="9" idx="2"/>
          </p:cNvCxnSpPr>
          <p:nvPr/>
        </p:nvCxnSpPr>
        <p:spPr>
          <a:xfrm>
            <a:off x="1030668" y="766908"/>
            <a:ext cx="1437257" cy="20308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7A53F08E-B3A3-4214-8972-DF7205E18BB3}"/>
              </a:ext>
            </a:extLst>
          </p:cNvPr>
          <p:cNvCxnSpPr>
            <a:cxnSpLocks/>
          </p:cNvCxnSpPr>
          <p:nvPr/>
        </p:nvCxnSpPr>
        <p:spPr>
          <a:xfrm>
            <a:off x="1030684" y="2571892"/>
            <a:ext cx="634361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0AE2A7A1-43D2-4D1E-B3AB-A47946CAFF67}"/>
              </a:ext>
            </a:extLst>
          </p:cNvPr>
          <p:cNvSpPr/>
          <p:nvPr/>
        </p:nvSpPr>
        <p:spPr>
          <a:xfrm>
            <a:off x="2556821" y="648966"/>
            <a:ext cx="2817470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ИНТЕРНЕТ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</a:p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электронные приложения,</a:t>
            </a:r>
          </a:p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транспортные приложения </a:t>
            </a:r>
            <a:r>
              <a:rPr lang="ru-RU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ru-RU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к </a:t>
            </a: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банковским картам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5548" y="1275618"/>
            <a:ext cx="129965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Дифференци-ация</a:t>
            </a:r>
            <a:r>
              <a:rPr lang="ru-RU" sz="11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тарифов </a:t>
            </a:r>
            <a:r>
              <a:rPr lang="ru-RU" sz="1100" dirty="0">
                <a:latin typeface="Verdana" pitchFamily="34" charset="0"/>
                <a:ea typeface="Verdana" pitchFamily="34" charset="0"/>
                <a:cs typeface="Verdana" pitchFamily="34" charset="0"/>
              </a:rPr>
              <a:t>по каналам продаж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1A76947E-D0BD-4A72-8952-8EBF7816F973}"/>
              </a:ext>
            </a:extLst>
          </p:cNvPr>
          <p:cNvCxnSpPr>
            <a:cxnSpLocks/>
          </p:cNvCxnSpPr>
          <p:nvPr/>
        </p:nvCxnSpPr>
        <p:spPr>
          <a:xfrm>
            <a:off x="1665038" y="1719578"/>
            <a:ext cx="459423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вал 17">
            <a:extLst>
              <a:ext uri="{FF2B5EF4-FFF2-40B4-BE49-F238E27FC236}">
                <a16:creationId xmlns:a16="http://schemas.microsoft.com/office/drawing/2014/main" xmlns="" id="{B6241288-058F-4FA8-A376-B45BE8C1EE72}"/>
              </a:ext>
            </a:extLst>
          </p:cNvPr>
          <p:cNvSpPr/>
          <p:nvPr/>
        </p:nvSpPr>
        <p:spPr>
          <a:xfrm>
            <a:off x="2209005" y="1599343"/>
            <a:ext cx="177800" cy="1778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F77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75A3E2BD-DA56-4A0E-8302-BB90408B9CD3}"/>
              </a:ext>
            </a:extLst>
          </p:cNvPr>
          <p:cNvSpPr/>
          <p:nvPr/>
        </p:nvSpPr>
        <p:spPr>
          <a:xfrm>
            <a:off x="2297905" y="1525890"/>
            <a:ext cx="2279492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АБП</a:t>
            </a:r>
          </a:p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билетопечатающие </a:t>
            </a:r>
          </a:p>
          <a:p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автоматы 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xmlns="" id="{BB345F8E-33FA-4EEE-BF63-E1E11E9E1B45}"/>
              </a:ext>
            </a:extLst>
          </p:cNvPr>
          <p:cNvSpPr/>
          <p:nvPr/>
        </p:nvSpPr>
        <p:spPr>
          <a:xfrm>
            <a:off x="3491893" y="2211712"/>
            <a:ext cx="864083" cy="72008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F77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0F771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10%</a:t>
            </a:r>
          </a:p>
        </p:txBody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xmlns="" id="{8B0D46CD-F213-4D49-A164-F4B401C2F93C}"/>
              </a:ext>
            </a:extLst>
          </p:cNvPr>
          <p:cNvCxnSpPr>
            <a:cxnSpLocks/>
          </p:cNvCxnSpPr>
          <p:nvPr/>
        </p:nvCxnSpPr>
        <p:spPr>
          <a:xfrm flipV="1">
            <a:off x="4500000" y="699543"/>
            <a:ext cx="1721429" cy="2088232"/>
          </a:xfrm>
          <a:prstGeom prst="straightConnector1">
            <a:avLst/>
          </a:prstGeom>
          <a:ln>
            <a:solidFill>
              <a:srgbClr val="0F7719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Овал 6">
            <a:extLst>
              <a:ext uri="{FF2B5EF4-FFF2-40B4-BE49-F238E27FC236}">
                <a16:creationId xmlns:a16="http://schemas.microsoft.com/office/drawing/2014/main" xmlns="" id="{D9FC027B-D21F-4C7F-8CB4-4128A3773E4D}"/>
              </a:ext>
            </a:extLst>
          </p:cNvPr>
          <p:cNvSpPr/>
          <p:nvPr/>
        </p:nvSpPr>
        <p:spPr>
          <a:xfrm>
            <a:off x="4860032" y="699542"/>
            <a:ext cx="864096" cy="738663"/>
          </a:xfrm>
          <a:prstGeom prst="ellipse">
            <a:avLst/>
          </a:prstGeom>
          <a:solidFill>
            <a:schemeClr val="bg1"/>
          </a:solidFill>
          <a:ln w="19050">
            <a:solidFill>
              <a:srgbClr val="0F77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0F771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10%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xmlns="" id="{DF5D56A7-B342-412F-BAFD-C7C37F59E2B7}"/>
              </a:ext>
            </a:extLst>
          </p:cNvPr>
          <p:cNvSpPr/>
          <p:nvPr/>
        </p:nvSpPr>
        <p:spPr>
          <a:xfrm>
            <a:off x="4139952" y="1419623"/>
            <a:ext cx="864096" cy="738663"/>
          </a:xfrm>
          <a:prstGeom prst="ellipse">
            <a:avLst/>
          </a:prstGeom>
          <a:solidFill>
            <a:schemeClr val="bg1"/>
          </a:solidFill>
          <a:ln w="19050">
            <a:solidFill>
              <a:srgbClr val="0F77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0F771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5%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79512" y="3075808"/>
            <a:ext cx="4032448" cy="26161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НОВЫЕ ВОЗМОЖНОСТИ ДЛЯ ПАССАЖИРОВ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95536" y="3435858"/>
            <a:ext cx="39959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buClr>
                <a:srgbClr val="00B050"/>
              </a:buClr>
              <a:defRPr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бор способа приобретения проездного документа (билета)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853349" y="3075808"/>
            <a:ext cx="3967135" cy="26161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СОКРАЩЕНИЕ ЗАТРАТ ПЕРЕВОЗЧИКОВ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51520" y="3507855"/>
            <a:ext cx="144016" cy="14401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251520" y="4011912"/>
            <a:ext cx="144016" cy="14401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409488" y="3968380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-171450" defTabSz="914400">
              <a:buClr>
                <a:srgbClr val="00B050"/>
              </a:buClr>
              <a:defRPr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кращение времени ожидания в очереди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16745" y="4307211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-171450" defTabSz="914400">
              <a:buClr>
                <a:srgbClr val="00B050"/>
              </a:buClr>
              <a:defRPr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добство приобретения проездного документа (билета) («билет на электричку в кармане»)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51520" y="4371951"/>
            <a:ext cx="144016" cy="14401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5019124" y="3407392"/>
            <a:ext cx="41044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1450" defTabSz="914400">
              <a:buClr>
                <a:srgbClr val="00B050"/>
              </a:buClr>
              <a:defRPr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держание и обслуживание касс и кассовых залов, заработная плата кассиров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853337" y="3501159"/>
            <a:ext cx="144016" cy="14401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5054285" y="3867906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-171450" defTabSz="914400">
              <a:buClr>
                <a:srgbClr val="00B050"/>
              </a:buClr>
              <a:defRPr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сходные материалы</a:t>
            </a:r>
          </a:p>
          <a:p>
            <a:pPr indent="-171450" defTabSz="914400">
              <a:buClr>
                <a:srgbClr val="00B050"/>
              </a:buClr>
              <a:defRPr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бланки, бумага, ремонт АБП и пр.)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860032" y="3990141"/>
            <a:ext cx="144016" cy="14401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5076056" y="4371962"/>
            <a:ext cx="3888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1450" defTabSz="914400">
              <a:buClr>
                <a:srgbClr val="00B050"/>
              </a:buClr>
              <a:defRPr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кассация, иные расходы, связанные с обращением наличных денег 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4860032" y="4443960"/>
            <a:ext cx="144016" cy="14401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24128" y="3435846"/>
            <a:ext cx="1851775" cy="1318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3" cstate="print"/>
          <a:srcRect l="16472"/>
          <a:stretch>
            <a:fillRect/>
          </a:stretch>
        </p:blipFill>
        <p:spPr bwMode="auto">
          <a:xfrm>
            <a:off x="107504" y="3291830"/>
            <a:ext cx="2638139" cy="1328755"/>
          </a:xfrm>
          <a:prstGeom prst="parallelogram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8" name="Rectangle 26">
            <a:extLst>
              <a:ext uri="{FF2B5EF4-FFF2-40B4-BE49-F238E27FC236}">
                <a16:creationId xmlns="" xmlns:a16="http://schemas.microsoft.com/office/drawing/2014/main" id="{210B219B-90FF-4B92-9145-74365CB09C1B}"/>
              </a:ext>
            </a:extLst>
          </p:cNvPr>
          <p:cNvSpPr>
            <a:spLocks/>
          </p:cNvSpPr>
          <p:nvPr/>
        </p:nvSpPr>
        <p:spPr>
          <a:xfrm>
            <a:off x="4716016" y="1059582"/>
            <a:ext cx="4307306" cy="2232248"/>
          </a:xfrm>
          <a:prstGeom prst="rect">
            <a:avLst/>
          </a:prstGeom>
          <a:solidFill>
            <a:schemeClr val="accent5">
              <a:lumMod val="40000"/>
              <a:lumOff val="60000"/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endParaRPr lang="ru-RU" sz="800" dirty="0">
              <a:solidFill>
                <a:schemeClr val="accent2"/>
              </a:solidFill>
            </a:endParaRPr>
          </a:p>
        </p:txBody>
      </p:sp>
      <p:sp>
        <p:nvSpPr>
          <p:cNvPr id="25" name="Rectangle 23">
            <a:extLst>
              <a:ext uri="{FF2B5EF4-FFF2-40B4-BE49-F238E27FC236}">
                <a16:creationId xmlns="" xmlns:a16="http://schemas.microsoft.com/office/drawing/2014/main" id="{DF048B4D-DDF4-4982-8AFA-5F394B8506C5}"/>
              </a:ext>
            </a:extLst>
          </p:cNvPr>
          <p:cNvSpPr>
            <a:spLocks/>
          </p:cNvSpPr>
          <p:nvPr/>
        </p:nvSpPr>
        <p:spPr>
          <a:xfrm>
            <a:off x="179512" y="1059582"/>
            <a:ext cx="4355850" cy="21602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ru-RU" sz="11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ru-RU" sz="11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627534"/>
          </a:xfrm>
        </p:spPr>
        <p:txBody>
          <a:bodyPr>
            <a:noAutofit/>
          </a:bodyPr>
          <a:lstStyle/>
          <a:p>
            <a:r>
              <a:rPr lang="ru-RU" sz="1600" dirty="0" smtClean="0"/>
              <a:t>О </a:t>
            </a:r>
            <a:r>
              <a:rPr lang="ru-RU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мерах социальной поддержки детей в возрасте 5-7 лет, обучающихся и студентов очной формы обучения</a:t>
            </a:r>
            <a:endParaRPr lang="ru-RU" sz="16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2C056-D21C-4181-BBC0-970634807437}" type="slidenum">
              <a:rPr lang="ru-RU" sz="600" smtClean="0">
                <a:solidFill>
                  <a:schemeClr val="tx1"/>
                </a:solidFill>
              </a:rPr>
              <a:pPr/>
              <a:t>8</a:t>
            </a:fld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91405" y="1131590"/>
            <a:ext cx="4040063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5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71600" y="699542"/>
            <a:ext cx="3109914" cy="27699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облематика</a:t>
            </a:r>
            <a:endParaRPr lang="ru-RU" sz="1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15375" y="987574"/>
            <a:ext cx="412431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ru-RU" sz="10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ru-RU" sz="1000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292080" y="699542"/>
            <a:ext cx="3384376" cy="27699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едложения</a:t>
            </a:r>
            <a:endParaRPr lang="ru-RU" sz="1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23528" y="1491630"/>
            <a:ext cx="216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X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788024" y="1347614"/>
            <a:ext cx="314403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3219822"/>
            <a:ext cx="2509344" cy="1475736"/>
          </a:xfrm>
          <a:prstGeom prst="parallelogram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8" name="TextBox 37"/>
          <p:cNvSpPr txBox="1"/>
          <p:nvPr/>
        </p:nvSpPr>
        <p:spPr>
          <a:xfrm>
            <a:off x="5448593" y="1915054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323528" y="2283718"/>
            <a:ext cx="216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X</a:t>
            </a:r>
            <a:endParaRPr lang="ru-RU" sz="1400" b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88024" y="1995686"/>
            <a:ext cx="314403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88024" y="2715766"/>
            <a:ext cx="314403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✓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39552" y="1491630"/>
            <a:ext cx="39604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Разные условия предоставления льго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39552" y="2211710"/>
            <a:ext cx="39604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Ограниченный период </a:t>
            </a:r>
          </a:p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редоставления льгот</a:t>
            </a:r>
          </a:p>
          <a:p>
            <a:r>
              <a:rPr lang="ru-RU" sz="10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76056" y="1059582"/>
            <a:ext cx="37444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Устранить правовой пробел при предоставлении льготы на проезд детей в возрасте 5-7 лет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076056" y="1779662"/>
            <a:ext cx="37444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ринять документ, определяющий единый порядок перевозки школьников и студентов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076056" y="2571750"/>
            <a:ext cx="37444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Установить круглогодичный период предоставления льготы для учащихся и студентов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Прямоугольник 61"/>
          <p:cNvSpPr>
            <a:spLocks noChangeArrowheads="1"/>
          </p:cNvSpPr>
          <p:nvPr/>
        </p:nvSpPr>
        <p:spPr bwMode="auto">
          <a:xfrm>
            <a:off x="-1385888" y="2882900"/>
            <a:ext cx="2997201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34290" rIns="68580" bIns="34290">
            <a:spAutoFit/>
          </a:bodyPr>
          <a:lstStyle/>
          <a:p>
            <a:pPr eaLnBrk="1" hangingPunct="1">
              <a:buClr>
                <a:srgbClr val="00B050"/>
              </a:buClr>
            </a:pPr>
            <a:endParaRPr lang="ru-RU" altLang="ru-RU" sz="90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5" name="Прямая соединительная линия 34"/>
          <p:cNvCxnSpPr/>
          <p:nvPr>
            <p:custDataLst>
              <p:tags r:id="rId2"/>
            </p:custDataLst>
          </p:nvPr>
        </p:nvCxnSpPr>
        <p:spPr bwMode="auto">
          <a:xfrm>
            <a:off x="8393113" y="9652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>
            <p:custDataLst>
              <p:tags r:id="rId3"/>
            </p:custDataLst>
          </p:nvPr>
        </p:nvCxnSpPr>
        <p:spPr bwMode="auto">
          <a:xfrm flipV="1">
            <a:off x="6704013" y="973138"/>
            <a:ext cx="0" cy="6254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>
            <p:custDataLst>
              <p:tags r:id="rId4"/>
            </p:custDataLst>
          </p:nvPr>
        </p:nvCxnSpPr>
        <p:spPr bwMode="auto">
          <a:xfrm>
            <a:off x="6704013" y="965200"/>
            <a:ext cx="1689100" cy="793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1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181850" y="858838"/>
            <a:ext cx="693738" cy="2444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Font typeface="Arial" pitchFamily="34" charset="0"/>
              <a:buNone/>
            </a:pPr>
            <a:r>
              <a:rPr lang="ru-RU" altLang="en-US" sz="800" b="1">
                <a:latin typeface="Verdana" pitchFamily="34" charset="0"/>
                <a:ea typeface="Verdana" pitchFamily="34" charset="0"/>
                <a:cs typeface="Verdana" pitchFamily="34" charset="0"/>
              </a:rPr>
              <a:t>в 8,9 раза</a:t>
            </a:r>
            <a:endParaRPr lang="ru-RU" altLang="ru-RU" sz="800" b="1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9" name="Прямая соединительная линия 38"/>
          <p:cNvCxnSpPr>
            <a:cxnSpLocks/>
          </p:cNvCxnSpPr>
          <p:nvPr/>
        </p:nvCxnSpPr>
        <p:spPr>
          <a:xfrm>
            <a:off x="5840413" y="1016000"/>
            <a:ext cx="0" cy="35941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3" name="TextBox 39"/>
          <p:cNvSpPr txBox="1">
            <a:spLocks noChangeArrowheads="1"/>
          </p:cNvSpPr>
          <p:nvPr/>
        </p:nvSpPr>
        <p:spPr bwMode="auto">
          <a:xfrm>
            <a:off x="5829300" y="1023938"/>
            <a:ext cx="9382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800" b="1">
                <a:latin typeface="Verdana" pitchFamily="34" charset="0"/>
                <a:ea typeface="Verdana" pitchFamily="34" charset="0"/>
                <a:cs typeface="Verdana" pitchFamily="34" charset="0"/>
              </a:rPr>
              <a:t>Мелкое хулиганство</a:t>
            </a:r>
          </a:p>
        </p:txBody>
      </p:sp>
      <p:sp>
        <p:nvSpPr>
          <p:cNvPr id="6154" name="TextBox 40"/>
          <p:cNvSpPr txBox="1">
            <a:spLocks noChangeArrowheads="1"/>
          </p:cNvSpPr>
          <p:nvPr/>
        </p:nvSpPr>
        <p:spPr bwMode="auto">
          <a:xfrm>
            <a:off x="5835650" y="2260600"/>
            <a:ext cx="9382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800" b="1">
                <a:latin typeface="Verdana" pitchFamily="34" charset="0"/>
                <a:ea typeface="Verdana" pitchFamily="34" charset="0"/>
                <a:cs typeface="Verdana" pitchFamily="34" charset="0"/>
              </a:rPr>
              <a:t>Курение</a:t>
            </a:r>
          </a:p>
        </p:txBody>
      </p:sp>
      <p:sp>
        <p:nvSpPr>
          <p:cNvPr id="6155" name="TextBox 41"/>
          <p:cNvSpPr txBox="1">
            <a:spLocks noChangeArrowheads="1"/>
          </p:cNvSpPr>
          <p:nvPr/>
        </p:nvSpPr>
        <p:spPr bwMode="auto">
          <a:xfrm>
            <a:off x="5838825" y="3409950"/>
            <a:ext cx="141922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800" b="1">
                <a:latin typeface="Verdana" pitchFamily="34" charset="0"/>
                <a:ea typeface="Verdana" pitchFamily="34" charset="0"/>
                <a:cs typeface="Verdana" pitchFamily="34" charset="0"/>
              </a:rPr>
              <a:t>Распитие спиртных напитков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5835650" y="2168525"/>
            <a:ext cx="288448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5845175" y="3424238"/>
            <a:ext cx="288448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8" name="Рисунок 44"/>
          <p:cNvPicPr>
            <a:picLocks noChangeAspect="1" noChangeArrowheads="1"/>
          </p:cNvPicPr>
          <p:nvPr/>
        </p:nvPicPr>
        <p:blipFill>
          <a:blip r:embed="rId20" cstate="print"/>
          <a:srcRect t="34724"/>
          <a:stretch>
            <a:fillRect/>
          </a:stretch>
        </p:blipFill>
        <p:spPr bwMode="auto">
          <a:xfrm>
            <a:off x="5949950" y="2733675"/>
            <a:ext cx="5667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9" name="Рисунок 45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000750" y="3886200"/>
            <a:ext cx="517525" cy="51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60" name="Рисунок 55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980113" y="1584325"/>
            <a:ext cx="506412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161" name="Диаграмма 56"/>
          <p:cNvGraphicFramePr>
            <a:graphicFrameLocks/>
          </p:cNvGraphicFramePr>
          <p:nvPr/>
        </p:nvGraphicFramePr>
        <p:xfrm>
          <a:off x="6442075" y="857250"/>
          <a:ext cx="2471738" cy="1385888"/>
        </p:xfrm>
        <a:graphic>
          <a:graphicData uri="http://schemas.openxmlformats.org/presentationml/2006/ole">
            <p:oleObj spid="_x0000_s744450" r:id="rId23" imgW="2469094" imgH="1383912" progId="Excel.Sheet.8">
              <p:embed/>
            </p:oleObj>
          </a:graphicData>
        </a:graphic>
      </p:graphicFrame>
      <p:graphicFrame>
        <p:nvGraphicFramePr>
          <p:cNvPr id="6162" name="Диаграмма 57"/>
          <p:cNvGraphicFramePr>
            <a:graphicFrameLocks/>
          </p:cNvGraphicFramePr>
          <p:nvPr/>
        </p:nvGraphicFramePr>
        <p:xfrm>
          <a:off x="6346825" y="1989138"/>
          <a:ext cx="2444750" cy="1406525"/>
        </p:xfrm>
        <a:graphic>
          <a:graphicData uri="http://schemas.openxmlformats.org/presentationml/2006/ole">
            <p:oleObj spid="_x0000_s744451" r:id="rId24" imgW="2444708" imgH="1408298" progId="Excel.Sheet.8">
              <p:embed/>
            </p:oleObj>
          </a:graphicData>
        </a:graphic>
      </p:graphicFrame>
      <p:cxnSp>
        <p:nvCxnSpPr>
          <p:cNvPr id="59" name="Прямая соединительная линия 58"/>
          <p:cNvCxnSpPr/>
          <p:nvPr>
            <p:custDataLst>
              <p:tags r:id="rId6"/>
            </p:custDataLst>
          </p:nvPr>
        </p:nvCxnSpPr>
        <p:spPr bwMode="auto">
          <a:xfrm flipH="1">
            <a:off x="8393113" y="223996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>
            <p:custDataLst>
              <p:tags r:id="rId7"/>
            </p:custDataLst>
          </p:nvPr>
        </p:nvCxnSpPr>
        <p:spPr bwMode="auto">
          <a:xfrm flipV="1">
            <a:off x="6708775" y="2243138"/>
            <a:ext cx="0" cy="60483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>
            <p:custDataLst>
              <p:tags r:id="rId8"/>
            </p:custDataLst>
          </p:nvPr>
        </p:nvCxnSpPr>
        <p:spPr bwMode="auto">
          <a:xfrm>
            <a:off x="6702425" y="2239963"/>
            <a:ext cx="1690688" cy="158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66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061200" y="2117725"/>
            <a:ext cx="693738" cy="2444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Font typeface="Arial" pitchFamily="34" charset="0"/>
              <a:buNone/>
            </a:pPr>
            <a:r>
              <a:rPr lang="ru-RU" altLang="en-US" sz="800" b="1">
                <a:latin typeface="Verdana" pitchFamily="34" charset="0"/>
                <a:ea typeface="Verdana" pitchFamily="34" charset="0"/>
                <a:cs typeface="Verdana" pitchFamily="34" charset="0"/>
              </a:rPr>
              <a:t>в 39 раз</a:t>
            </a:r>
            <a:endParaRPr lang="ru-RU" altLang="ru-RU" sz="800" b="1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6167" name="Диаграмма 70"/>
          <p:cNvGraphicFramePr>
            <a:graphicFrameLocks/>
          </p:cNvGraphicFramePr>
          <p:nvPr/>
        </p:nvGraphicFramePr>
        <p:xfrm>
          <a:off x="6464300" y="3382963"/>
          <a:ext cx="2447925" cy="1387475"/>
        </p:xfrm>
        <a:graphic>
          <a:graphicData uri="http://schemas.openxmlformats.org/presentationml/2006/ole">
            <p:oleObj spid="_x0000_s744452" r:id="rId25" imgW="2450804" imgH="1390008" progId="Excel.Sheet.8">
              <p:embed/>
            </p:oleObj>
          </a:graphicData>
        </a:graphic>
      </p:graphicFrame>
      <p:cxnSp>
        <p:nvCxnSpPr>
          <p:cNvPr id="73" name="Прямая соединительная линия 72"/>
          <p:cNvCxnSpPr/>
          <p:nvPr>
            <p:custDataLst>
              <p:tags r:id="rId10"/>
            </p:custDataLst>
          </p:nvPr>
        </p:nvCxnSpPr>
        <p:spPr bwMode="auto">
          <a:xfrm>
            <a:off x="8393113" y="36576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>
            <p:custDataLst>
              <p:tags r:id="rId11"/>
            </p:custDataLst>
          </p:nvPr>
        </p:nvCxnSpPr>
        <p:spPr bwMode="auto">
          <a:xfrm flipV="1">
            <a:off x="6724650" y="3652838"/>
            <a:ext cx="0" cy="46513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>
            <p:custDataLst>
              <p:tags r:id="rId12"/>
            </p:custDataLst>
          </p:nvPr>
        </p:nvCxnSpPr>
        <p:spPr bwMode="auto">
          <a:xfrm>
            <a:off x="6724650" y="3652838"/>
            <a:ext cx="1668463" cy="95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71" name="Текст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061200" y="3522663"/>
            <a:ext cx="693738" cy="2444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Font typeface="Arial" pitchFamily="34" charset="0"/>
              <a:buNone/>
            </a:pPr>
            <a:r>
              <a:rPr lang="ru-RU" altLang="en-US" sz="800" b="1">
                <a:latin typeface="Verdana" pitchFamily="34" charset="0"/>
                <a:ea typeface="Verdana" pitchFamily="34" charset="0"/>
                <a:cs typeface="Verdana" pitchFamily="34" charset="0"/>
              </a:rPr>
              <a:t>в 2,7 раза</a:t>
            </a:r>
            <a:endParaRPr lang="ru-RU" altLang="ru-RU" sz="800" b="1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77" name="Прямая соединительная линия 76"/>
          <p:cNvCxnSpPr/>
          <p:nvPr>
            <p:custDataLst>
              <p:tags r:id="rId14"/>
            </p:custDataLst>
          </p:nvPr>
        </p:nvCxnSpPr>
        <p:spPr bwMode="auto">
          <a:xfrm>
            <a:off x="5045075" y="1323975"/>
            <a:ext cx="0" cy="5683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>
            <p:custDataLst>
              <p:tags r:id="rId15"/>
            </p:custDataLst>
          </p:nvPr>
        </p:nvCxnSpPr>
        <p:spPr bwMode="auto">
          <a:xfrm flipH="1" flipV="1">
            <a:off x="871538" y="1314450"/>
            <a:ext cx="26987" cy="236696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>
            <p:custDataLst>
              <p:tags r:id="rId16"/>
            </p:custDataLst>
          </p:nvPr>
        </p:nvCxnSpPr>
        <p:spPr bwMode="auto">
          <a:xfrm>
            <a:off x="876300" y="1314450"/>
            <a:ext cx="4168775" cy="95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75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84463" y="1182688"/>
            <a:ext cx="995362" cy="3079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Font typeface="Arial" pitchFamily="34" charset="0"/>
              <a:buNone/>
            </a:pPr>
            <a:r>
              <a:rPr lang="ru-RU" altLang="en-US" sz="1200" b="1">
                <a:latin typeface="Verdana" pitchFamily="34" charset="0"/>
                <a:ea typeface="Verdana" pitchFamily="34" charset="0"/>
                <a:cs typeface="Verdana" pitchFamily="34" charset="0"/>
              </a:rPr>
              <a:t>в 4,3 раза</a:t>
            </a:r>
            <a:endParaRPr lang="ru-RU" altLang="ru-RU" sz="1200" b="1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176" name="TextBox 83"/>
          <p:cNvSpPr txBox="1">
            <a:spLocks noChangeArrowheads="1"/>
          </p:cNvSpPr>
          <p:nvPr/>
        </p:nvSpPr>
        <p:spPr bwMode="auto">
          <a:xfrm>
            <a:off x="0" y="7938"/>
            <a:ext cx="9144000" cy="59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ctr"/>
          <a:lstStyle/>
          <a:p>
            <a:pPr defTabSz="912813" eaLnBrk="1" hangingPunct="1"/>
            <a:r>
              <a:rPr lang="ru-RU" altLang="ru-RU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Ежегодно растет количество правонарушений в пассажирских поездах</a:t>
            </a:r>
            <a:endParaRPr lang="ru-RU" altLang="ru-RU" sz="16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177" name="Диаграмма 84"/>
          <p:cNvPicPr>
            <a:picLocks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249238" y="1468438"/>
            <a:ext cx="5475287" cy="308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" name="Прямоугольник 85"/>
          <p:cNvSpPr/>
          <p:nvPr/>
        </p:nvSpPr>
        <p:spPr>
          <a:xfrm>
            <a:off x="4684713" y="1881188"/>
            <a:ext cx="719137" cy="2303462"/>
          </a:xfrm>
          <a:prstGeom prst="rect">
            <a:avLst/>
          </a:prstGeom>
          <a:solidFill>
            <a:srgbClr val="E92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20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4 102</a:t>
            </a:r>
            <a:endParaRPr lang="en-US" sz="10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79" name="TextBox 86"/>
          <p:cNvSpPr txBox="1">
            <a:spLocks noChangeArrowheads="1"/>
          </p:cNvSpPr>
          <p:nvPr/>
        </p:nvSpPr>
        <p:spPr bwMode="auto">
          <a:xfrm>
            <a:off x="4478338" y="4271963"/>
            <a:ext cx="1079500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sz="1200" b="1">
                <a:latin typeface="Verdana" pitchFamily="34" charset="0"/>
                <a:ea typeface="Verdana" pitchFamily="34" charset="0"/>
                <a:cs typeface="Verdana" pitchFamily="34" charset="0"/>
              </a:rPr>
              <a:t>2019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flipV="1">
            <a:off x="1230313" y="3584575"/>
            <a:ext cx="371475" cy="96838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>
            <a:cxnSpLocks/>
          </p:cNvCxnSpPr>
          <p:nvPr/>
        </p:nvCxnSpPr>
        <p:spPr>
          <a:xfrm flipV="1">
            <a:off x="2268538" y="2476500"/>
            <a:ext cx="336550" cy="1093788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>
            <a:cxnSpLocks/>
          </p:cNvCxnSpPr>
          <p:nvPr/>
        </p:nvCxnSpPr>
        <p:spPr>
          <a:xfrm flipV="1">
            <a:off x="3308350" y="1947863"/>
            <a:ext cx="371475" cy="50482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>
            <a:cxnSpLocks/>
          </p:cNvCxnSpPr>
          <p:nvPr/>
        </p:nvCxnSpPr>
        <p:spPr>
          <a:xfrm flipV="1">
            <a:off x="4349750" y="1892300"/>
            <a:ext cx="328613" cy="5715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Прямоугольник 88"/>
          <p:cNvSpPr/>
          <p:nvPr/>
        </p:nvSpPr>
        <p:spPr>
          <a:xfrm>
            <a:off x="242888" y="600075"/>
            <a:ext cx="8658225" cy="414496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231" tIns="60116" rIns="120231" bIns="60116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0" y="4876006"/>
            <a:ext cx="323528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6782C056-D21C-4181-BBC0-970634807437}" type="slidenum">
              <a:rPr lang="ru-RU" sz="6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9</a:t>
            </a:fld>
            <a:endParaRPr lang="ru-RU" sz="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1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53899999999999970157E+00&quot;&gt;&lt;m_msothmcolidx val=&quot;0&quot;/&gt;&lt;m_rgb r=&quot;34&quot; g=&quot;CB&quot; b=&quot;38&quot;/&gt;&lt;m_nBrightness tagver0=&quot;26206&quot; tagname0=&quot;m_nBrightnessUNRECOGNIZED&quot; val=&quot;0&quot;/&gt;&lt;/elem&gt;&lt;elem m_fUsage=&quot;2.14659000000000022013E+00&quot;&gt;&lt;m_msothmcolidx val=&quot;0&quot;/&gt;&lt;m_rgb r=&quot;DD&quot; g=&quot;DB&quot; b=&quot;DB&quot;/&gt;&lt;m_nBrightness tagver0=&quot;26206&quot; tagname0=&quot;m_nBrightnessUNRECOGNIZED&quot; val=&quot;0&quot;/&gt;&lt;/elem&gt;&lt;elem m_fUsage=&quot;5.31441000000000163261E-01&quot;&gt;&lt;m_msothmcolidx val=&quot;0&quot;/&gt;&lt;m_rgb r=&quot;CC&quot; g=&quot;CA&quot; b=&quot;CA&quot;/&gt;&lt;m_nBrightness tagver0=&quot;26206&quot; tagname0=&quot;m_nBrightnessUNRECOGNIZED&quot; val=&quot;0&quot;/&gt;&lt;/elem&gt;&lt;elem m_fUsage=&quot;4.78296900000000135833E-01&quot;&gt;&lt;m_msothmcolidx val=&quot;0&quot;/&gt;&lt;m_rgb r=&quot;00&quot; g=&quot;00&quot; b=&quot;FF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yLsjlssUaYlZ7xroA5e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Eu8LLkjkabIU.YJIjS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6ycYAlbkWyS3VSWiXzi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.mthtPjU6waDsttoaBR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ibp5iHUK8aR2UAh7xL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ZnRkBmjUK.KD3A7hXTf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pfHFi6C0iN2LvTbPQd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rHUcwgNEKq2Y.oqkbNl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GaT6XdSEKoyw0I2YINF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jruuwilEu9wH2EMaBun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Tv4m3JvE2pGVxPS9Xn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1s1380_UmA0sJ.wT_CI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6uZzBMwE2TwE9DTvpE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02WnQU9UiUesieYs126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F5cXBIxE.TgFDDSlyY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mVwdY_Ei6e3w3kPA7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6VtfFkw060RU5KhE3A4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V9gD8L7EawGbU.kvuR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4Dc8XyqEmvb_w5YhQJW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1djJQJgEuxAN3Tq_ZTK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XAI6ELfkaT7Boa4rgQP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u798iTxkWVCX3h57Av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ExZsjwpEuihBHPjBXrg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l4IZzt8EOPy4JtPoUz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AEDWIdQ0agDfaEkIl05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DoOC.aYkK0wq0fVxQVM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F3z9y69UmIT51qOaX_d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Gw6cZ2SUGak2VjCXTsD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zUzmvpjUqx0wCM5sKhh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j7bJ91w0yjGN_8f7WaR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_ruqyhr0u4nmX0VK.J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EOmju6mkyEuzjxQ.7yJ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2YPUbUD0WNNodLD0PL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ka6zU8QUizOx2x5cNXA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9S20xf0U2_hryWlhPlx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.3zEKbOUO1Y4OvjF68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9lon.YB0SRJhLEpXN.a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XrWXTtkeSpz2vcHZMM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PrvD2WvkOSNCS8sgy3j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rMI5aLQE.CrywqSty6E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zL6HxY2kCr4Fm8_crwD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WFGysFkESLIhMs4XmU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BRwQ.PQDiw4Kg.dkfXq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zMzqcFRRaYQFaL6iGY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qU0Hw49UuTu_EkydrGo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BBzy6vRa2NP8eUR9wiV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A2IAHnR0ORxjwZJEvp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xj1YDGTrq0ZV1VKRpVP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nnF9vXT.a97d_vNPL5W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9tztoDT.2ll2i68czjH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V9OWhRJGAgrVubOuaQ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6WIVsyR9e5UqViIsnf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dZoGVYTG.lcDr_I5oMj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XNwrKZRY6nmS87gg4Go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2ZB47xTfOGBHzszPax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vIIZ64QEylN_fIQGNwj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oe2aVySsyifV9AZjZmc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242vhT3OayDktl._tU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as1AQRbqYxFML4Dl1U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aSGTyRShmlXCek65ygA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T96XUcQlOAcrnVMVXi3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C11Fj3RzeVa15sn.xnr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yRe_0YTNmdZcWUpwnkK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0yKLlGTHqcG0BlIC8ka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zGscCmTciR5LTslnfAy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7vaPWpQNqbRFCuvhNN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nGvpb0ekmSIS33EJ5UN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THCJkRTSedX61u1zyHm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aINM9PTdWoKyv3aMBuq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54JR9LRdCsTho3jdIfv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n_P6RSVyyxrOvoG7A6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YZZzqaStCnbS1PXVDYi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7yuigSIqLP_Jm0gVwL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j2KnylS3yXL1_MMnA8q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1oneOTGeG88ddkCe.v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WADl0sTh6dDYbFGSCJK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8cQh89RxKOZvzZzoN.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DQofvUU.Krc.wYhkXO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xBJeQ_QgGI8yw.nBiDp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1oneOTGeG88ddkCe.v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WADl0sTh6dDYbFGSCJK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8cQh89RxKOZvzZzoN.A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xBJeQ_QgGI8yw.nBiDp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1oneOTGeG88ddkCe.v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WADl0sTh6dDYbFGSCJK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8cQh89RxKOZvzZzoN.A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xBJeQ_QgGI8yw.nBiDp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1oneOTGeG88ddkCe.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LNDlM2206.GxGzO7ic9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WADl0sTh6dDYbFGSCJK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8cQh89RxKOZvzZzoN.A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xBJeQ_QgGI8yw.nBiDp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xBJeQ_QgGI8yw.nBiDp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1oneOTGeG88ddkCe.v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8cQh89RxKOZvzZzoN.A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8cQh89RxKOZvzZzoN.A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8cQh89RxKOZvzZzoN.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JTiOg2iEidSbaWXzfr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fJq.iBScCZA0fSqYla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VkDHT.Uk2qiEy0OEd0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kTzxzuSE6CeSK1BwcRp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sAPn0OGUKTKwARLYgo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mpgq5yYUKAGBG3xj52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BdOZhiE0u.8HuSMbih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VbjhWCqUeKV2bmYu6H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UGbybSRkSH5LfCdN0q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Q7Fp2SikChAPNC75qe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JH83tC1kyrVUlqgoOY5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_ul1ONm06xorShmFR9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8StH55HdBfuhsH.I0Q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o0WHmWEm6LN7ZP3iS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Mw.8jR1UWwszk4OQwq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1XGM2XI0i.FfD7A2sC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LM6p8AeUuiWu0ubG5X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wF5X9Xaky_DdvRBpF4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4L3ttIVEWCFSuXXOCZ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filr2jLkuXjt8wsONy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HHxiaQ20KEhwO54eC7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gUuPJv_US5sZkjYZzI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trA3XHw0ChED29KiNe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lNmj7W4n2NXNtqh3PS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6NXx8CDUqfeSAnl6Fu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GljXf6AUOEo5HpfjF_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3C0QEYaU6b4bXpCYtX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bE.Ylzwk.CoryVDeW6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84kpqZJEORShxpTUxO4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u7ZVcUMkikDm3h4iIg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VwVxLlZkCpolVQvQDA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EXdtq_o0Kf5awSOAuy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8Kwzj20kepucegutwxa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w4E2yVrUK4zSvSxB6d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z6uJ8gOkyvwN4GjUZud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C.WWXoQUqhSOSplG1c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tOR8ZeGEKMuqkTABvTg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SqQLCRTEO1Cfmc5t9G5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jX491RLE2DFrvaW_ol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Us8rxSTU.pwmSxhH9c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kJEKQki0e7Keg7QBGT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MxIgLDQUagE91NRRuc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J87iwFb0SXz.G11ime0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ETYTVGo06cbL6yNMTM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oePPlVJkCQtRein4zi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dIl2uzfU.4EB0BwIqCq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0_vfoe0isui9UWZJ_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dfOMFRxE6Nzr5NPTCp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OM8wozH0iVqbo_r_0N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kvwQ8Gv0asz.8V8WLy9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HUu0mB9Emgaftx_uXih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pfu9Ee9EqqAZzT1XzZ0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NJyrRn3kazBFypxR.lE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1_uA_ZYUilUJYHIlt1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pIqORW9UOsE.7sAOCz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31Kuao20GXGqEblzSr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0_vfoe0isui9UWZJ_b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DDtJI1T02ox.ueM2_V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Oi4GwE_0Guk_e4l_fy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_HKQbvwkOuO83LneXC.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0tzzQ_cUSWXWi3TG7Q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KXia39lUilnk.GjgT7x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BZ_ystEWw8dVvgfnv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ih_YUImkuKHHzSAilEj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fbDapRXEeS8_U7tXC7v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fs3w.ZKkqlY6pqA1R2t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EDJRHb702AJx_9iBJU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pMcghSYkOwXetNsP_ED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NB8Bs6Umaloao01Lw9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lECOMZfkqS5MO26Jzc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VO5BjayEW.D65iU55y1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iBPwDJT0aT8NoQ2ovwR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uECu5TF0CncFLt8_bu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ngPqdy80.mzf8KVrFs8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2r9oLKmEqfqWwk03A0a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HfDRQgxUO6gpuCeUpUs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Cv7ByIo068Yj3DVCbqx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S0KkjxxUGeuQ6x7MJq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4G6RJ.qESrx5ZlfKNA9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a72xggm0eNe6Fxwi6T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t9jW.ZoECW2qJdB473J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wP0uGkPk2vBUcn2ycGK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.rNBO4d06qRCOiCN2c5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_UoGxd3Uqftr_fEzAb6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L2YORe40OWL9jpKw1cM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Y7Ur_dOEGA_HGgI_Q1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mwxd9ZJUKxuwjxQt_vs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0L2n2D90OL0JfYAsTpk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jbSls.R0K4WnNVkgdb6Q"/>
</p:tagLst>
</file>

<file path=ppt/theme/theme1.xml><?xml version="1.0" encoding="utf-8"?>
<a:theme xmlns:a="http://schemas.openxmlformats.org/drawingml/2006/main" name="1_Тема1">
  <a:themeElements>
    <a:clrScheme name="ржд">
      <a:dk1>
        <a:sysClr val="windowText" lastClr="000000"/>
      </a:dk1>
      <a:lt1>
        <a:sysClr val="window" lastClr="FFFFFF"/>
      </a:lt1>
      <a:dk2>
        <a:srgbClr val="004064"/>
      </a:dk2>
      <a:lt2>
        <a:srgbClr val="BDD2E5"/>
      </a:lt2>
      <a:accent1>
        <a:srgbClr val="0066A1"/>
      </a:accent1>
      <a:accent2>
        <a:srgbClr val="364A58"/>
      </a:accent2>
      <a:accent3>
        <a:srgbClr val="CECCA0"/>
      </a:accent3>
      <a:accent4>
        <a:srgbClr val="8AB0D2"/>
      </a:accent4>
      <a:accent5>
        <a:srgbClr val="BFC5CE"/>
      </a:accent5>
      <a:accent6>
        <a:srgbClr val="EBEAD4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lIns="0" tIns="0" rIns="0" bIns="0" rtlCol="0" anchor="ctr" anchorCtr="0"/>
      <a:lstStyle>
        <a:defPPr algn="ctr">
          <a:defRPr sz="600" b="1" dirty="0">
            <a:solidFill>
              <a:srgbClr val="000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2_Тема1">
  <a:themeElements>
    <a:clrScheme name="ржд">
      <a:dk1>
        <a:sysClr val="windowText" lastClr="000000"/>
      </a:dk1>
      <a:lt1>
        <a:sysClr val="window" lastClr="FFFFFF"/>
      </a:lt1>
      <a:dk2>
        <a:srgbClr val="004064"/>
      </a:dk2>
      <a:lt2>
        <a:srgbClr val="BDD2E5"/>
      </a:lt2>
      <a:accent1>
        <a:srgbClr val="0066A1"/>
      </a:accent1>
      <a:accent2>
        <a:srgbClr val="364A58"/>
      </a:accent2>
      <a:accent3>
        <a:srgbClr val="CECCA0"/>
      </a:accent3>
      <a:accent4>
        <a:srgbClr val="8AB0D2"/>
      </a:accent4>
      <a:accent5>
        <a:srgbClr val="BFC5CE"/>
      </a:accent5>
      <a:accent6>
        <a:srgbClr val="EBEAD4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lIns="0" tIns="0" rIns="0" bIns="0" rtlCol="0" anchor="ctr" anchorCtr="0"/>
      <a:lstStyle>
        <a:defPPr algn="ctr">
          <a:defRPr sz="600" b="1" dirty="0">
            <a:solidFill>
              <a:srgbClr val="000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3_Тема1">
  <a:themeElements>
    <a:clrScheme name="ржд">
      <a:dk1>
        <a:sysClr val="windowText" lastClr="000000"/>
      </a:dk1>
      <a:lt1>
        <a:sysClr val="window" lastClr="FFFFFF"/>
      </a:lt1>
      <a:dk2>
        <a:srgbClr val="004064"/>
      </a:dk2>
      <a:lt2>
        <a:srgbClr val="BDD2E5"/>
      </a:lt2>
      <a:accent1>
        <a:srgbClr val="0066A1"/>
      </a:accent1>
      <a:accent2>
        <a:srgbClr val="364A58"/>
      </a:accent2>
      <a:accent3>
        <a:srgbClr val="CECCA0"/>
      </a:accent3>
      <a:accent4>
        <a:srgbClr val="8AB0D2"/>
      </a:accent4>
      <a:accent5>
        <a:srgbClr val="BFC5CE"/>
      </a:accent5>
      <a:accent6>
        <a:srgbClr val="EBEAD4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lIns="0" tIns="0" rIns="0" bIns="0" rtlCol="0" anchor="ctr" anchorCtr="0"/>
      <a:lstStyle>
        <a:defPPr algn="ctr">
          <a:defRPr sz="600" b="1" dirty="0">
            <a:solidFill>
              <a:srgbClr val="000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772</TotalTime>
  <Words>1026</Words>
  <Application>Microsoft Office PowerPoint</Application>
  <PresentationFormat>Экран (16:9)</PresentationFormat>
  <Paragraphs>369</Paragraphs>
  <Slides>12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17" baseType="lpstr">
      <vt:lpstr>1_Тема1</vt:lpstr>
      <vt:lpstr>2_Тема1</vt:lpstr>
      <vt:lpstr>3_Тема1</vt:lpstr>
      <vt:lpstr>think-cell Slide</vt:lpstr>
      <vt:lpstr>Лист Microsoft Office Excel 97-2003</vt:lpstr>
      <vt:lpstr>Слайд 1</vt:lpstr>
      <vt:lpstr>Слайд 2</vt:lpstr>
      <vt:lpstr>В 2019-2020 г. услугами новых пригородных поездов смогли воспользоваться пассажиры 21 субъекта РФ</vt:lpstr>
      <vt:lpstr>Слайд 4</vt:lpstr>
      <vt:lpstr>Потребность в обновлении подвижного состава до 2025 года</vt:lpstr>
      <vt:lpstr>В 2019 году мобильное приложение «РЖД Пассажирам» внедрено в 24 ППК</vt:lpstr>
      <vt:lpstr>Внедрение системы дифференциации тарифов на пригородные пассажирские перевозки</vt:lpstr>
      <vt:lpstr>О мерах социальной поддержки детей в возрасте 5-7 лет, обучающихся и студентов очной формы обучения</vt:lpstr>
      <vt:lpstr>Слайд 9</vt:lpstr>
      <vt:lpstr>Слайд 10</vt:lpstr>
      <vt:lpstr>Слайд 11</vt:lpstr>
      <vt:lpstr>Слайд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заимодействие с федеральными и региональными органами власти</dc:title>
  <dc:creator>Килина Юлия Федотовна</dc:creator>
  <cp:lastModifiedBy>copr_medvedevan</cp:lastModifiedBy>
  <cp:revision>2448</cp:revision>
  <cp:lastPrinted>2020-01-17T09:57:20Z</cp:lastPrinted>
  <dcterms:created xsi:type="dcterms:W3CDTF">2018-01-17T10:42:53Z</dcterms:created>
  <dcterms:modified xsi:type="dcterms:W3CDTF">2020-03-12T09:00:05Z</dcterms:modified>
</cp:coreProperties>
</file>